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4.xml" ContentType="application/vnd.openxmlformats-officedocument.themeOverr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653" r:id="rId1"/>
    <p:sldMasterId id="2147483655" r:id="rId2"/>
    <p:sldMasterId id="2147483656" r:id="rId3"/>
    <p:sldMasterId id="2147483657" r:id="rId4"/>
    <p:sldMasterId id="2147483703" r:id="rId5"/>
    <p:sldMasterId id="2147483711" r:id="rId6"/>
  </p:sldMasterIdLst>
  <p:notesMasterIdLst>
    <p:notesMasterId r:id="rId27"/>
  </p:notesMasterIdLst>
  <p:handoutMasterIdLst>
    <p:handoutMasterId r:id="rId28"/>
  </p:handoutMasterIdLst>
  <p:sldIdLst>
    <p:sldId id="319" r:id="rId7"/>
    <p:sldId id="445" r:id="rId8"/>
    <p:sldId id="464" r:id="rId9"/>
    <p:sldId id="482" r:id="rId10"/>
    <p:sldId id="440" r:id="rId11"/>
    <p:sldId id="441" r:id="rId12"/>
    <p:sldId id="442" r:id="rId13"/>
    <p:sldId id="443" r:id="rId14"/>
    <p:sldId id="444" r:id="rId15"/>
    <p:sldId id="465" r:id="rId16"/>
    <p:sldId id="479" r:id="rId17"/>
    <p:sldId id="480" r:id="rId18"/>
    <p:sldId id="462" r:id="rId19"/>
    <p:sldId id="463" r:id="rId20"/>
    <p:sldId id="466" r:id="rId21"/>
    <p:sldId id="486" r:id="rId22"/>
    <p:sldId id="470" r:id="rId23"/>
    <p:sldId id="451" r:id="rId24"/>
    <p:sldId id="448" r:id="rId25"/>
    <p:sldId id="339" r:id="rId26"/>
  </p:sldIdLst>
  <p:sldSz cx="10404475" cy="7272338"/>
  <p:notesSz cx="6807200" cy="9939338"/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sz="1400" kern="1200">
        <a:solidFill>
          <a:srgbClr val="24246E"/>
        </a:solidFill>
        <a:latin typeface="HGPｺﾞｼｯｸM" pitchFamily="50" charset="-128"/>
        <a:ea typeface="HGPｺﾞｼｯｸM" pitchFamily="50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1400" kern="1200">
        <a:solidFill>
          <a:srgbClr val="24246E"/>
        </a:solidFill>
        <a:latin typeface="HGPｺﾞｼｯｸM" pitchFamily="50" charset="-128"/>
        <a:ea typeface="HGPｺﾞｼｯｸM" pitchFamily="50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1400" kern="1200">
        <a:solidFill>
          <a:srgbClr val="24246E"/>
        </a:solidFill>
        <a:latin typeface="HGPｺﾞｼｯｸM" pitchFamily="50" charset="-128"/>
        <a:ea typeface="HGPｺﾞｼｯｸM" pitchFamily="50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1400" kern="1200">
        <a:solidFill>
          <a:srgbClr val="24246E"/>
        </a:solidFill>
        <a:latin typeface="HGPｺﾞｼｯｸM" pitchFamily="50" charset="-128"/>
        <a:ea typeface="HGPｺﾞｼｯｸM" pitchFamily="50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1400" kern="1200">
        <a:solidFill>
          <a:srgbClr val="24246E"/>
        </a:solidFill>
        <a:latin typeface="HGPｺﾞｼｯｸM" pitchFamily="50" charset="-128"/>
        <a:ea typeface="HGPｺﾞｼｯｸM" pitchFamily="50" charset="-128"/>
        <a:cs typeface="+mn-cs"/>
      </a:defRPr>
    </a:lvl5pPr>
    <a:lvl6pPr marL="2286000" algn="l" defTabSz="914400" rtl="0" eaLnBrk="1" latinLnBrk="0" hangingPunct="1">
      <a:defRPr kumimoji="1" sz="1400" kern="1200">
        <a:solidFill>
          <a:srgbClr val="24246E"/>
        </a:solidFill>
        <a:latin typeface="HGPｺﾞｼｯｸM" pitchFamily="50" charset="-128"/>
        <a:ea typeface="HGPｺﾞｼｯｸM" pitchFamily="50" charset="-128"/>
        <a:cs typeface="+mn-cs"/>
      </a:defRPr>
    </a:lvl6pPr>
    <a:lvl7pPr marL="2743200" algn="l" defTabSz="914400" rtl="0" eaLnBrk="1" latinLnBrk="0" hangingPunct="1">
      <a:defRPr kumimoji="1" sz="1400" kern="1200">
        <a:solidFill>
          <a:srgbClr val="24246E"/>
        </a:solidFill>
        <a:latin typeface="HGPｺﾞｼｯｸM" pitchFamily="50" charset="-128"/>
        <a:ea typeface="HGPｺﾞｼｯｸM" pitchFamily="50" charset="-128"/>
        <a:cs typeface="+mn-cs"/>
      </a:defRPr>
    </a:lvl7pPr>
    <a:lvl8pPr marL="3200400" algn="l" defTabSz="914400" rtl="0" eaLnBrk="1" latinLnBrk="0" hangingPunct="1">
      <a:defRPr kumimoji="1" sz="1400" kern="1200">
        <a:solidFill>
          <a:srgbClr val="24246E"/>
        </a:solidFill>
        <a:latin typeface="HGPｺﾞｼｯｸM" pitchFamily="50" charset="-128"/>
        <a:ea typeface="HGPｺﾞｼｯｸM" pitchFamily="50" charset="-128"/>
        <a:cs typeface="+mn-cs"/>
      </a:defRPr>
    </a:lvl8pPr>
    <a:lvl9pPr marL="3657600" algn="l" defTabSz="914400" rtl="0" eaLnBrk="1" latinLnBrk="0" hangingPunct="1">
      <a:defRPr kumimoji="1" sz="1400" kern="1200">
        <a:solidFill>
          <a:srgbClr val="24246E"/>
        </a:solidFill>
        <a:latin typeface="HGPｺﾞｼｯｸM" pitchFamily="50" charset="-128"/>
        <a:ea typeface="HGPｺﾞｼｯｸM" pitchFamily="50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35">
          <p15:clr>
            <a:srgbClr val="A4A3A4"/>
          </p15:clr>
        </p15:guide>
        <p15:guide id="2" orient="horz" pos="4215">
          <p15:clr>
            <a:srgbClr val="A4A3A4"/>
          </p15:clr>
        </p15:guide>
        <p15:guide id="3" orient="horz" pos="4395">
          <p15:clr>
            <a:srgbClr val="A4A3A4"/>
          </p15:clr>
        </p15:guide>
        <p15:guide id="4" orient="horz" pos="3854">
          <p15:clr>
            <a:srgbClr val="A4A3A4"/>
          </p15:clr>
        </p15:guide>
        <p15:guide id="5" orient="horz" pos="2645">
          <p15:clr>
            <a:srgbClr val="A4A3A4"/>
          </p15:clr>
        </p15:guide>
        <p15:guide id="6" pos="3277">
          <p15:clr>
            <a:srgbClr val="A4A3A4"/>
          </p15:clr>
        </p15:guide>
        <p15:guide id="7" pos="53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F9933"/>
    <a:srgbClr val="000000"/>
    <a:srgbClr val="FFCC99"/>
    <a:srgbClr val="333333"/>
    <a:srgbClr val="FFCCCC"/>
    <a:srgbClr val="FFFF99"/>
    <a:srgbClr val="E5EA06"/>
    <a:srgbClr val="D2DBFD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374" autoAdjust="0"/>
    <p:restoredTop sz="73134" autoAdjust="0"/>
  </p:normalViewPr>
  <p:slideViewPr>
    <p:cSldViewPr snapToObjects="1">
      <p:cViewPr varScale="1">
        <p:scale>
          <a:sx n="100" d="100"/>
          <a:sy n="100" d="100"/>
        </p:scale>
        <p:origin x="1374" y="84"/>
      </p:cViewPr>
      <p:guideLst>
        <p:guide orient="horz" pos="2535"/>
        <p:guide orient="horz" pos="4215"/>
        <p:guide orient="horz" pos="4395"/>
        <p:guide orient="horz" pos="3854"/>
        <p:guide orient="horz" pos="2645"/>
        <p:guide pos="3277"/>
        <p:guide pos="537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82" d="100"/>
          <a:sy n="82" d="100"/>
        </p:scale>
        <p:origin x="-2886" y="-102"/>
      </p:cViewPr>
      <p:guideLst>
        <p:guide orient="horz" pos="3130"/>
        <p:guide pos="2144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2.xml"/><Relationship Id="rId4" Type="http://schemas.openxmlformats.org/officeDocument/2006/relationships/oleObject" Target="Book1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Book1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3034132161804581E-2"/>
          <c:y val="9.5592091249827163E-2"/>
          <c:w val="0.92151696194774468"/>
          <c:h val="0.78560617665075039"/>
        </c:manualLayout>
      </c:layout>
      <c:lineChart>
        <c:grouping val="standard"/>
        <c:varyColors val="0"/>
        <c:ser>
          <c:idx val="0"/>
          <c:order val="0"/>
          <c:tx>
            <c:strRef>
              <c:f>データ!$F$3</c:f>
              <c:strCache>
                <c:ptCount val="1"/>
                <c:pt idx="0">
                  <c:v>E-COOL</c:v>
                </c:pt>
              </c:strCache>
            </c:strRef>
          </c:tx>
          <c:spPr>
            <a:ln>
              <a:solidFill>
                <a:srgbClr val="0000FF"/>
              </a:solidFill>
            </a:ln>
          </c:spPr>
          <c:marker>
            <c:symbol val="none"/>
          </c:marker>
          <c:val>
            <c:numRef>
              <c:f>データ!$F$4:$F$1180</c:f>
              <c:numCache>
                <c:formatCode>General</c:formatCode>
                <c:ptCount val="1177"/>
                <c:pt idx="0">
                  <c:v>20.6</c:v>
                </c:pt>
                <c:pt idx="1">
                  <c:v>20.9</c:v>
                </c:pt>
                <c:pt idx="2">
                  <c:v>21.7</c:v>
                </c:pt>
                <c:pt idx="3">
                  <c:v>22.5</c:v>
                </c:pt>
                <c:pt idx="4">
                  <c:v>22.8</c:v>
                </c:pt>
                <c:pt idx="5">
                  <c:v>22.9</c:v>
                </c:pt>
                <c:pt idx="6">
                  <c:v>22.3</c:v>
                </c:pt>
                <c:pt idx="7">
                  <c:v>22</c:v>
                </c:pt>
                <c:pt idx="8">
                  <c:v>21.8</c:v>
                </c:pt>
                <c:pt idx="9">
                  <c:v>21.7</c:v>
                </c:pt>
                <c:pt idx="10">
                  <c:v>21.7</c:v>
                </c:pt>
                <c:pt idx="11">
                  <c:v>21</c:v>
                </c:pt>
                <c:pt idx="12">
                  <c:v>16.8</c:v>
                </c:pt>
                <c:pt idx="13">
                  <c:v>13.2</c:v>
                </c:pt>
                <c:pt idx="14">
                  <c:v>10.6</c:v>
                </c:pt>
                <c:pt idx="15">
                  <c:v>8.6999999999999993</c:v>
                </c:pt>
                <c:pt idx="16">
                  <c:v>7.3</c:v>
                </c:pt>
                <c:pt idx="17">
                  <c:v>6.3</c:v>
                </c:pt>
                <c:pt idx="18">
                  <c:v>5.7</c:v>
                </c:pt>
                <c:pt idx="19">
                  <c:v>5.2</c:v>
                </c:pt>
                <c:pt idx="20">
                  <c:v>4.9000000000000004</c:v>
                </c:pt>
                <c:pt idx="21">
                  <c:v>4.5999999999999996</c:v>
                </c:pt>
                <c:pt idx="22">
                  <c:v>4.3</c:v>
                </c:pt>
                <c:pt idx="23">
                  <c:v>4.0999999999999996</c:v>
                </c:pt>
                <c:pt idx="24">
                  <c:v>4</c:v>
                </c:pt>
                <c:pt idx="25">
                  <c:v>3.7</c:v>
                </c:pt>
                <c:pt idx="26">
                  <c:v>3.6</c:v>
                </c:pt>
                <c:pt idx="27">
                  <c:v>3.4</c:v>
                </c:pt>
                <c:pt idx="28">
                  <c:v>3.2</c:v>
                </c:pt>
                <c:pt idx="29">
                  <c:v>3</c:v>
                </c:pt>
                <c:pt idx="30">
                  <c:v>2.9</c:v>
                </c:pt>
                <c:pt idx="31">
                  <c:v>2.8</c:v>
                </c:pt>
                <c:pt idx="32">
                  <c:v>2.7</c:v>
                </c:pt>
                <c:pt idx="33">
                  <c:v>2.6</c:v>
                </c:pt>
                <c:pt idx="34">
                  <c:v>2.6</c:v>
                </c:pt>
                <c:pt idx="35">
                  <c:v>2.5</c:v>
                </c:pt>
                <c:pt idx="36">
                  <c:v>2.5</c:v>
                </c:pt>
                <c:pt idx="37">
                  <c:v>2.4</c:v>
                </c:pt>
                <c:pt idx="38">
                  <c:v>2.4</c:v>
                </c:pt>
                <c:pt idx="39">
                  <c:v>2.2999999999999998</c:v>
                </c:pt>
                <c:pt idx="40">
                  <c:v>2.2999999999999998</c:v>
                </c:pt>
                <c:pt idx="41">
                  <c:v>2.2999999999999998</c:v>
                </c:pt>
                <c:pt idx="42">
                  <c:v>2.2999999999999998</c:v>
                </c:pt>
                <c:pt idx="43">
                  <c:v>2.2000000000000002</c:v>
                </c:pt>
                <c:pt idx="44">
                  <c:v>2.2000000000000002</c:v>
                </c:pt>
                <c:pt idx="45">
                  <c:v>2.1</c:v>
                </c:pt>
                <c:pt idx="46">
                  <c:v>1.9</c:v>
                </c:pt>
                <c:pt idx="47">
                  <c:v>1.8</c:v>
                </c:pt>
                <c:pt idx="48">
                  <c:v>1.8</c:v>
                </c:pt>
                <c:pt idx="49">
                  <c:v>1.7</c:v>
                </c:pt>
                <c:pt idx="50">
                  <c:v>1.7</c:v>
                </c:pt>
                <c:pt idx="51">
                  <c:v>1.6</c:v>
                </c:pt>
                <c:pt idx="52">
                  <c:v>1.6</c:v>
                </c:pt>
                <c:pt idx="53">
                  <c:v>1.6</c:v>
                </c:pt>
                <c:pt idx="54">
                  <c:v>1.5</c:v>
                </c:pt>
                <c:pt idx="55">
                  <c:v>1.5</c:v>
                </c:pt>
                <c:pt idx="56">
                  <c:v>1.4</c:v>
                </c:pt>
                <c:pt idx="57">
                  <c:v>1.4</c:v>
                </c:pt>
                <c:pt idx="58">
                  <c:v>1.4</c:v>
                </c:pt>
                <c:pt idx="59">
                  <c:v>1.4</c:v>
                </c:pt>
                <c:pt idx="60">
                  <c:v>1.3</c:v>
                </c:pt>
                <c:pt idx="61">
                  <c:v>1.3</c:v>
                </c:pt>
                <c:pt idx="62">
                  <c:v>1.3</c:v>
                </c:pt>
                <c:pt idx="63">
                  <c:v>1.3</c:v>
                </c:pt>
                <c:pt idx="64">
                  <c:v>1.3</c:v>
                </c:pt>
                <c:pt idx="65">
                  <c:v>1.2</c:v>
                </c:pt>
                <c:pt idx="66">
                  <c:v>1.2</c:v>
                </c:pt>
                <c:pt idx="67">
                  <c:v>1.2</c:v>
                </c:pt>
                <c:pt idx="68">
                  <c:v>1.2</c:v>
                </c:pt>
                <c:pt idx="69">
                  <c:v>1.2</c:v>
                </c:pt>
                <c:pt idx="70">
                  <c:v>1.2</c:v>
                </c:pt>
                <c:pt idx="71">
                  <c:v>1.2</c:v>
                </c:pt>
                <c:pt idx="72">
                  <c:v>1.1000000000000001</c:v>
                </c:pt>
                <c:pt idx="73">
                  <c:v>1.1000000000000001</c:v>
                </c:pt>
                <c:pt idx="74">
                  <c:v>1.1000000000000001</c:v>
                </c:pt>
                <c:pt idx="75">
                  <c:v>1.1000000000000001</c:v>
                </c:pt>
                <c:pt idx="76">
                  <c:v>1.1000000000000001</c:v>
                </c:pt>
                <c:pt idx="77">
                  <c:v>1.1000000000000001</c:v>
                </c:pt>
                <c:pt idx="78">
                  <c:v>1.1000000000000001</c:v>
                </c:pt>
                <c:pt idx="79">
                  <c:v>1.1000000000000001</c:v>
                </c:pt>
                <c:pt idx="80">
                  <c:v>1.1000000000000001</c:v>
                </c:pt>
                <c:pt idx="81">
                  <c:v>1.1000000000000001</c:v>
                </c:pt>
                <c:pt idx="82">
                  <c:v>1.1000000000000001</c:v>
                </c:pt>
                <c:pt idx="83">
                  <c:v>1.1000000000000001</c:v>
                </c:pt>
                <c:pt idx="84">
                  <c:v>1.1000000000000001</c:v>
                </c:pt>
                <c:pt idx="85">
                  <c:v>1.100000000000000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0.9</c:v>
                </c:pt>
                <c:pt idx="94">
                  <c:v>0.9</c:v>
                </c:pt>
                <c:pt idx="95">
                  <c:v>0.9</c:v>
                </c:pt>
                <c:pt idx="96">
                  <c:v>0.9</c:v>
                </c:pt>
                <c:pt idx="97">
                  <c:v>0.9</c:v>
                </c:pt>
                <c:pt idx="98">
                  <c:v>0.8</c:v>
                </c:pt>
                <c:pt idx="99">
                  <c:v>0.8</c:v>
                </c:pt>
                <c:pt idx="100">
                  <c:v>0.8</c:v>
                </c:pt>
                <c:pt idx="101">
                  <c:v>0.8</c:v>
                </c:pt>
                <c:pt idx="102">
                  <c:v>0.8</c:v>
                </c:pt>
                <c:pt idx="103">
                  <c:v>0.8</c:v>
                </c:pt>
                <c:pt idx="104">
                  <c:v>0.8</c:v>
                </c:pt>
                <c:pt idx="105">
                  <c:v>0.8</c:v>
                </c:pt>
                <c:pt idx="106">
                  <c:v>0.8</c:v>
                </c:pt>
                <c:pt idx="107">
                  <c:v>0.8</c:v>
                </c:pt>
                <c:pt idx="108">
                  <c:v>0.8</c:v>
                </c:pt>
                <c:pt idx="109">
                  <c:v>0.7</c:v>
                </c:pt>
                <c:pt idx="110">
                  <c:v>0.7</c:v>
                </c:pt>
                <c:pt idx="111">
                  <c:v>0.7</c:v>
                </c:pt>
                <c:pt idx="112">
                  <c:v>0.7</c:v>
                </c:pt>
                <c:pt idx="113">
                  <c:v>0.7</c:v>
                </c:pt>
                <c:pt idx="114">
                  <c:v>0.7</c:v>
                </c:pt>
                <c:pt idx="115">
                  <c:v>0.7</c:v>
                </c:pt>
                <c:pt idx="116">
                  <c:v>0.7</c:v>
                </c:pt>
                <c:pt idx="117">
                  <c:v>0.7</c:v>
                </c:pt>
                <c:pt idx="118">
                  <c:v>0.7</c:v>
                </c:pt>
                <c:pt idx="119">
                  <c:v>0.7</c:v>
                </c:pt>
                <c:pt idx="120">
                  <c:v>0.7</c:v>
                </c:pt>
                <c:pt idx="121">
                  <c:v>0.7</c:v>
                </c:pt>
                <c:pt idx="122">
                  <c:v>0.7</c:v>
                </c:pt>
                <c:pt idx="123">
                  <c:v>0.7</c:v>
                </c:pt>
                <c:pt idx="124">
                  <c:v>0.6</c:v>
                </c:pt>
                <c:pt idx="125">
                  <c:v>0.6</c:v>
                </c:pt>
                <c:pt idx="126">
                  <c:v>0.6</c:v>
                </c:pt>
                <c:pt idx="127">
                  <c:v>0.6</c:v>
                </c:pt>
                <c:pt idx="128">
                  <c:v>0.6</c:v>
                </c:pt>
                <c:pt idx="129">
                  <c:v>0.6</c:v>
                </c:pt>
                <c:pt idx="130">
                  <c:v>0.6</c:v>
                </c:pt>
                <c:pt idx="131">
                  <c:v>0.6</c:v>
                </c:pt>
                <c:pt idx="132">
                  <c:v>0.6</c:v>
                </c:pt>
                <c:pt idx="133">
                  <c:v>0.6</c:v>
                </c:pt>
                <c:pt idx="134">
                  <c:v>0.6</c:v>
                </c:pt>
                <c:pt idx="135">
                  <c:v>0.5</c:v>
                </c:pt>
                <c:pt idx="136">
                  <c:v>0.5</c:v>
                </c:pt>
                <c:pt idx="137">
                  <c:v>0.5</c:v>
                </c:pt>
                <c:pt idx="138">
                  <c:v>0.5</c:v>
                </c:pt>
                <c:pt idx="139">
                  <c:v>0.5</c:v>
                </c:pt>
                <c:pt idx="140">
                  <c:v>0.5</c:v>
                </c:pt>
                <c:pt idx="141">
                  <c:v>0.5</c:v>
                </c:pt>
                <c:pt idx="142">
                  <c:v>0.5</c:v>
                </c:pt>
                <c:pt idx="143">
                  <c:v>0.5</c:v>
                </c:pt>
                <c:pt idx="144">
                  <c:v>0.6</c:v>
                </c:pt>
                <c:pt idx="145">
                  <c:v>0.6</c:v>
                </c:pt>
                <c:pt idx="146">
                  <c:v>0.6</c:v>
                </c:pt>
                <c:pt idx="147">
                  <c:v>0.6</c:v>
                </c:pt>
                <c:pt idx="148">
                  <c:v>0.7</c:v>
                </c:pt>
                <c:pt idx="149">
                  <c:v>0.6</c:v>
                </c:pt>
                <c:pt idx="150">
                  <c:v>0.6</c:v>
                </c:pt>
                <c:pt idx="151">
                  <c:v>0.7</c:v>
                </c:pt>
                <c:pt idx="152">
                  <c:v>0.7</c:v>
                </c:pt>
                <c:pt idx="153">
                  <c:v>0.7</c:v>
                </c:pt>
                <c:pt idx="154">
                  <c:v>0.7</c:v>
                </c:pt>
                <c:pt idx="155">
                  <c:v>0.6</c:v>
                </c:pt>
                <c:pt idx="156">
                  <c:v>0.6</c:v>
                </c:pt>
                <c:pt idx="157">
                  <c:v>0.6</c:v>
                </c:pt>
                <c:pt idx="158">
                  <c:v>0.6</c:v>
                </c:pt>
                <c:pt idx="159">
                  <c:v>0.6</c:v>
                </c:pt>
                <c:pt idx="160">
                  <c:v>0.6</c:v>
                </c:pt>
                <c:pt idx="161">
                  <c:v>0.6</c:v>
                </c:pt>
                <c:pt idx="162">
                  <c:v>0.6</c:v>
                </c:pt>
                <c:pt idx="163">
                  <c:v>0.6</c:v>
                </c:pt>
                <c:pt idx="164">
                  <c:v>0.6</c:v>
                </c:pt>
                <c:pt idx="165">
                  <c:v>0.6</c:v>
                </c:pt>
                <c:pt idx="166">
                  <c:v>0.6</c:v>
                </c:pt>
                <c:pt idx="167">
                  <c:v>0.6</c:v>
                </c:pt>
                <c:pt idx="168">
                  <c:v>0.6</c:v>
                </c:pt>
                <c:pt idx="169">
                  <c:v>0.6</c:v>
                </c:pt>
                <c:pt idx="170">
                  <c:v>0.6</c:v>
                </c:pt>
                <c:pt idx="171">
                  <c:v>0.6</c:v>
                </c:pt>
                <c:pt idx="172">
                  <c:v>0.6</c:v>
                </c:pt>
                <c:pt idx="173">
                  <c:v>0.6</c:v>
                </c:pt>
                <c:pt idx="174">
                  <c:v>0.6</c:v>
                </c:pt>
                <c:pt idx="175">
                  <c:v>0.6</c:v>
                </c:pt>
                <c:pt idx="176">
                  <c:v>0.6</c:v>
                </c:pt>
                <c:pt idx="177">
                  <c:v>0.5</c:v>
                </c:pt>
                <c:pt idx="178">
                  <c:v>0.5</c:v>
                </c:pt>
                <c:pt idx="179">
                  <c:v>0.5</c:v>
                </c:pt>
                <c:pt idx="180">
                  <c:v>0.5</c:v>
                </c:pt>
                <c:pt idx="181">
                  <c:v>0.5</c:v>
                </c:pt>
                <c:pt idx="182">
                  <c:v>0.5</c:v>
                </c:pt>
                <c:pt idx="183">
                  <c:v>0.5</c:v>
                </c:pt>
                <c:pt idx="184">
                  <c:v>0.5</c:v>
                </c:pt>
                <c:pt idx="185">
                  <c:v>0.5</c:v>
                </c:pt>
                <c:pt idx="186">
                  <c:v>0.5</c:v>
                </c:pt>
                <c:pt idx="187">
                  <c:v>0.5</c:v>
                </c:pt>
                <c:pt idx="188">
                  <c:v>0.5</c:v>
                </c:pt>
                <c:pt idx="189">
                  <c:v>0.5</c:v>
                </c:pt>
                <c:pt idx="190">
                  <c:v>0.5</c:v>
                </c:pt>
                <c:pt idx="191">
                  <c:v>0.5</c:v>
                </c:pt>
                <c:pt idx="192">
                  <c:v>0.5</c:v>
                </c:pt>
                <c:pt idx="193">
                  <c:v>0.4</c:v>
                </c:pt>
                <c:pt idx="194">
                  <c:v>0.4</c:v>
                </c:pt>
                <c:pt idx="195">
                  <c:v>0.4</c:v>
                </c:pt>
                <c:pt idx="196">
                  <c:v>0.4</c:v>
                </c:pt>
                <c:pt idx="197">
                  <c:v>0.4</c:v>
                </c:pt>
                <c:pt idx="198">
                  <c:v>0.4</c:v>
                </c:pt>
                <c:pt idx="199">
                  <c:v>0.4</c:v>
                </c:pt>
                <c:pt idx="200">
                  <c:v>0.4</c:v>
                </c:pt>
                <c:pt idx="201">
                  <c:v>0.4</c:v>
                </c:pt>
                <c:pt idx="202">
                  <c:v>0.4</c:v>
                </c:pt>
                <c:pt idx="203">
                  <c:v>0.4</c:v>
                </c:pt>
                <c:pt idx="204">
                  <c:v>0.4</c:v>
                </c:pt>
                <c:pt idx="205">
                  <c:v>0.4</c:v>
                </c:pt>
                <c:pt idx="206">
                  <c:v>0.4</c:v>
                </c:pt>
                <c:pt idx="207">
                  <c:v>0.4</c:v>
                </c:pt>
                <c:pt idx="208">
                  <c:v>0.4</c:v>
                </c:pt>
                <c:pt idx="209">
                  <c:v>0.4</c:v>
                </c:pt>
                <c:pt idx="210">
                  <c:v>0.4</c:v>
                </c:pt>
                <c:pt idx="211">
                  <c:v>0.4</c:v>
                </c:pt>
                <c:pt idx="212">
                  <c:v>0.4</c:v>
                </c:pt>
                <c:pt idx="213">
                  <c:v>0.3</c:v>
                </c:pt>
                <c:pt idx="214">
                  <c:v>0.4</c:v>
                </c:pt>
                <c:pt idx="215">
                  <c:v>0.4</c:v>
                </c:pt>
                <c:pt idx="216">
                  <c:v>0.4</c:v>
                </c:pt>
                <c:pt idx="217">
                  <c:v>0.3</c:v>
                </c:pt>
                <c:pt idx="218">
                  <c:v>0.3</c:v>
                </c:pt>
                <c:pt idx="219">
                  <c:v>0.3</c:v>
                </c:pt>
                <c:pt idx="220">
                  <c:v>0.3</c:v>
                </c:pt>
                <c:pt idx="221">
                  <c:v>0.3</c:v>
                </c:pt>
                <c:pt idx="222">
                  <c:v>0.3</c:v>
                </c:pt>
                <c:pt idx="223">
                  <c:v>0.3</c:v>
                </c:pt>
                <c:pt idx="224">
                  <c:v>0.3</c:v>
                </c:pt>
                <c:pt idx="225">
                  <c:v>0.3</c:v>
                </c:pt>
                <c:pt idx="226">
                  <c:v>0.3</c:v>
                </c:pt>
                <c:pt idx="227">
                  <c:v>0.3</c:v>
                </c:pt>
                <c:pt idx="228">
                  <c:v>0.3</c:v>
                </c:pt>
                <c:pt idx="229">
                  <c:v>0.3</c:v>
                </c:pt>
                <c:pt idx="230">
                  <c:v>0.3</c:v>
                </c:pt>
                <c:pt idx="231">
                  <c:v>0.3</c:v>
                </c:pt>
                <c:pt idx="232">
                  <c:v>0.3</c:v>
                </c:pt>
                <c:pt idx="233">
                  <c:v>0.3</c:v>
                </c:pt>
                <c:pt idx="234">
                  <c:v>0.3</c:v>
                </c:pt>
                <c:pt idx="235">
                  <c:v>0.3</c:v>
                </c:pt>
                <c:pt idx="236">
                  <c:v>0.3</c:v>
                </c:pt>
                <c:pt idx="237">
                  <c:v>0.3</c:v>
                </c:pt>
                <c:pt idx="238">
                  <c:v>0.3</c:v>
                </c:pt>
                <c:pt idx="239">
                  <c:v>0.3</c:v>
                </c:pt>
                <c:pt idx="240">
                  <c:v>0.3</c:v>
                </c:pt>
                <c:pt idx="241">
                  <c:v>0.3</c:v>
                </c:pt>
                <c:pt idx="242">
                  <c:v>0.3</c:v>
                </c:pt>
                <c:pt idx="243">
                  <c:v>0.3</c:v>
                </c:pt>
                <c:pt idx="244">
                  <c:v>0.3</c:v>
                </c:pt>
                <c:pt idx="245">
                  <c:v>0.3</c:v>
                </c:pt>
                <c:pt idx="246">
                  <c:v>0.3</c:v>
                </c:pt>
                <c:pt idx="247">
                  <c:v>0.3</c:v>
                </c:pt>
                <c:pt idx="248">
                  <c:v>0.2</c:v>
                </c:pt>
                <c:pt idx="249">
                  <c:v>0.3</c:v>
                </c:pt>
                <c:pt idx="250">
                  <c:v>0.2</c:v>
                </c:pt>
                <c:pt idx="251">
                  <c:v>0.3</c:v>
                </c:pt>
                <c:pt idx="252">
                  <c:v>0.2</c:v>
                </c:pt>
                <c:pt idx="253">
                  <c:v>0.2</c:v>
                </c:pt>
                <c:pt idx="254">
                  <c:v>0.2</c:v>
                </c:pt>
                <c:pt idx="255">
                  <c:v>0.2</c:v>
                </c:pt>
                <c:pt idx="256">
                  <c:v>0.2</c:v>
                </c:pt>
                <c:pt idx="257">
                  <c:v>0.2</c:v>
                </c:pt>
                <c:pt idx="258">
                  <c:v>0.1</c:v>
                </c:pt>
                <c:pt idx="259">
                  <c:v>0.1</c:v>
                </c:pt>
                <c:pt idx="260">
                  <c:v>0.2</c:v>
                </c:pt>
                <c:pt idx="261">
                  <c:v>0.1</c:v>
                </c:pt>
                <c:pt idx="262">
                  <c:v>0.1</c:v>
                </c:pt>
                <c:pt idx="263">
                  <c:v>0.1</c:v>
                </c:pt>
                <c:pt idx="264">
                  <c:v>0.1</c:v>
                </c:pt>
                <c:pt idx="265">
                  <c:v>0.2</c:v>
                </c:pt>
                <c:pt idx="266">
                  <c:v>0.1</c:v>
                </c:pt>
                <c:pt idx="267">
                  <c:v>0.1</c:v>
                </c:pt>
                <c:pt idx="268">
                  <c:v>0.1</c:v>
                </c:pt>
                <c:pt idx="269">
                  <c:v>0.1</c:v>
                </c:pt>
                <c:pt idx="270">
                  <c:v>0.1</c:v>
                </c:pt>
                <c:pt idx="271">
                  <c:v>0.1</c:v>
                </c:pt>
                <c:pt idx="272">
                  <c:v>0.1</c:v>
                </c:pt>
                <c:pt idx="273">
                  <c:v>0.1</c:v>
                </c:pt>
                <c:pt idx="274">
                  <c:v>0.1</c:v>
                </c:pt>
                <c:pt idx="275">
                  <c:v>0.1</c:v>
                </c:pt>
                <c:pt idx="276">
                  <c:v>0.1</c:v>
                </c:pt>
                <c:pt idx="277">
                  <c:v>0.1</c:v>
                </c:pt>
                <c:pt idx="278">
                  <c:v>0.1</c:v>
                </c:pt>
                <c:pt idx="279">
                  <c:v>0.1</c:v>
                </c:pt>
                <c:pt idx="280">
                  <c:v>0.1</c:v>
                </c:pt>
                <c:pt idx="281">
                  <c:v>0.1</c:v>
                </c:pt>
                <c:pt idx="282">
                  <c:v>0.1</c:v>
                </c:pt>
                <c:pt idx="283">
                  <c:v>0.1</c:v>
                </c:pt>
                <c:pt idx="284">
                  <c:v>0.1</c:v>
                </c:pt>
                <c:pt idx="285">
                  <c:v>0.1</c:v>
                </c:pt>
                <c:pt idx="286">
                  <c:v>0.1</c:v>
                </c:pt>
                <c:pt idx="287">
                  <c:v>0.1</c:v>
                </c:pt>
                <c:pt idx="288">
                  <c:v>0.1</c:v>
                </c:pt>
                <c:pt idx="289">
                  <c:v>0.1</c:v>
                </c:pt>
                <c:pt idx="290">
                  <c:v>0.1</c:v>
                </c:pt>
                <c:pt idx="291">
                  <c:v>0.1</c:v>
                </c:pt>
                <c:pt idx="292">
                  <c:v>0.1</c:v>
                </c:pt>
                <c:pt idx="293">
                  <c:v>0.1</c:v>
                </c:pt>
                <c:pt idx="294">
                  <c:v>0.1</c:v>
                </c:pt>
                <c:pt idx="295">
                  <c:v>0.1</c:v>
                </c:pt>
                <c:pt idx="296">
                  <c:v>0.1</c:v>
                </c:pt>
                <c:pt idx="297">
                  <c:v>0.1</c:v>
                </c:pt>
                <c:pt idx="298">
                  <c:v>0.1</c:v>
                </c:pt>
                <c:pt idx="299">
                  <c:v>0.1</c:v>
                </c:pt>
                <c:pt idx="300">
                  <c:v>0.1</c:v>
                </c:pt>
                <c:pt idx="301">
                  <c:v>0.1</c:v>
                </c:pt>
                <c:pt idx="302">
                  <c:v>0.1</c:v>
                </c:pt>
                <c:pt idx="303">
                  <c:v>0.1</c:v>
                </c:pt>
                <c:pt idx="304">
                  <c:v>0.1</c:v>
                </c:pt>
                <c:pt idx="305">
                  <c:v>0.1</c:v>
                </c:pt>
                <c:pt idx="306">
                  <c:v>0.1</c:v>
                </c:pt>
                <c:pt idx="307">
                  <c:v>0.1</c:v>
                </c:pt>
                <c:pt idx="308">
                  <c:v>0.1</c:v>
                </c:pt>
                <c:pt idx="309">
                  <c:v>0.1</c:v>
                </c:pt>
                <c:pt idx="310">
                  <c:v>0.1</c:v>
                </c:pt>
                <c:pt idx="311">
                  <c:v>0.1</c:v>
                </c:pt>
                <c:pt idx="312">
                  <c:v>0.1</c:v>
                </c:pt>
                <c:pt idx="313">
                  <c:v>0.1</c:v>
                </c:pt>
                <c:pt idx="314">
                  <c:v>0.1</c:v>
                </c:pt>
                <c:pt idx="315">
                  <c:v>0.1</c:v>
                </c:pt>
                <c:pt idx="316">
                  <c:v>0.1</c:v>
                </c:pt>
                <c:pt idx="317">
                  <c:v>0.1</c:v>
                </c:pt>
                <c:pt idx="318">
                  <c:v>0.1</c:v>
                </c:pt>
                <c:pt idx="319">
                  <c:v>0.1</c:v>
                </c:pt>
                <c:pt idx="320">
                  <c:v>0.1</c:v>
                </c:pt>
                <c:pt idx="321">
                  <c:v>0.1</c:v>
                </c:pt>
                <c:pt idx="322">
                  <c:v>0.1</c:v>
                </c:pt>
                <c:pt idx="323">
                  <c:v>0.1</c:v>
                </c:pt>
                <c:pt idx="324">
                  <c:v>0.1</c:v>
                </c:pt>
                <c:pt idx="325">
                  <c:v>0.1</c:v>
                </c:pt>
                <c:pt idx="326">
                  <c:v>0.1</c:v>
                </c:pt>
                <c:pt idx="327">
                  <c:v>0.1</c:v>
                </c:pt>
                <c:pt idx="328">
                  <c:v>0.1</c:v>
                </c:pt>
                <c:pt idx="329">
                  <c:v>0.1</c:v>
                </c:pt>
                <c:pt idx="330">
                  <c:v>0.1</c:v>
                </c:pt>
                <c:pt idx="331">
                  <c:v>0.1</c:v>
                </c:pt>
                <c:pt idx="332">
                  <c:v>0.1</c:v>
                </c:pt>
                <c:pt idx="333">
                  <c:v>0.1</c:v>
                </c:pt>
                <c:pt idx="334">
                  <c:v>0.1</c:v>
                </c:pt>
                <c:pt idx="335">
                  <c:v>0.1</c:v>
                </c:pt>
                <c:pt idx="336">
                  <c:v>0.1</c:v>
                </c:pt>
                <c:pt idx="337">
                  <c:v>0.1</c:v>
                </c:pt>
                <c:pt idx="338">
                  <c:v>0.1</c:v>
                </c:pt>
                <c:pt idx="339">
                  <c:v>0.1</c:v>
                </c:pt>
                <c:pt idx="340">
                  <c:v>0.1</c:v>
                </c:pt>
                <c:pt idx="341">
                  <c:v>0.1</c:v>
                </c:pt>
                <c:pt idx="342">
                  <c:v>0.1</c:v>
                </c:pt>
                <c:pt idx="343">
                  <c:v>0.1</c:v>
                </c:pt>
                <c:pt idx="344">
                  <c:v>0.1</c:v>
                </c:pt>
                <c:pt idx="345">
                  <c:v>0.1</c:v>
                </c:pt>
                <c:pt idx="346">
                  <c:v>0.1</c:v>
                </c:pt>
                <c:pt idx="347">
                  <c:v>0.1</c:v>
                </c:pt>
                <c:pt idx="348">
                  <c:v>0.1</c:v>
                </c:pt>
                <c:pt idx="349">
                  <c:v>0.1</c:v>
                </c:pt>
                <c:pt idx="350">
                  <c:v>0.1</c:v>
                </c:pt>
                <c:pt idx="351">
                  <c:v>0.1</c:v>
                </c:pt>
                <c:pt idx="352">
                  <c:v>0.1</c:v>
                </c:pt>
                <c:pt idx="353">
                  <c:v>0.1</c:v>
                </c:pt>
                <c:pt idx="354">
                  <c:v>0.1</c:v>
                </c:pt>
                <c:pt idx="355">
                  <c:v>0.1</c:v>
                </c:pt>
                <c:pt idx="356">
                  <c:v>0.1</c:v>
                </c:pt>
                <c:pt idx="357">
                  <c:v>0.1</c:v>
                </c:pt>
                <c:pt idx="358">
                  <c:v>0.1</c:v>
                </c:pt>
                <c:pt idx="359">
                  <c:v>0.1</c:v>
                </c:pt>
                <c:pt idx="360">
                  <c:v>0.1</c:v>
                </c:pt>
                <c:pt idx="361">
                  <c:v>0.1</c:v>
                </c:pt>
                <c:pt idx="362">
                  <c:v>0.1</c:v>
                </c:pt>
                <c:pt idx="363">
                  <c:v>0.1</c:v>
                </c:pt>
                <c:pt idx="364">
                  <c:v>0.1</c:v>
                </c:pt>
                <c:pt idx="365">
                  <c:v>0.1</c:v>
                </c:pt>
                <c:pt idx="366">
                  <c:v>0.1</c:v>
                </c:pt>
                <c:pt idx="367">
                  <c:v>0.1</c:v>
                </c:pt>
                <c:pt idx="368">
                  <c:v>0.1</c:v>
                </c:pt>
                <c:pt idx="369">
                  <c:v>0.1</c:v>
                </c:pt>
                <c:pt idx="370">
                  <c:v>0.1</c:v>
                </c:pt>
                <c:pt idx="371">
                  <c:v>0.1</c:v>
                </c:pt>
                <c:pt idx="372">
                  <c:v>0.1</c:v>
                </c:pt>
                <c:pt idx="373">
                  <c:v>0.1</c:v>
                </c:pt>
                <c:pt idx="374">
                  <c:v>0.1</c:v>
                </c:pt>
                <c:pt idx="375">
                  <c:v>0.1</c:v>
                </c:pt>
                <c:pt idx="376">
                  <c:v>0.1</c:v>
                </c:pt>
                <c:pt idx="377">
                  <c:v>0.1</c:v>
                </c:pt>
                <c:pt idx="378">
                  <c:v>0.1</c:v>
                </c:pt>
                <c:pt idx="379">
                  <c:v>0.1</c:v>
                </c:pt>
                <c:pt idx="380">
                  <c:v>0.1</c:v>
                </c:pt>
                <c:pt idx="381">
                  <c:v>0.1</c:v>
                </c:pt>
                <c:pt idx="382">
                  <c:v>0.1</c:v>
                </c:pt>
                <c:pt idx="383">
                  <c:v>0.1</c:v>
                </c:pt>
                <c:pt idx="384">
                  <c:v>0.1</c:v>
                </c:pt>
                <c:pt idx="385">
                  <c:v>0.1</c:v>
                </c:pt>
                <c:pt idx="386">
                  <c:v>0.1</c:v>
                </c:pt>
                <c:pt idx="387">
                  <c:v>0.1</c:v>
                </c:pt>
                <c:pt idx="388">
                  <c:v>0.1</c:v>
                </c:pt>
                <c:pt idx="389">
                  <c:v>0.1</c:v>
                </c:pt>
                <c:pt idx="390">
                  <c:v>0.1</c:v>
                </c:pt>
                <c:pt idx="391">
                  <c:v>0.1</c:v>
                </c:pt>
                <c:pt idx="392">
                  <c:v>0.1</c:v>
                </c:pt>
                <c:pt idx="393">
                  <c:v>0.1</c:v>
                </c:pt>
                <c:pt idx="394">
                  <c:v>0.1</c:v>
                </c:pt>
                <c:pt idx="395">
                  <c:v>0.1</c:v>
                </c:pt>
                <c:pt idx="396">
                  <c:v>0.1</c:v>
                </c:pt>
                <c:pt idx="397">
                  <c:v>0.1</c:v>
                </c:pt>
                <c:pt idx="398">
                  <c:v>0.1</c:v>
                </c:pt>
                <c:pt idx="399">
                  <c:v>0.1</c:v>
                </c:pt>
                <c:pt idx="400">
                  <c:v>0.1</c:v>
                </c:pt>
                <c:pt idx="401">
                  <c:v>0.1</c:v>
                </c:pt>
                <c:pt idx="402">
                  <c:v>0.1</c:v>
                </c:pt>
                <c:pt idx="403">
                  <c:v>0.1</c:v>
                </c:pt>
                <c:pt idx="404">
                  <c:v>0.1</c:v>
                </c:pt>
                <c:pt idx="405">
                  <c:v>0.1</c:v>
                </c:pt>
                <c:pt idx="406">
                  <c:v>0.1</c:v>
                </c:pt>
                <c:pt idx="407">
                  <c:v>0.1</c:v>
                </c:pt>
                <c:pt idx="408">
                  <c:v>0.1</c:v>
                </c:pt>
                <c:pt idx="409">
                  <c:v>0.1</c:v>
                </c:pt>
                <c:pt idx="410">
                  <c:v>0.1</c:v>
                </c:pt>
                <c:pt idx="411">
                  <c:v>0.1</c:v>
                </c:pt>
                <c:pt idx="412">
                  <c:v>0.1</c:v>
                </c:pt>
                <c:pt idx="413">
                  <c:v>0.1</c:v>
                </c:pt>
                <c:pt idx="414">
                  <c:v>0.1</c:v>
                </c:pt>
                <c:pt idx="415">
                  <c:v>0.1</c:v>
                </c:pt>
                <c:pt idx="416">
                  <c:v>0.1</c:v>
                </c:pt>
                <c:pt idx="417">
                  <c:v>0.1</c:v>
                </c:pt>
                <c:pt idx="418">
                  <c:v>0.1</c:v>
                </c:pt>
                <c:pt idx="419">
                  <c:v>0.1</c:v>
                </c:pt>
                <c:pt idx="420">
                  <c:v>0.1</c:v>
                </c:pt>
                <c:pt idx="421">
                  <c:v>0.1</c:v>
                </c:pt>
                <c:pt idx="422">
                  <c:v>0.2</c:v>
                </c:pt>
                <c:pt idx="423">
                  <c:v>0.2</c:v>
                </c:pt>
                <c:pt idx="424">
                  <c:v>0.1</c:v>
                </c:pt>
                <c:pt idx="425">
                  <c:v>0.2</c:v>
                </c:pt>
                <c:pt idx="426">
                  <c:v>0.1</c:v>
                </c:pt>
                <c:pt idx="427">
                  <c:v>0.1</c:v>
                </c:pt>
                <c:pt idx="428">
                  <c:v>0.1</c:v>
                </c:pt>
                <c:pt idx="429">
                  <c:v>0.2</c:v>
                </c:pt>
                <c:pt idx="430">
                  <c:v>0.1</c:v>
                </c:pt>
                <c:pt idx="431">
                  <c:v>0.1</c:v>
                </c:pt>
                <c:pt idx="432">
                  <c:v>0.2</c:v>
                </c:pt>
                <c:pt idx="433">
                  <c:v>0.2</c:v>
                </c:pt>
                <c:pt idx="434">
                  <c:v>0.1</c:v>
                </c:pt>
                <c:pt idx="435">
                  <c:v>0.1</c:v>
                </c:pt>
                <c:pt idx="436">
                  <c:v>0.1</c:v>
                </c:pt>
                <c:pt idx="437">
                  <c:v>0.2</c:v>
                </c:pt>
                <c:pt idx="438">
                  <c:v>0.2</c:v>
                </c:pt>
                <c:pt idx="439">
                  <c:v>0.2</c:v>
                </c:pt>
                <c:pt idx="440">
                  <c:v>0.2</c:v>
                </c:pt>
                <c:pt idx="441">
                  <c:v>0.2</c:v>
                </c:pt>
                <c:pt idx="442">
                  <c:v>0.2</c:v>
                </c:pt>
                <c:pt idx="443">
                  <c:v>0.1</c:v>
                </c:pt>
                <c:pt idx="444">
                  <c:v>0.1</c:v>
                </c:pt>
                <c:pt idx="445">
                  <c:v>0.1</c:v>
                </c:pt>
                <c:pt idx="446">
                  <c:v>0.1</c:v>
                </c:pt>
                <c:pt idx="447">
                  <c:v>0.1</c:v>
                </c:pt>
                <c:pt idx="448">
                  <c:v>0.2</c:v>
                </c:pt>
                <c:pt idx="449">
                  <c:v>0.1</c:v>
                </c:pt>
                <c:pt idx="450">
                  <c:v>0.1</c:v>
                </c:pt>
                <c:pt idx="451">
                  <c:v>0.1</c:v>
                </c:pt>
                <c:pt idx="452">
                  <c:v>0.2</c:v>
                </c:pt>
                <c:pt idx="453">
                  <c:v>0.2</c:v>
                </c:pt>
                <c:pt idx="454">
                  <c:v>0.1</c:v>
                </c:pt>
                <c:pt idx="455">
                  <c:v>0.1</c:v>
                </c:pt>
                <c:pt idx="456">
                  <c:v>0.2</c:v>
                </c:pt>
                <c:pt idx="457">
                  <c:v>0.2</c:v>
                </c:pt>
                <c:pt idx="458">
                  <c:v>0.2</c:v>
                </c:pt>
                <c:pt idx="459">
                  <c:v>0.2</c:v>
                </c:pt>
                <c:pt idx="460">
                  <c:v>0.2</c:v>
                </c:pt>
                <c:pt idx="461">
                  <c:v>0.2</c:v>
                </c:pt>
                <c:pt idx="462">
                  <c:v>0.3</c:v>
                </c:pt>
                <c:pt idx="463">
                  <c:v>0.2</c:v>
                </c:pt>
                <c:pt idx="464">
                  <c:v>0.3</c:v>
                </c:pt>
                <c:pt idx="465">
                  <c:v>0.3</c:v>
                </c:pt>
                <c:pt idx="466">
                  <c:v>0.3</c:v>
                </c:pt>
                <c:pt idx="467">
                  <c:v>0.3</c:v>
                </c:pt>
                <c:pt idx="468">
                  <c:v>0.3</c:v>
                </c:pt>
                <c:pt idx="469">
                  <c:v>0.3</c:v>
                </c:pt>
                <c:pt idx="470">
                  <c:v>0.3</c:v>
                </c:pt>
                <c:pt idx="471">
                  <c:v>0.3</c:v>
                </c:pt>
                <c:pt idx="472">
                  <c:v>0.2</c:v>
                </c:pt>
                <c:pt idx="473">
                  <c:v>0.3</c:v>
                </c:pt>
                <c:pt idx="474">
                  <c:v>0.3</c:v>
                </c:pt>
                <c:pt idx="475">
                  <c:v>0.3</c:v>
                </c:pt>
                <c:pt idx="476">
                  <c:v>0.3</c:v>
                </c:pt>
                <c:pt idx="477">
                  <c:v>0.3</c:v>
                </c:pt>
                <c:pt idx="478">
                  <c:v>0.3</c:v>
                </c:pt>
                <c:pt idx="479">
                  <c:v>0.3</c:v>
                </c:pt>
                <c:pt idx="480">
                  <c:v>0.3</c:v>
                </c:pt>
                <c:pt idx="481">
                  <c:v>0.3</c:v>
                </c:pt>
                <c:pt idx="482">
                  <c:v>0.3</c:v>
                </c:pt>
                <c:pt idx="483">
                  <c:v>0.2</c:v>
                </c:pt>
                <c:pt idx="484">
                  <c:v>0.3</c:v>
                </c:pt>
                <c:pt idx="485">
                  <c:v>0.3</c:v>
                </c:pt>
                <c:pt idx="486">
                  <c:v>0.3</c:v>
                </c:pt>
                <c:pt idx="487">
                  <c:v>0.3</c:v>
                </c:pt>
                <c:pt idx="488">
                  <c:v>0.3</c:v>
                </c:pt>
                <c:pt idx="489">
                  <c:v>0.3</c:v>
                </c:pt>
                <c:pt idx="490">
                  <c:v>0.3</c:v>
                </c:pt>
                <c:pt idx="491">
                  <c:v>0.3</c:v>
                </c:pt>
                <c:pt idx="492">
                  <c:v>0.3</c:v>
                </c:pt>
                <c:pt idx="493">
                  <c:v>0.3</c:v>
                </c:pt>
                <c:pt idx="494">
                  <c:v>0.3</c:v>
                </c:pt>
                <c:pt idx="495">
                  <c:v>0.3</c:v>
                </c:pt>
                <c:pt idx="496">
                  <c:v>0.3</c:v>
                </c:pt>
                <c:pt idx="497">
                  <c:v>0.3</c:v>
                </c:pt>
                <c:pt idx="498">
                  <c:v>0.3</c:v>
                </c:pt>
                <c:pt idx="499">
                  <c:v>0.3</c:v>
                </c:pt>
                <c:pt idx="500">
                  <c:v>0.3</c:v>
                </c:pt>
                <c:pt idx="501">
                  <c:v>0.3</c:v>
                </c:pt>
                <c:pt idx="502">
                  <c:v>0.3</c:v>
                </c:pt>
                <c:pt idx="503">
                  <c:v>0.3</c:v>
                </c:pt>
                <c:pt idx="504">
                  <c:v>0.3</c:v>
                </c:pt>
                <c:pt idx="505">
                  <c:v>0.3</c:v>
                </c:pt>
                <c:pt idx="506">
                  <c:v>0.3</c:v>
                </c:pt>
                <c:pt idx="507">
                  <c:v>0.3</c:v>
                </c:pt>
                <c:pt idx="508">
                  <c:v>0.3</c:v>
                </c:pt>
                <c:pt idx="509">
                  <c:v>0.3</c:v>
                </c:pt>
                <c:pt idx="510">
                  <c:v>0.3</c:v>
                </c:pt>
                <c:pt idx="511">
                  <c:v>0.3</c:v>
                </c:pt>
                <c:pt idx="512">
                  <c:v>0.3</c:v>
                </c:pt>
                <c:pt idx="513">
                  <c:v>0.3</c:v>
                </c:pt>
                <c:pt idx="514">
                  <c:v>0.3</c:v>
                </c:pt>
                <c:pt idx="515">
                  <c:v>0.3</c:v>
                </c:pt>
                <c:pt idx="516">
                  <c:v>0.3</c:v>
                </c:pt>
                <c:pt idx="517">
                  <c:v>0.3</c:v>
                </c:pt>
                <c:pt idx="518">
                  <c:v>0.3</c:v>
                </c:pt>
                <c:pt idx="519">
                  <c:v>0.3</c:v>
                </c:pt>
                <c:pt idx="520">
                  <c:v>0.3</c:v>
                </c:pt>
                <c:pt idx="521">
                  <c:v>0.3</c:v>
                </c:pt>
                <c:pt idx="522">
                  <c:v>0.3</c:v>
                </c:pt>
                <c:pt idx="523">
                  <c:v>0.3</c:v>
                </c:pt>
                <c:pt idx="524">
                  <c:v>0.3</c:v>
                </c:pt>
                <c:pt idx="525">
                  <c:v>0.3</c:v>
                </c:pt>
                <c:pt idx="526">
                  <c:v>0.3</c:v>
                </c:pt>
                <c:pt idx="527">
                  <c:v>0.3</c:v>
                </c:pt>
                <c:pt idx="528">
                  <c:v>0.3</c:v>
                </c:pt>
                <c:pt idx="529">
                  <c:v>0.3</c:v>
                </c:pt>
                <c:pt idx="530">
                  <c:v>0.3</c:v>
                </c:pt>
                <c:pt idx="531">
                  <c:v>0.3</c:v>
                </c:pt>
                <c:pt idx="532">
                  <c:v>0.3</c:v>
                </c:pt>
                <c:pt idx="533">
                  <c:v>0.3</c:v>
                </c:pt>
                <c:pt idx="534">
                  <c:v>0.3</c:v>
                </c:pt>
                <c:pt idx="535">
                  <c:v>0.3</c:v>
                </c:pt>
                <c:pt idx="536">
                  <c:v>0.3</c:v>
                </c:pt>
                <c:pt idx="537">
                  <c:v>0.3</c:v>
                </c:pt>
                <c:pt idx="538">
                  <c:v>0.3</c:v>
                </c:pt>
                <c:pt idx="539">
                  <c:v>0.3</c:v>
                </c:pt>
                <c:pt idx="540">
                  <c:v>0.3</c:v>
                </c:pt>
                <c:pt idx="541">
                  <c:v>0.3</c:v>
                </c:pt>
                <c:pt idx="542">
                  <c:v>0.3</c:v>
                </c:pt>
                <c:pt idx="543">
                  <c:v>0.3</c:v>
                </c:pt>
                <c:pt idx="544">
                  <c:v>0.3</c:v>
                </c:pt>
                <c:pt idx="545">
                  <c:v>0.3</c:v>
                </c:pt>
                <c:pt idx="546">
                  <c:v>0.3</c:v>
                </c:pt>
                <c:pt idx="547">
                  <c:v>0.3</c:v>
                </c:pt>
                <c:pt idx="548">
                  <c:v>0.3</c:v>
                </c:pt>
                <c:pt idx="549">
                  <c:v>0.3</c:v>
                </c:pt>
                <c:pt idx="550">
                  <c:v>0.3</c:v>
                </c:pt>
                <c:pt idx="551">
                  <c:v>0.3</c:v>
                </c:pt>
                <c:pt idx="552">
                  <c:v>0.4</c:v>
                </c:pt>
                <c:pt idx="553">
                  <c:v>0.4</c:v>
                </c:pt>
                <c:pt idx="554">
                  <c:v>0.3</c:v>
                </c:pt>
                <c:pt idx="555">
                  <c:v>0.3</c:v>
                </c:pt>
                <c:pt idx="556">
                  <c:v>0.4</c:v>
                </c:pt>
                <c:pt idx="557">
                  <c:v>0.4</c:v>
                </c:pt>
                <c:pt idx="558">
                  <c:v>0.4</c:v>
                </c:pt>
                <c:pt idx="559">
                  <c:v>0.4</c:v>
                </c:pt>
                <c:pt idx="560">
                  <c:v>0.4</c:v>
                </c:pt>
                <c:pt idx="561">
                  <c:v>0.4</c:v>
                </c:pt>
                <c:pt idx="562">
                  <c:v>0.4</c:v>
                </c:pt>
                <c:pt idx="563">
                  <c:v>0.4</c:v>
                </c:pt>
                <c:pt idx="564">
                  <c:v>0.4</c:v>
                </c:pt>
                <c:pt idx="565">
                  <c:v>0.4</c:v>
                </c:pt>
                <c:pt idx="566">
                  <c:v>0.4</c:v>
                </c:pt>
                <c:pt idx="567">
                  <c:v>0.4</c:v>
                </c:pt>
                <c:pt idx="568">
                  <c:v>0.4</c:v>
                </c:pt>
                <c:pt idx="569">
                  <c:v>0.4</c:v>
                </c:pt>
                <c:pt idx="570">
                  <c:v>0.4</c:v>
                </c:pt>
                <c:pt idx="571">
                  <c:v>0.4</c:v>
                </c:pt>
                <c:pt idx="572">
                  <c:v>0.4</c:v>
                </c:pt>
                <c:pt idx="573">
                  <c:v>0.4</c:v>
                </c:pt>
                <c:pt idx="574">
                  <c:v>0.4</c:v>
                </c:pt>
                <c:pt idx="575">
                  <c:v>0.4</c:v>
                </c:pt>
                <c:pt idx="576">
                  <c:v>0.4</c:v>
                </c:pt>
                <c:pt idx="577">
                  <c:v>0.4</c:v>
                </c:pt>
                <c:pt idx="578">
                  <c:v>0.4</c:v>
                </c:pt>
                <c:pt idx="579">
                  <c:v>0.4</c:v>
                </c:pt>
                <c:pt idx="580">
                  <c:v>0.4</c:v>
                </c:pt>
                <c:pt idx="581">
                  <c:v>0.4</c:v>
                </c:pt>
                <c:pt idx="582">
                  <c:v>0.4</c:v>
                </c:pt>
                <c:pt idx="583">
                  <c:v>0.4</c:v>
                </c:pt>
                <c:pt idx="584">
                  <c:v>0.4</c:v>
                </c:pt>
                <c:pt idx="585">
                  <c:v>0.4</c:v>
                </c:pt>
                <c:pt idx="586">
                  <c:v>0.4</c:v>
                </c:pt>
                <c:pt idx="587">
                  <c:v>0.4</c:v>
                </c:pt>
                <c:pt idx="588">
                  <c:v>0.4</c:v>
                </c:pt>
                <c:pt idx="589">
                  <c:v>0.4</c:v>
                </c:pt>
                <c:pt idx="590">
                  <c:v>0.4</c:v>
                </c:pt>
                <c:pt idx="591">
                  <c:v>0.5</c:v>
                </c:pt>
                <c:pt idx="592">
                  <c:v>0.4</c:v>
                </c:pt>
                <c:pt idx="593">
                  <c:v>0.5</c:v>
                </c:pt>
                <c:pt idx="594">
                  <c:v>0.5</c:v>
                </c:pt>
                <c:pt idx="595">
                  <c:v>0.5</c:v>
                </c:pt>
                <c:pt idx="596">
                  <c:v>0.5</c:v>
                </c:pt>
                <c:pt idx="597">
                  <c:v>0.5</c:v>
                </c:pt>
                <c:pt idx="598">
                  <c:v>0.5</c:v>
                </c:pt>
                <c:pt idx="599">
                  <c:v>0.5</c:v>
                </c:pt>
                <c:pt idx="600">
                  <c:v>0.5</c:v>
                </c:pt>
                <c:pt idx="601">
                  <c:v>0.5</c:v>
                </c:pt>
                <c:pt idx="602">
                  <c:v>0.5</c:v>
                </c:pt>
                <c:pt idx="603">
                  <c:v>0.5</c:v>
                </c:pt>
                <c:pt idx="604">
                  <c:v>0.5</c:v>
                </c:pt>
                <c:pt idx="605">
                  <c:v>0.5</c:v>
                </c:pt>
                <c:pt idx="606">
                  <c:v>0.5</c:v>
                </c:pt>
                <c:pt idx="607">
                  <c:v>0.5</c:v>
                </c:pt>
                <c:pt idx="608">
                  <c:v>0.5</c:v>
                </c:pt>
                <c:pt idx="609">
                  <c:v>0.5</c:v>
                </c:pt>
                <c:pt idx="610">
                  <c:v>0.5</c:v>
                </c:pt>
                <c:pt idx="611">
                  <c:v>0.5</c:v>
                </c:pt>
                <c:pt idx="612">
                  <c:v>0.5</c:v>
                </c:pt>
                <c:pt idx="613">
                  <c:v>0.5</c:v>
                </c:pt>
                <c:pt idx="614">
                  <c:v>0.5</c:v>
                </c:pt>
                <c:pt idx="615">
                  <c:v>0.5</c:v>
                </c:pt>
                <c:pt idx="616">
                  <c:v>0.5</c:v>
                </c:pt>
                <c:pt idx="617">
                  <c:v>0.5</c:v>
                </c:pt>
                <c:pt idx="618">
                  <c:v>0.5</c:v>
                </c:pt>
                <c:pt idx="619">
                  <c:v>0.5</c:v>
                </c:pt>
                <c:pt idx="620">
                  <c:v>0.5</c:v>
                </c:pt>
                <c:pt idx="621">
                  <c:v>0.5</c:v>
                </c:pt>
                <c:pt idx="622">
                  <c:v>0.5</c:v>
                </c:pt>
                <c:pt idx="623">
                  <c:v>0.5</c:v>
                </c:pt>
                <c:pt idx="624">
                  <c:v>0.5</c:v>
                </c:pt>
                <c:pt idx="625">
                  <c:v>0.5</c:v>
                </c:pt>
                <c:pt idx="626">
                  <c:v>0.5</c:v>
                </c:pt>
                <c:pt idx="627">
                  <c:v>0.6</c:v>
                </c:pt>
                <c:pt idx="628">
                  <c:v>0.6</c:v>
                </c:pt>
                <c:pt idx="629">
                  <c:v>0.6</c:v>
                </c:pt>
                <c:pt idx="630">
                  <c:v>0.6</c:v>
                </c:pt>
                <c:pt idx="631">
                  <c:v>0.6</c:v>
                </c:pt>
                <c:pt idx="632">
                  <c:v>0.6</c:v>
                </c:pt>
                <c:pt idx="633">
                  <c:v>0.6</c:v>
                </c:pt>
                <c:pt idx="634">
                  <c:v>0.6</c:v>
                </c:pt>
                <c:pt idx="635">
                  <c:v>0.6</c:v>
                </c:pt>
                <c:pt idx="636">
                  <c:v>0.6</c:v>
                </c:pt>
                <c:pt idx="637">
                  <c:v>0.6</c:v>
                </c:pt>
                <c:pt idx="638">
                  <c:v>0.6</c:v>
                </c:pt>
                <c:pt idx="639">
                  <c:v>0.6</c:v>
                </c:pt>
                <c:pt idx="640">
                  <c:v>0.6</c:v>
                </c:pt>
                <c:pt idx="641">
                  <c:v>0.6</c:v>
                </c:pt>
                <c:pt idx="642">
                  <c:v>0.6</c:v>
                </c:pt>
                <c:pt idx="643">
                  <c:v>0.6</c:v>
                </c:pt>
                <c:pt idx="644">
                  <c:v>0.6</c:v>
                </c:pt>
                <c:pt idx="645">
                  <c:v>0.6</c:v>
                </c:pt>
                <c:pt idx="646">
                  <c:v>0.6</c:v>
                </c:pt>
                <c:pt idx="647">
                  <c:v>0.6</c:v>
                </c:pt>
                <c:pt idx="648">
                  <c:v>0.6</c:v>
                </c:pt>
                <c:pt idx="649">
                  <c:v>0.6</c:v>
                </c:pt>
                <c:pt idx="650">
                  <c:v>0.6</c:v>
                </c:pt>
                <c:pt idx="651">
                  <c:v>0.6</c:v>
                </c:pt>
                <c:pt idx="652">
                  <c:v>0.6</c:v>
                </c:pt>
                <c:pt idx="653">
                  <c:v>0.6</c:v>
                </c:pt>
                <c:pt idx="654">
                  <c:v>0.6</c:v>
                </c:pt>
                <c:pt idx="655">
                  <c:v>0.6</c:v>
                </c:pt>
                <c:pt idx="656">
                  <c:v>0.6</c:v>
                </c:pt>
                <c:pt idx="657">
                  <c:v>0.6</c:v>
                </c:pt>
                <c:pt idx="658">
                  <c:v>0.7</c:v>
                </c:pt>
                <c:pt idx="659">
                  <c:v>0.7</c:v>
                </c:pt>
                <c:pt idx="660">
                  <c:v>0.7</c:v>
                </c:pt>
                <c:pt idx="661">
                  <c:v>0.7</c:v>
                </c:pt>
                <c:pt idx="662">
                  <c:v>0.7</c:v>
                </c:pt>
                <c:pt idx="663">
                  <c:v>0.7</c:v>
                </c:pt>
                <c:pt idx="664">
                  <c:v>0.7</c:v>
                </c:pt>
                <c:pt idx="665">
                  <c:v>0.7</c:v>
                </c:pt>
                <c:pt idx="666">
                  <c:v>0.7</c:v>
                </c:pt>
                <c:pt idx="667">
                  <c:v>0.7</c:v>
                </c:pt>
                <c:pt idx="668">
                  <c:v>0.7</c:v>
                </c:pt>
                <c:pt idx="669">
                  <c:v>0.7</c:v>
                </c:pt>
                <c:pt idx="670">
                  <c:v>0.7</c:v>
                </c:pt>
                <c:pt idx="671">
                  <c:v>0.7</c:v>
                </c:pt>
                <c:pt idx="672">
                  <c:v>0.7</c:v>
                </c:pt>
                <c:pt idx="673">
                  <c:v>0.7</c:v>
                </c:pt>
                <c:pt idx="674">
                  <c:v>0.7</c:v>
                </c:pt>
                <c:pt idx="675">
                  <c:v>0.7</c:v>
                </c:pt>
                <c:pt idx="676">
                  <c:v>0.7</c:v>
                </c:pt>
                <c:pt idx="677">
                  <c:v>0.7</c:v>
                </c:pt>
                <c:pt idx="678">
                  <c:v>0.7</c:v>
                </c:pt>
                <c:pt idx="679">
                  <c:v>0.7</c:v>
                </c:pt>
                <c:pt idx="680">
                  <c:v>0.7</c:v>
                </c:pt>
                <c:pt idx="681">
                  <c:v>0.7</c:v>
                </c:pt>
                <c:pt idx="682">
                  <c:v>0.7</c:v>
                </c:pt>
                <c:pt idx="683">
                  <c:v>0.7</c:v>
                </c:pt>
                <c:pt idx="684">
                  <c:v>0.7</c:v>
                </c:pt>
                <c:pt idx="685">
                  <c:v>0.8</c:v>
                </c:pt>
                <c:pt idx="686">
                  <c:v>0.8</c:v>
                </c:pt>
                <c:pt idx="687">
                  <c:v>0.8</c:v>
                </c:pt>
                <c:pt idx="688">
                  <c:v>0.8</c:v>
                </c:pt>
                <c:pt idx="689">
                  <c:v>0.8</c:v>
                </c:pt>
                <c:pt idx="690">
                  <c:v>0.8</c:v>
                </c:pt>
                <c:pt idx="691">
                  <c:v>0.8</c:v>
                </c:pt>
                <c:pt idx="692">
                  <c:v>0.8</c:v>
                </c:pt>
                <c:pt idx="693">
                  <c:v>0.8</c:v>
                </c:pt>
                <c:pt idx="694">
                  <c:v>0.8</c:v>
                </c:pt>
                <c:pt idx="695">
                  <c:v>0.8</c:v>
                </c:pt>
                <c:pt idx="696">
                  <c:v>0.8</c:v>
                </c:pt>
                <c:pt idx="697">
                  <c:v>0.8</c:v>
                </c:pt>
                <c:pt idx="698">
                  <c:v>0.8</c:v>
                </c:pt>
                <c:pt idx="699">
                  <c:v>0.8</c:v>
                </c:pt>
                <c:pt idx="700">
                  <c:v>0.8</c:v>
                </c:pt>
                <c:pt idx="701">
                  <c:v>0.8</c:v>
                </c:pt>
                <c:pt idx="702">
                  <c:v>0.8</c:v>
                </c:pt>
                <c:pt idx="703">
                  <c:v>0.8</c:v>
                </c:pt>
                <c:pt idx="704">
                  <c:v>0.8</c:v>
                </c:pt>
                <c:pt idx="705">
                  <c:v>0.9</c:v>
                </c:pt>
                <c:pt idx="706">
                  <c:v>0.8</c:v>
                </c:pt>
                <c:pt idx="707">
                  <c:v>0.9</c:v>
                </c:pt>
                <c:pt idx="708">
                  <c:v>0.9</c:v>
                </c:pt>
                <c:pt idx="709">
                  <c:v>0.9</c:v>
                </c:pt>
                <c:pt idx="710">
                  <c:v>0.9</c:v>
                </c:pt>
                <c:pt idx="711">
                  <c:v>0.9</c:v>
                </c:pt>
                <c:pt idx="712">
                  <c:v>0.9</c:v>
                </c:pt>
                <c:pt idx="713">
                  <c:v>0.9</c:v>
                </c:pt>
                <c:pt idx="714">
                  <c:v>0.9</c:v>
                </c:pt>
                <c:pt idx="715">
                  <c:v>0.9</c:v>
                </c:pt>
                <c:pt idx="716">
                  <c:v>0.9</c:v>
                </c:pt>
                <c:pt idx="717">
                  <c:v>0.9</c:v>
                </c:pt>
                <c:pt idx="718">
                  <c:v>0.9</c:v>
                </c:pt>
                <c:pt idx="719">
                  <c:v>0.9</c:v>
                </c:pt>
                <c:pt idx="720">
                  <c:v>0.9</c:v>
                </c:pt>
                <c:pt idx="721">
                  <c:v>0.9</c:v>
                </c:pt>
                <c:pt idx="722">
                  <c:v>0.9</c:v>
                </c:pt>
                <c:pt idx="723">
                  <c:v>0.9</c:v>
                </c:pt>
                <c:pt idx="724">
                  <c:v>0.9</c:v>
                </c:pt>
                <c:pt idx="725">
                  <c:v>1</c:v>
                </c:pt>
                <c:pt idx="726">
                  <c:v>1</c:v>
                </c:pt>
                <c:pt idx="727">
                  <c:v>1</c:v>
                </c:pt>
                <c:pt idx="728">
                  <c:v>1</c:v>
                </c:pt>
                <c:pt idx="729">
                  <c:v>1</c:v>
                </c:pt>
                <c:pt idx="730">
                  <c:v>1</c:v>
                </c:pt>
                <c:pt idx="731">
                  <c:v>1</c:v>
                </c:pt>
                <c:pt idx="732">
                  <c:v>1</c:v>
                </c:pt>
                <c:pt idx="733">
                  <c:v>1</c:v>
                </c:pt>
                <c:pt idx="734">
                  <c:v>1</c:v>
                </c:pt>
                <c:pt idx="735">
                  <c:v>1</c:v>
                </c:pt>
                <c:pt idx="736">
                  <c:v>1</c:v>
                </c:pt>
                <c:pt idx="737">
                  <c:v>1</c:v>
                </c:pt>
                <c:pt idx="738">
                  <c:v>1</c:v>
                </c:pt>
                <c:pt idx="739">
                  <c:v>1</c:v>
                </c:pt>
                <c:pt idx="740">
                  <c:v>1</c:v>
                </c:pt>
                <c:pt idx="741">
                  <c:v>1</c:v>
                </c:pt>
                <c:pt idx="742">
                  <c:v>1</c:v>
                </c:pt>
                <c:pt idx="743">
                  <c:v>1</c:v>
                </c:pt>
                <c:pt idx="744">
                  <c:v>1.1000000000000001</c:v>
                </c:pt>
                <c:pt idx="745">
                  <c:v>1.1000000000000001</c:v>
                </c:pt>
                <c:pt idx="746">
                  <c:v>1.1000000000000001</c:v>
                </c:pt>
                <c:pt idx="747">
                  <c:v>1.1000000000000001</c:v>
                </c:pt>
                <c:pt idx="748">
                  <c:v>1.1000000000000001</c:v>
                </c:pt>
                <c:pt idx="749">
                  <c:v>1.1000000000000001</c:v>
                </c:pt>
                <c:pt idx="750">
                  <c:v>1.1000000000000001</c:v>
                </c:pt>
                <c:pt idx="751">
                  <c:v>1.1000000000000001</c:v>
                </c:pt>
                <c:pt idx="752">
                  <c:v>1.1000000000000001</c:v>
                </c:pt>
                <c:pt idx="753">
                  <c:v>1.1000000000000001</c:v>
                </c:pt>
                <c:pt idx="754">
                  <c:v>1.1000000000000001</c:v>
                </c:pt>
                <c:pt idx="755">
                  <c:v>1.1000000000000001</c:v>
                </c:pt>
                <c:pt idx="756">
                  <c:v>1.1000000000000001</c:v>
                </c:pt>
                <c:pt idx="757">
                  <c:v>1.1000000000000001</c:v>
                </c:pt>
                <c:pt idx="758">
                  <c:v>1.1000000000000001</c:v>
                </c:pt>
                <c:pt idx="759">
                  <c:v>1.2</c:v>
                </c:pt>
                <c:pt idx="760">
                  <c:v>1.2</c:v>
                </c:pt>
                <c:pt idx="761">
                  <c:v>1.2</c:v>
                </c:pt>
                <c:pt idx="762">
                  <c:v>1.2</c:v>
                </c:pt>
                <c:pt idx="763">
                  <c:v>1.2</c:v>
                </c:pt>
                <c:pt idx="764">
                  <c:v>1.2</c:v>
                </c:pt>
                <c:pt idx="765">
                  <c:v>1.2</c:v>
                </c:pt>
                <c:pt idx="766">
                  <c:v>1.2</c:v>
                </c:pt>
                <c:pt idx="767">
                  <c:v>1.2</c:v>
                </c:pt>
                <c:pt idx="768">
                  <c:v>1.2</c:v>
                </c:pt>
                <c:pt idx="769">
                  <c:v>1.2</c:v>
                </c:pt>
                <c:pt idx="770">
                  <c:v>1.2</c:v>
                </c:pt>
                <c:pt idx="771">
                  <c:v>1.2</c:v>
                </c:pt>
                <c:pt idx="772">
                  <c:v>1.2</c:v>
                </c:pt>
                <c:pt idx="773">
                  <c:v>1.2</c:v>
                </c:pt>
                <c:pt idx="774">
                  <c:v>1.2</c:v>
                </c:pt>
                <c:pt idx="775">
                  <c:v>1.3</c:v>
                </c:pt>
                <c:pt idx="776">
                  <c:v>1.3</c:v>
                </c:pt>
                <c:pt idx="777">
                  <c:v>1.3</c:v>
                </c:pt>
                <c:pt idx="778">
                  <c:v>1.3</c:v>
                </c:pt>
                <c:pt idx="779">
                  <c:v>1.3</c:v>
                </c:pt>
                <c:pt idx="780">
                  <c:v>1.3</c:v>
                </c:pt>
                <c:pt idx="781">
                  <c:v>1.3</c:v>
                </c:pt>
                <c:pt idx="782">
                  <c:v>1.3</c:v>
                </c:pt>
                <c:pt idx="783">
                  <c:v>1.3</c:v>
                </c:pt>
                <c:pt idx="784">
                  <c:v>1.3</c:v>
                </c:pt>
                <c:pt idx="785">
                  <c:v>1.3</c:v>
                </c:pt>
                <c:pt idx="786">
                  <c:v>1.3</c:v>
                </c:pt>
                <c:pt idx="787">
                  <c:v>1.3</c:v>
                </c:pt>
                <c:pt idx="788">
                  <c:v>1.4</c:v>
                </c:pt>
                <c:pt idx="789">
                  <c:v>1.4</c:v>
                </c:pt>
                <c:pt idx="790">
                  <c:v>1.4</c:v>
                </c:pt>
                <c:pt idx="791">
                  <c:v>1.4</c:v>
                </c:pt>
                <c:pt idx="792">
                  <c:v>1.4</c:v>
                </c:pt>
                <c:pt idx="793">
                  <c:v>1.4</c:v>
                </c:pt>
                <c:pt idx="794">
                  <c:v>1.4</c:v>
                </c:pt>
                <c:pt idx="795">
                  <c:v>1.4</c:v>
                </c:pt>
                <c:pt idx="796">
                  <c:v>1.4</c:v>
                </c:pt>
                <c:pt idx="797">
                  <c:v>1.4</c:v>
                </c:pt>
                <c:pt idx="798">
                  <c:v>1.5</c:v>
                </c:pt>
                <c:pt idx="799">
                  <c:v>1.5</c:v>
                </c:pt>
                <c:pt idx="800">
                  <c:v>1.5</c:v>
                </c:pt>
                <c:pt idx="801">
                  <c:v>1.5</c:v>
                </c:pt>
                <c:pt idx="802">
                  <c:v>1.5</c:v>
                </c:pt>
                <c:pt idx="803">
                  <c:v>1.5</c:v>
                </c:pt>
                <c:pt idx="804">
                  <c:v>1.5</c:v>
                </c:pt>
                <c:pt idx="805">
                  <c:v>1.5</c:v>
                </c:pt>
                <c:pt idx="806">
                  <c:v>1.5</c:v>
                </c:pt>
                <c:pt idx="807">
                  <c:v>1.5</c:v>
                </c:pt>
                <c:pt idx="808">
                  <c:v>1.6</c:v>
                </c:pt>
                <c:pt idx="809">
                  <c:v>1.6</c:v>
                </c:pt>
                <c:pt idx="810">
                  <c:v>1.6</c:v>
                </c:pt>
                <c:pt idx="811">
                  <c:v>1.6</c:v>
                </c:pt>
                <c:pt idx="812">
                  <c:v>1.6</c:v>
                </c:pt>
                <c:pt idx="813">
                  <c:v>1.6</c:v>
                </c:pt>
                <c:pt idx="814">
                  <c:v>1.6</c:v>
                </c:pt>
                <c:pt idx="815">
                  <c:v>1.6</c:v>
                </c:pt>
                <c:pt idx="816">
                  <c:v>1.6</c:v>
                </c:pt>
                <c:pt idx="817">
                  <c:v>1.6</c:v>
                </c:pt>
                <c:pt idx="818">
                  <c:v>1.6</c:v>
                </c:pt>
                <c:pt idx="819">
                  <c:v>1.7</c:v>
                </c:pt>
                <c:pt idx="820">
                  <c:v>1.7</c:v>
                </c:pt>
                <c:pt idx="821">
                  <c:v>1.7</c:v>
                </c:pt>
                <c:pt idx="822">
                  <c:v>1.7</c:v>
                </c:pt>
                <c:pt idx="823">
                  <c:v>1.7</c:v>
                </c:pt>
                <c:pt idx="824">
                  <c:v>1.7</c:v>
                </c:pt>
                <c:pt idx="825">
                  <c:v>1.7</c:v>
                </c:pt>
                <c:pt idx="826">
                  <c:v>1.7</c:v>
                </c:pt>
                <c:pt idx="827">
                  <c:v>1.7</c:v>
                </c:pt>
                <c:pt idx="828">
                  <c:v>1.8</c:v>
                </c:pt>
                <c:pt idx="829">
                  <c:v>1.7</c:v>
                </c:pt>
                <c:pt idx="830">
                  <c:v>1.8</c:v>
                </c:pt>
                <c:pt idx="831">
                  <c:v>1.8</c:v>
                </c:pt>
                <c:pt idx="832">
                  <c:v>1.8</c:v>
                </c:pt>
                <c:pt idx="833">
                  <c:v>1.8</c:v>
                </c:pt>
                <c:pt idx="834">
                  <c:v>1.8</c:v>
                </c:pt>
                <c:pt idx="835">
                  <c:v>1.8</c:v>
                </c:pt>
                <c:pt idx="836">
                  <c:v>1.8</c:v>
                </c:pt>
                <c:pt idx="837">
                  <c:v>1.8</c:v>
                </c:pt>
                <c:pt idx="838">
                  <c:v>1.8</c:v>
                </c:pt>
                <c:pt idx="839">
                  <c:v>1.9</c:v>
                </c:pt>
                <c:pt idx="840">
                  <c:v>1.9</c:v>
                </c:pt>
                <c:pt idx="841">
                  <c:v>1.9</c:v>
                </c:pt>
                <c:pt idx="842">
                  <c:v>1.9</c:v>
                </c:pt>
                <c:pt idx="843">
                  <c:v>1.9</c:v>
                </c:pt>
                <c:pt idx="844">
                  <c:v>1.9</c:v>
                </c:pt>
                <c:pt idx="845">
                  <c:v>1.9</c:v>
                </c:pt>
                <c:pt idx="846">
                  <c:v>1.9</c:v>
                </c:pt>
                <c:pt idx="847">
                  <c:v>1.9</c:v>
                </c:pt>
                <c:pt idx="848">
                  <c:v>2</c:v>
                </c:pt>
                <c:pt idx="849">
                  <c:v>2</c:v>
                </c:pt>
                <c:pt idx="850">
                  <c:v>2</c:v>
                </c:pt>
                <c:pt idx="851">
                  <c:v>2</c:v>
                </c:pt>
                <c:pt idx="852">
                  <c:v>2</c:v>
                </c:pt>
                <c:pt idx="853">
                  <c:v>2</c:v>
                </c:pt>
                <c:pt idx="854">
                  <c:v>2</c:v>
                </c:pt>
                <c:pt idx="855">
                  <c:v>2</c:v>
                </c:pt>
                <c:pt idx="856">
                  <c:v>2</c:v>
                </c:pt>
                <c:pt idx="857">
                  <c:v>2</c:v>
                </c:pt>
                <c:pt idx="858">
                  <c:v>2.1</c:v>
                </c:pt>
                <c:pt idx="859">
                  <c:v>2.1</c:v>
                </c:pt>
                <c:pt idx="860">
                  <c:v>2.1</c:v>
                </c:pt>
                <c:pt idx="861">
                  <c:v>2.1</c:v>
                </c:pt>
                <c:pt idx="862">
                  <c:v>2.1</c:v>
                </c:pt>
                <c:pt idx="863">
                  <c:v>2.1</c:v>
                </c:pt>
                <c:pt idx="864">
                  <c:v>2.1</c:v>
                </c:pt>
                <c:pt idx="865">
                  <c:v>2.1</c:v>
                </c:pt>
                <c:pt idx="866">
                  <c:v>2.1</c:v>
                </c:pt>
                <c:pt idx="867">
                  <c:v>2.1</c:v>
                </c:pt>
                <c:pt idx="868">
                  <c:v>2.2000000000000002</c:v>
                </c:pt>
                <c:pt idx="869">
                  <c:v>2.2000000000000002</c:v>
                </c:pt>
                <c:pt idx="870">
                  <c:v>2.2000000000000002</c:v>
                </c:pt>
                <c:pt idx="871">
                  <c:v>2.2000000000000002</c:v>
                </c:pt>
                <c:pt idx="872">
                  <c:v>2.2000000000000002</c:v>
                </c:pt>
                <c:pt idx="873">
                  <c:v>2.2000000000000002</c:v>
                </c:pt>
                <c:pt idx="874">
                  <c:v>2.2000000000000002</c:v>
                </c:pt>
                <c:pt idx="875">
                  <c:v>2.2000000000000002</c:v>
                </c:pt>
                <c:pt idx="876">
                  <c:v>2.2999999999999998</c:v>
                </c:pt>
                <c:pt idx="877">
                  <c:v>2.2999999999999998</c:v>
                </c:pt>
                <c:pt idx="878">
                  <c:v>2.2999999999999998</c:v>
                </c:pt>
                <c:pt idx="879">
                  <c:v>2.2999999999999998</c:v>
                </c:pt>
                <c:pt idx="880">
                  <c:v>2.2999999999999998</c:v>
                </c:pt>
                <c:pt idx="881">
                  <c:v>2.2999999999999998</c:v>
                </c:pt>
                <c:pt idx="882">
                  <c:v>2.2999999999999998</c:v>
                </c:pt>
                <c:pt idx="883">
                  <c:v>2.2999999999999998</c:v>
                </c:pt>
                <c:pt idx="884">
                  <c:v>2.2999999999999998</c:v>
                </c:pt>
                <c:pt idx="885">
                  <c:v>2.2999999999999998</c:v>
                </c:pt>
                <c:pt idx="886">
                  <c:v>2.2999999999999998</c:v>
                </c:pt>
                <c:pt idx="887">
                  <c:v>2.4</c:v>
                </c:pt>
                <c:pt idx="888">
                  <c:v>2.4</c:v>
                </c:pt>
                <c:pt idx="889">
                  <c:v>2.4</c:v>
                </c:pt>
                <c:pt idx="890">
                  <c:v>2.4</c:v>
                </c:pt>
                <c:pt idx="891">
                  <c:v>2.4</c:v>
                </c:pt>
                <c:pt idx="892">
                  <c:v>2.4</c:v>
                </c:pt>
                <c:pt idx="893">
                  <c:v>2.4</c:v>
                </c:pt>
                <c:pt idx="894">
                  <c:v>2.4</c:v>
                </c:pt>
                <c:pt idx="895">
                  <c:v>2.5</c:v>
                </c:pt>
                <c:pt idx="896">
                  <c:v>2.5</c:v>
                </c:pt>
                <c:pt idx="897">
                  <c:v>2.5</c:v>
                </c:pt>
                <c:pt idx="898">
                  <c:v>2.5</c:v>
                </c:pt>
                <c:pt idx="899">
                  <c:v>2.5</c:v>
                </c:pt>
                <c:pt idx="900">
                  <c:v>2.5</c:v>
                </c:pt>
                <c:pt idx="901">
                  <c:v>2.5</c:v>
                </c:pt>
                <c:pt idx="902">
                  <c:v>2.6</c:v>
                </c:pt>
                <c:pt idx="903">
                  <c:v>2.6</c:v>
                </c:pt>
                <c:pt idx="904">
                  <c:v>2.6</c:v>
                </c:pt>
                <c:pt idx="905">
                  <c:v>2.6</c:v>
                </c:pt>
                <c:pt idx="906">
                  <c:v>2.6</c:v>
                </c:pt>
                <c:pt idx="907">
                  <c:v>2.6</c:v>
                </c:pt>
                <c:pt idx="908">
                  <c:v>2.6</c:v>
                </c:pt>
                <c:pt idx="909">
                  <c:v>2.7</c:v>
                </c:pt>
                <c:pt idx="910">
                  <c:v>2.7</c:v>
                </c:pt>
                <c:pt idx="911">
                  <c:v>2.7</c:v>
                </c:pt>
                <c:pt idx="912">
                  <c:v>2.7</c:v>
                </c:pt>
                <c:pt idx="913">
                  <c:v>2.7</c:v>
                </c:pt>
                <c:pt idx="914">
                  <c:v>2.7</c:v>
                </c:pt>
                <c:pt idx="915">
                  <c:v>2.8</c:v>
                </c:pt>
                <c:pt idx="916">
                  <c:v>2.8</c:v>
                </c:pt>
                <c:pt idx="917">
                  <c:v>2.8</c:v>
                </c:pt>
                <c:pt idx="918">
                  <c:v>2.8</c:v>
                </c:pt>
                <c:pt idx="919">
                  <c:v>2.8</c:v>
                </c:pt>
                <c:pt idx="920">
                  <c:v>2.8</c:v>
                </c:pt>
                <c:pt idx="921">
                  <c:v>2.9</c:v>
                </c:pt>
                <c:pt idx="922">
                  <c:v>2.9</c:v>
                </c:pt>
                <c:pt idx="923">
                  <c:v>2.9</c:v>
                </c:pt>
                <c:pt idx="924">
                  <c:v>2.9</c:v>
                </c:pt>
                <c:pt idx="925">
                  <c:v>2.9</c:v>
                </c:pt>
                <c:pt idx="926">
                  <c:v>3</c:v>
                </c:pt>
                <c:pt idx="927">
                  <c:v>3</c:v>
                </c:pt>
                <c:pt idx="928">
                  <c:v>3</c:v>
                </c:pt>
                <c:pt idx="929">
                  <c:v>3</c:v>
                </c:pt>
                <c:pt idx="930">
                  <c:v>3</c:v>
                </c:pt>
                <c:pt idx="931">
                  <c:v>3.1</c:v>
                </c:pt>
                <c:pt idx="932">
                  <c:v>3.2</c:v>
                </c:pt>
                <c:pt idx="933">
                  <c:v>3.2</c:v>
                </c:pt>
                <c:pt idx="934">
                  <c:v>3.2</c:v>
                </c:pt>
                <c:pt idx="935">
                  <c:v>3.2</c:v>
                </c:pt>
                <c:pt idx="936">
                  <c:v>3.2</c:v>
                </c:pt>
                <c:pt idx="937">
                  <c:v>3.3</c:v>
                </c:pt>
                <c:pt idx="938">
                  <c:v>3.3</c:v>
                </c:pt>
                <c:pt idx="939">
                  <c:v>3.3</c:v>
                </c:pt>
                <c:pt idx="940">
                  <c:v>3.3</c:v>
                </c:pt>
                <c:pt idx="941">
                  <c:v>3.3</c:v>
                </c:pt>
                <c:pt idx="942">
                  <c:v>3.4</c:v>
                </c:pt>
                <c:pt idx="943">
                  <c:v>3.4</c:v>
                </c:pt>
                <c:pt idx="944">
                  <c:v>3.4</c:v>
                </c:pt>
                <c:pt idx="945">
                  <c:v>3.4</c:v>
                </c:pt>
                <c:pt idx="946">
                  <c:v>3.4</c:v>
                </c:pt>
                <c:pt idx="947">
                  <c:v>3.4</c:v>
                </c:pt>
                <c:pt idx="948">
                  <c:v>3.5</c:v>
                </c:pt>
                <c:pt idx="949">
                  <c:v>3.5</c:v>
                </c:pt>
                <c:pt idx="950">
                  <c:v>3.5</c:v>
                </c:pt>
                <c:pt idx="951">
                  <c:v>3.5</c:v>
                </c:pt>
                <c:pt idx="952">
                  <c:v>3.6</c:v>
                </c:pt>
                <c:pt idx="953">
                  <c:v>3.6</c:v>
                </c:pt>
                <c:pt idx="954">
                  <c:v>3.6</c:v>
                </c:pt>
                <c:pt idx="955">
                  <c:v>3.6</c:v>
                </c:pt>
                <c:pt idx="956">
                  <c:v>3.6</c:v>
                </c:pt>
                <c:pt idx="957">
                  <c:v>3.7</c:v>
                </c:pt>
                <c:pt idx="958">
                  <c:v>3.7</c:v>
                </c:pt>
                <c:pt idx="959">
                  <c:v>3.7</c:v>
                </c:pt>
                <c:pt idx="960">
                  <c:v>3.7</c:v>
                </c:pt>
                <c:pt idx="961">
                  <c:v>3.7</c:v>
                </c:pt>
                <c:pt idx="962">
                  <c:v>3.8</c:v>
                </c:pt>
                <c:pt idx="963">
                  <c:v>3.8</c:v>
                </c:pt>
                <c:pt idx="964">
                  <c:v>3.8</c:v>
                </c:pt>
                <c:pt idx="965">
                  <c:v>3.8</c:v>
                </c:pt>
                <c:pt idx="966">
                  <c:v>3.9</c:v>
                </c:pt>
                <c:pt idx="967">
                  <c:v>3.9</c:v>
                </c:pt>
                <c:pt idx="968">
                  <c:v>3.9</c:v>
                </c:pt>
                <c:pt idx="969">
                  <c:v>3.9</c:v>
                </c:pt>
                <c:pt idx="970">
                  <c:v>3.9</c:v>
                </c:pt>
                <c:pt idx="971">
                  <c:v>4</c:v>
                </c:pt>
                <c:pt idx="972">
                  <c:v>4</c:v>
                </c:pt>
                <c:pt idx="973">
                  <c:v>4</c:v>
                </c:pt>
                <c:pt idx="974">
                  <c:v>4.0999999999999996</c:v>
                </c:pt>
                <c:pt idx="975">
                  <c:v>4.0999999999999996</c:v>
                </c:pt>
                <c:pt idx="976">
                  <c:v>4.0999999999999996</c:v>
                </c:pt>
                <c:pt idx="977">
                  <c:v>4.0999999999999996</c:v>
                </c:pt>
                <c:pt idx="978">
                  <c:v>4.2</c:v>
                </c:pt>
                <c:pt idx="979">
                  <c:v>4.2</c:v>
                </c:pt>
                <c:pt idx="980">
                  <c:v>4.2</c:v>
                </c:pt>
                <c:pt idx="981">
                  <c:v>4.3</c:v>
                </c:pt>
                <c:pt idx="982">
                  <c:v>4.3</c:v>
                </c:pt>
                <c:pt idx="983">
                  <c:v>4.3</c:v>
                </c:pt>
                <c:pt idx="984">
                  <c:v>4.4000000000000004</c:v>
                </c:pt>
                <c:pt idx="985">
                  <c:v>4.4000000000000004</c:v>
                </c:pt>
                <c:pt idx="986">
                  <c:v>4.5</c:v>
                </c:pt>
                <c:pt idx="987">
                  <c:v>4.5</c:v>
                </c:pt>
                <c:pt idx="988">
                  <c:v>4.5</c:v>
                </c:pt>
                <c:pt idx="989">
                  <c:v>4.5999999999999996</c:v>
                </c:pt>
                <c:pt idx="990">
                  <c:v>4.5999999999999996</c:v>
                </c:pt>
                <c:pt idx="991">
                  <c:v>4.5999999999999996</c:v>
                </c:pt>
                <c:pt idx="992">
                  <c:v>4.7</c:v>
                </c:pt>
                <c:pt idx="993">
                  <c:v>4.7</c:v>
                </c:pt>
                <c:pt idx="994">
                  <c:v>4.7</c:v>
                </c:pt>
                <c:pt idx="995">
                  <c:v>4.8</c:v>
                </c:pt>
                <c:pt idx="996">
                  <c:v>4.8</c:v>
                </c:pt>
                <c:pt idx="997">
                  <c:v>4.8</c:v>
                </c:pt>
                <c:pt idx="998">
                  <c:v>4.8</c:v>
                </c:pt>
                <c:pt idx="999">
                  <c:v>4.9000000000000004</c:v>
                </c:pt>
                <c:pt idx="1000">
                  <c:v>4.9000000000000004</c:v>
                </c:pt>
                <c:pt idx="1001">
                  <c:v>4.9000000000000004</c:v>
                </c:pt>
                <c:pt idx="1002">
                  <c:v>5</c:v>
                </c:pt>
                <c:pt idx="1003">
                  <c:v>5</c:v>
                </c:pt>
                <c:pt idx="1004">
                  <c:v>5</c:v>
                </c:pt>
                <c:pt idx="1005">
                  <c:v>5</c:v>
                </c:pt>
                <c:pt idx="1006">
                  <c:v>5.0999999999999996</c:v>
                </c:pt>
                <c:pt idx="1007">
                  <c:v>5.0999999999999996</c:v>
                </c:pt>
                <c:pt idx="1008">
                  <c:v>5.0999999999999996</c:v>
                </c:pt>
                <c:pt idx="1009">
                  <c:v>5.2</c:v>
                </c:pt>
                <c:pt idx="1010">
                  <c:v>5.2</c:v>
                </c:pt>
                <c:pt idx="1011">
                  <c:v>5.2</c:v>
                </c:pt>
                <c:pt idx="1012">
                  <c:v>5.3</c:v>
                </c:pt>
                <c:pt idx="1013">
                  <c:v>5.3</c:v>
                </c:pt>
                <c:pt idx="1014">
                  <c:v>5.3</c:v>
                </c:pt>
                <c:pt idx="1015">
                  <c:v>5.3</c:v>
                </c:pt>
                <c:pt idx="1016">
                  <c:v>5.4</c:v>
                </c:pt>
                <c:pt idx="1017">
                  <c:v>5.4</c:v>
                </c:pt>
                <c:pt idx="1018">
                  <c:v>5.4</c:v>
                </c:pt>
                <c:pt idx="1019">
                  <c:v>5.5</c:v>
                </c:pt>
                <c:pt idx="1020">
                  <c:v>5.5</c:v>
                </c:pt>
                <c:pt idx="1021">
                  <c:v>5.5</c:v>
                </c:pt>
                <c:pt idx="1022">
                  <c:v>5.6</c:v>
                </c:pt>
                <c:pt idx="1023">
                  <c:v>5.6</c:v>
                </c:pt>
                <c:pt idx="1024">
                  <c:v>5.6</c:v>
                </c:pt>
                <c:pt idx="1025">
                  <c:v>5.6</c:v>
                </c:pt>
                <c:pt idx="1026">
                  <c:v>5.7</c:v>
                </c:pt>
                <c:pt idx="1027">
                  <c:v>5.7</c:v>
                </c:pt>
                <c:pt idx="1028">
                  <c:v>5.7</c:v>
                </c:pt>
                <c:pt idx="1029">
                  <c:v>5.8</c:v>
                </c:pt>
                <c:pt idx="1030">
                  <c:v>5.8</c:v>
                </c:pt>
                <c:pt idx="1031">
                  <c:v>5.8</c:v>
                </c:pt>
                <c:pt idx="1032">
                  <c:v>5.9</c:v>
                </c:pt>
                <c:pt idx="1033">
                  <c:v>5.9</c:v>
                </c:pt>
                <c:pt idx="1034">
                  <c:v>5.9</c:v>
                </c:pt>
                <c:pt idx="1035">
                  <c:v>6</c:v>
                </c:pt>
                <c:pt idx="1036">
                  <c:v>6</c:v>
                </c:pt>
                <c:pt idx="1037">
                  <c:v>6</c:v>
                </c:pt>
                <c:pt idx="1038">
                  <c:v>6.1</c:v>
                </c:pt>
                <c:pt idx="1039">
                  <c:v>6.1</c:v>
                </c:pt>
                <c:pt idx="1040">
                  <c:v>6.1</c:v>
                </c:pt>
                <c:pt idx="1041">
                  <c:v>6.2</c:v>
                </c:pt>
                <c:pt idx="1042">
                  <c:v>6.2</c:v>
                </c:pt>
                <c:pt idx="1043">
                  <c:v>6.2</c:v>
                </c:pt>
                <c:pt idx="1044">
                  <c:v>6.3</c:v>
                </c:pt>
                <c:pt idx="1045">
                  <c:v>6.3</c:v>
                </c:pt>
                <c:pt idx="1046">
                  <c:v>6.3</c:v>
                </c:pt>
                <c:pt idx="1047">
                  <c:v>6.4</c:v>
                </c:pt>
                <c:pt idx="1048">
                  <c:v>6.4</c:v>
                </c:pt>
                <c:pt idx="1049">
                  <c:v>6.4</c:v>
                </c:pt>
                <c:pt idx="1050">
                  <c:v>6.5</c:v>
                </c:pt>
                <c:pt idx="1051">
                  <c:v>6.5</c:v>
                </c:pt>
                <c:pt idx="1052">
                  <c:v>6.5</c:v>
                </c:pt>
                <c:pt idx="1053">
                  <c:v>6.6</c:v>
                </c:pt>
                <c:pt idx="1054">
                  <c:v>6.6</c:v>
                </c:pt>
                <c:pt idx="1055">
                  <c:v>6.6</c:v>
                </c:pt>
                <c:pt idx="1056">
                  <c:v>6.7</c:v>
                </c:pt>
                <c:pt idx="1057">
                  <c:v>6.8</c:v>
                </c:pt>
                <c:pt idx="1058">
                  <c:v>6.8</c:v>
                </c:pt>
                <c:pt idx="1059">
                  <c:v>6.9</c:v>
                </c:pt>
                <c:pt idx="1060">
                  <c:v>6.9</c:v>
                </c:pt>
                <c:pt idx="1061">
                  <c:v>6.9</c:v>
                </c:pt>
                <c:pt idx="1062">
                  <c:v>7.1</c:v>
                </c:pt>
                <c:pt idx="1063">
                  <c:v>7.1</c:v>
                </c:pt>
                <c:pt idx="1064">
                  <c:v>7.2</c:v>
                </c:pt>
                <c:pt idx="1065">
                  <c:v>7.2</c:v>
                </c:pt>
                <c:pt idx="1066">
                  <c:v>7.2</c:v>
                </c:pt>
                <c:pt idx="1067">
                  <c:v>7.3</c:v>
                </c:pt>
                <c:pt idx="1068">
                  <c:v>7.3</c:v>
                </c:pt>
                <c:pt idx="1069">
                  <c:v>7.4</c:v>
                </c:pt>
                <c:pt idx="1070">
                  <c:v>7.4</c:v>
                </c:pt>
                <c:pt idx="1071">
                  <c:v>7.4</c:v>
                </c:pt>
                <c:pt idx="1072">
                  <c:v>7.5</c:v>
                </c:pt>
                <c:pt idx="1073">
                  <c:v>7.5</c:v>
                </c:pt>
                <c:pt idx="1074">
                  <c:v>7.5</c:v>
                </c:pt>
                <c:pt idx="1075">
                  <c:v>7.6</c:v>
                </c:pt>
                <c:pt idx="1076">
                  <c:v>7.6</c:v>
                </c:pt>
                <c:pt idx="1077">
                  <c:v>7.7</c:v>
                </c:pt>
                <c:pt idx="1078">
                  <c:v>7.7</c:v>
                </c:pt>
                <c:pt idx="1079">
                  <c:v>7.7</c:v>
                </c:pt>
                <c:pt idx="1080">
                  <c:v>7.8</c:v>
                </c:pt>
                <c:pt idx="1081">
                  <c:v>7.8</c:v>
                </c:pt>
                <c:pt idx="1082">
                  <c:v>7.9</c:v>
                </c:pt>
                <c:pt idx="1083">
                  <c:v>7.9</c:v>
                </c:pt>
                <c:pt idx="1084">
                  <c:v>7.9</c:v>
                </c:pt>
                <c:pt idx="1085">
                  <c:v>7.9</c:v>
                </c:pt>
                <c:pt idx="1086">
                  <c:v>7.9</c:v>
                </c:pt>
                <c:pt idx="1087">
                  <c:v>8</c:v>
                </c:pt>
                <c:pt idx="1088">
                  <c:v>8</c:v>
                </c:pt>
                <c:pt idx="1089">
                  <c:v>8.1</c:v>
                </c:pt>
                <c:pt idx="1090">
                  <c:v>8.1</c:v>
                </c:pt>
                <c:pt idx="1091">
                  <c:v>8.1</c:v>
                </c:pt>
                <c:pt idx="1092">
                  <c:v>8.1999999999999993</c:v>
                </c:pt>
                <c:pt idx="1093">
                  <c:v>8.1999999999999993</c:v>
                </c:pt>
                <c:pt idx="1094">
                  <c:v>8.3000000000000007</c:v>
                </c:pt>
                <c:pt idx="1095">
                  <c:v>8.3000000000000007</c:v>
                </c:pt>
                <c:pt idx="1096">
                  <c:v>8.3000000000000007</c:v>
                </c:pt>
                <c:pt idx="1097">
                  <c:v>8.4</c:v>
                </c:pt>
                <c:pt idx="1098">
                  <c:v>8.4</c:v>
                </c:pt>
                <c:pt idx="1099">
                  <c:v>8.5</c:v>
                </c:pt>
                <c:pt idx="1100">
                  <c:v>8.5</c:v>
                </c:pt>
                <c:pt idx="1101">
                  <c:v>8.6</c:v>
                </c:pt>
                <c:pt idx="1102">
                  <c:v>8.6</c:v>
                </c:pt>
                <c:pt idx="1103">
                  <c:v>8.6</c:v>
                </c:pt>
                <c:pt idx="1104">
                  <c:v>8.6999999999999993</c:v>
                </c:pt>
                <c:pt idx="1105">
                  <c:v>8.6999999999999993</c:v>
                </c:pt>
                <c:pt idx="1106">
                  <c:v>8.8000000000000007</c:v>
                </c:pt>
                <c:pt idx="1107">
                  <c:v>8.8000000000000007</c:v>
                </c:pt>
                <c:pt idx="1108">
                  <c:v>8.9</c:v>
                </c:pt>
                <c:pt idx="1109">
                  <c:v>8.9</c:v>
                </c:pt>
                <c:pt idx="1110">
                  <c:v>8.9</c:v>
                </c:pt>
                <c:pt idx="1111">
                  <c:v>9</c:v>
                </c:pt>
                <c:pt idx="1112">
                  <c:v>9</c:v>
                </c:pt>
                <c:pt idx="1113">
                  <c:v>9.1</c:v>
                </c:pt>
                <c:pt idx="1114">
                  <c:v>9.1</c:v>
                </c:pt>
                <c:pt idx="1115">
                  <c:v>9.1999999999999993</c:v>
                </c:pt>
                <c:pt idx="1116">
                  <c:v>9.1999999999999993</c:v>
                </c:pt>
                <c:pt idx="1117">
                  <c:v>9.1999999999999993</c:v>
                </c:pt>
                <c:pt idx="1118">
                  <c:v>9.3000000000000007</c:v>
                </c:pt>
                <c:pt idx="1119">
                  <c:v>9.3000000000000007</c:v>
                </c:pt>
                <c:pt idx="1120">
                  <c:v>9.4</c:v>
                </c:pt>
                <c:pt idx="1121">
                  <c:v>9.4</c:v>
                </c:pt>
                <c:pt idx="1122">
                  <c:v>9.5</c:v>
                </c:pt>
                <c:pt idx="1123">
                  <c:v>9.5</c:v>
                </c:pt>
                <c:pt idx="1124">
                  <c:v>9.5</c:v>
                </c:pt>
                <c:pt idx="1125">
                  <c:v>9.6</c:v>
                </c:pt>
                <c:pt idx="1126">
                  <c:v>9.6</c:v>
                </c:pt>
                <c:pt idx="1127">
                  <c:v>9.6999999999999993</c:v>
                </c:pt>
                <c:pt idx="1128">
                  <c:v>9.6999999999999993</c:v>
                </c:pt>
                <c:pt idx="1129">
                  <c:v>9.6999999999999993</c:v>
                </c:pt>
                <c:pt idx="1130">
                  <c:v>9.8000000000000007</c:v>
                </c:pt>
                <c:pt idx="1131">
                  <c:v>9.8000000000000007</c:v>
                </c:pt>
                <c:pt idx="1132">
                  <c:v>9.9</c:v>
                </c:pt>
                <c:pt idx="1133">
                  <c:v>9.9</c:v>
                </c:pt>
                <c:pt idx="1134">
                  <c:v>9.9</c:v>
                </c:pt>
                <c:pt idx="1135">
                  <c:v>10</c:v>
                </c:pt>
                <c:pt idx="1136">
                  <c:v>10</c:v>
                </c:pt>
                <c:pt idx="1137">
                  <c:v>10.1</c:v>
                </c:pt>
                <c:pt idx="1138">
                  <c:v>10.1</c:v>
                </c:pt>
                <c:pt idx="1139">
                  <c:v>10.199999999999999</c:v>
                </c:pt>
                <c:pt idx="1140">
                  <c:v>10.199999999999999</c:v>
                </c:pt>
                <c:pt idx="1141">
                  <c:v>10.199999999999999</c:v>
                </c:pt>
                <c:pt idx="1142">
                  <c:v>10.3</c:v>
                </c:pt>
                <c:pt idx="1143">
                  <c:v>10.3</c:v>
                </c:pt>
                <c:pt idx="1144">
                  <c:v>10.4</c:v>
                </c:pt>
                <c:pt idx="1145">
                  <c:v>10.4</c:v>
                </c:pt>
                <c:pt idx="1146">
                  <c:v>10.5</c:v>
                </c:pt>
                <c:pt idx="1147">
                  <c:v>10.6</c:v>
                </c:pt>
                <c:pt idx="1148">
                  <c:v>10.6</c:v>
                </c:pt>
                <c:pt idx="1149">
                  <c:v>10.7</c:v>
                </c:pt>
                <c:pt idx="1150">
                  <c:v>10.7</c:v>
                </c:pt>
                <c:pt idx="1151">
                  <c:v>10.8</c:v>
                </c:pt>
                <c:pt idx="1152">
                  <c:v>10.8</c:v>
                </c:pt>
                <c:pt idx="1153">
                  <c:v>10.8</c:v>
                </c:pt>
                <c:pt idx="1154">
                  <c:v>10.8</c:v>
                </c:pt>
                <c:pt idx="1155">
                  <c:v>10.9</c:v>
                </c:pt>
                <c:pt idx="1156">
                  <c:v>10.9</c:v>
                </c:pt>
                <c:pt idx="1157">
                  <c:v>10.9</c:v>
                </c:pt>
                <c:pt idx="1158">
                  <c:v>11</c:v>
                </c:pt>
                <c:pt idx="1159">
                  <c:v>11</c:v>
                </c:pt>
                <c:pt idx="1160">
                  <c:v>11.1</c:v>
                </c:pt>
                <c:pt idx="1161">
                  <c:v>11.1</c:v>
                </c:pt>
                <c:pt idx="1162">
                  <c:v>11.2</c:v>
                </c:pt>
                <c:pt idx="1163">
                  <c:v>11.2</c:v>
                </c:pt>
                <c:pt idx="1164">
                  <c:v>11.3</c:v>
                </c:pt>
                <c:pt idx="1165">
                  <c:v>11.3</c:v>
                </c:pt>
                <c:pt idx="1166">
                  <c:v>11.4</c:v>
                </c:pt>
                <c:pt idx="1167">
                  <c:v>11.4</c:v>
                </c:pt>
                <c:pt idx="1168">
                  <c:v>11.4</c:v>
                </c:pt>
                <c:pt idx="1169">
                  <c:v>11.5</c:v>
                </c:pt>
                <c:pt idx="1170">
                  <c:v>11.5</c:v>
                </c:pt>
                <c:pt idx="1171">
                  <c:v>11.6</c:v>
                </c:pt>
                <c:pt idx="1172">
                  <c:v>11.6</c:v>
                </c:pt>
                <c:pt idx="1173">
                  <c:v>11.7</c:v>
                </c:pt>
                <c:pt idx="1174">
                  <c:v>11.7</c:v>
                </c:pt>
                <c:pt idx="1175">
                  <c:v>11.8</c:v>
                </c:pt>
                <c:pt idx="1176">
                  <c:v>11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749-4B1D-949A-04EFD5785095}"/>
            </c:ext>
          </c:extLst>
        </c:ser>
        <c:ser>
          <c:idx val="1"/>
          <c:order val="1"/>
          <c:tx>
            <c:strRef>
              <c:f>データ!$G$3</c:f>
              <c:strCache>
                <c:ptCount val="1"/>
                <c:pt idx="0">
                  <c:v>6面発砲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none"/>
          </c:marker>
          <c:val>
            <c:numRef>
              <c:f>データ!$G$4:$G$1180</c:f>
              <c:numCache>
                <c:formatCode>General</c:formatCode>
                <c:ptCount val="1177"/>
                <c:pt idx="0">
                  <c:v>26.9</c:v>
                </c:pt>
                <c:pt idx="1">
                  <c:v>26.6</c:v>
                </c:pt>
                <c:pt idx="2">
                  <c:v>26</c:v>
                </c:pt>
                <c:pt idx="3">
                  <c:v>24.6</c:v>
                </c:pt>
                <c:pt idx="4">
                  <c:v>23.5</c:v>
                </c:pt>
                <c:pt idx="5">
                  <c:v>23</c:v>
                </c:pt>
                <c:pt idx="6">
                  <c:v>22.7</c:v>
                </c:pt>
                <c:pt idx="7">
                  <c:v>21.6</c:v>
                </c:pt>
                <c:pt idx="8">
                  <c:v>20.100000000000001</c:v>
                </c:pt>
                <c:pt idx="9">
                  <c:v>21.6</c:v>
                </c:pt>
                <c:pt idx="10">
                  <c:v>20.7</c:v>
                </c:pt>
                <c:pt idx="11">
                  <c:v>19.8</c:v>
                </c:pt>
                <c:pt idx="12">
                  <c:v>15.6</c:v>
                </c:pt>
                <c:pt idx="13">
                  <c:v>11.7</c:v>
                </c:pt>
                <c:pt idx="14">
                  <c:v>8.8000000000000007</c:v>
                </c:pt>
                <c:pt idx="15">
                  <c:v>6.8</c:v>
                </c:pt>
                <c:pt idx="16">
                  <c:v>5.5</c:v>
                </c:pt>
                <c:pt idx="17">
                  <c:v>4.5999999999999996</c:v>
                </c:pt>
                <c:pt idx="18">
                  <c:v>4</c:v>
                </c:pt>
                <c:pt idx="19">
                  <c:v>3.6</c:v>
                </c:pt>
                <c:pt idx="20">
                  <c:v>3.2</c:v>
                </c:pt>
                <c:pt idx="21">
                  <c:v>2.9</c:v>
                </c:pt>
                <c:pt idx="22">
                  <c:v>2.8</c:v>
                </c:pt>
                <c:pt idx="23">
                  <c:v>2.7</c:v>
                </c:pt>
                <c:pt idx="24">
                  <c:v>2.7</c:v>
                </c:pt>
                <c:pt idx="25">
                  <c:v>2.7</c:v>
                </c:pt>
                <c:pt idx="26">
                  <c:v>2.7</c:v>
                </c:pt>
                <c:pt idx="27">
                  <c:v>2.7</c:v>
                </c:pt>
                <c:pt idx="28">
                  <c:v>2.7</c:v>
                </c:pt>
                <c:pt idx="29">
                  <c:v>2.7</c:v>
                </c:pt>
                <c:pt idx="30">
                  <c:v>2.7</c:v>
                </c:pt>
                <c:pt idx="31">
                  <c:v>2.7</c:v>
                </c:pt>
                <c:pt idx="32">
                  <c:v>2.7</c:v>
                </c:pt>
                <c:pt idx="33">
                  <c:v>2.8</c:v>
                </c:pt>
                <c:pt idx="34">
                  <c:v>2.8</c:v>
                </c:pt>
                <c:pt idx="35">
                  <c:v>2.8</c:v>
                </c:pt>
                <c:pt idx="36">
                  <c:v>2.8</c:v>
                </c:pt>
                <c:pt idx="37">
                  <c:v>2.8</c:v>
                </c:pt>
                <c:pt idx="38">
                  <c:v>2.9</c:v>
                </c:pt>
                <c:pt idx="39">
                  <c:v>2.9</c:v>
                </c:pt>
                <c:pt idx="40">
                  <c:v>2.9</c:v>
                </c:pt>
                <c:pt idx="41">
                  <c:v>2.9</c:v>
                </c:pt>
                <c:pt idx="42">
                  <c:v>2.9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.2</c:v>
                </c:pt>
                <c:pt idx="51">
                  <c:v>3.2</c:v>
                </c:pt>
                <c:pt idx="52">
                  <c:v>3.2</c:v>
                </c:pt>
                <c:pt idx="53">
                  <c:v>3.2</c:v>
                </c:pt>
                <c:pt idx="54">
                  <c:v>3.2</c:v>
                </c:pt>
                <c:pt idx="55">
                  <c:v>3.2</c:v>
                </c:pt>
                <c:pt idx="56">
                  <c:v>3.2</c:v>
                </c:pt>
                <c:pt idx="57">
                  <c:v>3.2</c:v>
                </c:pt>
                <c:pt idx="58">
                  <c:v>3.2</c:v>
                </c:pt>
                <c:pt idx="59">
                  <c:v>3.2</c:v>
                </c:pt>
                <c:pt idx="60">
                  <c:v>3.3</c:v>
                </c:pt>
                <c:pt idx="61">
                  <c:v>3.3</c:v>
                </c:pt>
                <c:pt idx="62">
                  <c:v>3.3</c:v>
                </c:pt>
                <c:pt idx="63">
                  <c:v>3.3</c:v>
                </c:pt>
                <c:pt idx="64">
                  <c:v>3.3</c:v>
                </c:pt>
                <c:pt idx="65">
                  <c:v>3.3</c:v>
                </c:pt>
                <c:pt idx="66">
                  <c:v>3.3</c:v>
                </c:pt>
                <c:pt idx="67">
                  <c:v>3.3</c:v>
                </c:pt>
                <c:pt idx="68">
                  <c:v>3.3</c:v>
                </c:pt>
                <c:pt idx="69">
                  <c:v>3.3</c:v>
                </c:pt>
                <c:pt idx="70">
                  <c:v>3.3</c:v>
                </c:pt>
                <c:pt idx="71">
                  <c:v>3.3</c:v>
                </c:pt>
                <c:pt idx="72">
                  <c:v>3.3</c:v>
                </c:pt>
                <c:pt idx="73">
                  <c:v>3.3</c:v>
                </c:pt>
                <c:pt idx="74">
                  <c:v>3.3</c:v>
                </c:pt>
                <c:pt idx="75">
                  <c:v>3.3</c:v>
                </c:pt>
                <c:pt idx="76">
                  <c:v>3.3</c:v>
                </c:pt>
                <c:pt idx="77">
                  <c:v>3.3</c:v>
                </c:pt>
                <c:pt idx="78">
                  <c:v>3.3</c:v>
                </c:pt>
                <c:pt idx="79">
                  <c:v>3.3</c:v>
                </c:pt>
                <c:pt idx="80">
                  <c:v>3.3</c:v>
                </c:pt>
                <c:pt idx="81">
                  <c:v>3.3</c:v>
                </c:pt>
                <c:pt idx="82">
                  <c:v>3.3</c:v>
                </c:pt>
                <c:pt idx="83">
                  <c:v>3.3</c:v>
                </c:pt>
                <c:pt idx="84">
                  <c:v>3.4</c:v>
                </c:pt>
                <c:pt idx="85">
                  <c:v>3.4</c:v>
                </c:pt>
                <c:pt idx="86">
                  <c:v>3.4</c:v>
                </c:pt>
                <c:pt idx="87">
                  <c:v>3.4</c:v>
                </c:pt>
                <c:pt idx="88">
                  <c:v>3.4</c:v>
                </c:pt>
                <c:pt idx="89">
                  <c:v>3.4</c:v>
                </c:pt>
                <c:pt idx="90">
                  <c:v>3.3</c:v>
                </c:pt>
                <c:pt idx="91">
                  <c:v>3.3</c:v>
                </c:pt>
                <c:pt idx="92">
                  <c:v>3.3</c:v>
                </c:pt>
                <c:pt idx="93">
                  <c:v>3.4</c:v>
                </c:pt>
                <c:pt idx="94">
                  <c:v>3.4</c:v>
                </c:pt>
                <c:pt idx="95">
                  <c:v>3.3</c:v>
                </c:pt>
                <c:pt idx="96">
                  <c:v>3.4</c:v>
                </c:pt>
                <c:pt idx="97">
                  <c:v>3.4</c:v>
                </c:pt>
                <c:pt idx="98">
                  <c:v>3.3</c:v>
                </c:pt>
                <c:pt idx="99">
                  <c:v>3.4</c:v>
                </c:pt>
                <c:pt idx="100">
                  <c:v>3.4</c:v>
                </c:pt>
                <c:pt idx="101">
                  <c:v>3.4</c:v>
                </c:pt>
                <c:pt idx="102">
                  <c:v>3.4</c:v>
                </c:pt>
                <c:pt idx="103">
                  <c:v>3.4</c:v>
                </c:pt>
                <c:pt idx="104">
                  <c:v>3.4</c:v>
                </c:pt>
                <c:pt idx="105">
                  <c:v>3.4</c:v>
                </c:pt>
                <c:pt idx="106">
                  <c:v>3.4</c:v>
                </c:pt>
                <c:pt idx="107">
                  <c:v>3.3</c:v>
                </c:pt>
                <c:pt idx="108">
                  <c:v>3.3</c:v>
                </c:pt>
                <c:pt idx="109">
                  <c:v>3.3</c:v>
                </c:pt>
                <c:pt idx="110">
                  <c:v>3.3</c:v>
                </c:pt>
                <c:pt idx="111">
                  <c:v>3.3</c:v>
                </c:pt>
                <c:pt idx="112">
                  <c:v>3.3</c:v>
                </c:pt>
                <c:pt idx="113">
                  <c:v>3.3</c:v>
                </c:pt>
                <c:pt idx="114">
                  <c:v>3.3</c:v>
                </c:pt>
                <c:pt idx="115">
                  <c:v>3.3</c:v>
                </c:pt>
                <c:pt idx="116">
                  <c:v>3.3</c:v>
                </c:pt>
                <c:pt idx="117">
                  <c:v>3.3</c:v>
                </c:pt>
                <c:pt idx="118">
                  <c:v>3.3</c:v>
                </c:pt>
                <c:pt idx="119">
                  <c:v>3.3</c:v>
                </c:pt>
                <c:pt idx="120">
                  <c:v>3.3</c:v>
                </c:pt>
                <c:pt idx="121">
                  <c:v>3.3</c:v>
                </c:pt>
                <c:pt idx="122">
                  <c:v>3.3</c:v>
                </c:pt>
                <c:pt idx="123">
                  <c:v>3.2</c:v>
                </c:pt>
                <c:pt idx="124">
                  <c:v>3.2</c:v>
                </c:pt>
                <c:pt idx="125">
                  <c:v>3.2</c:v>
                </c:pt>
                <c:pt idx="126">
                  <c:v>3.2</c:v>
                </c:pt>
                <c:pt idx="127">
                  <c:v>3.2</c:v>
                </c:pt>
                <c:pt idx="128">
                  <c:v>3.2</c:v>
                </c:pt>
                <c:pt idx="129">
                  <c:v>3.2</c:v>
                </c:pt>
                <c:pt idx="130">
                  <c:v>3.2</c:v>
                </c:pt>
                <c:pt idx="131">
                  <c:v>3.2</c:v>
                </c:pt>
                <c:pt idx="132">
                  <c:v>3.2</c:v>
                </c:pt>
                <c:pt idx="133">
                  <c:v>3.2</c:v>
                </c:pt>
                <c:pt idx="134">
                  <c:v>3.2</c:v>
                </c:pt>
                <c:pt idx="135">
                  <c:v>3.2</c:v>
                </c:pt>
                <c:pt idx="136">
                  <c:v>3.2</c:v>
                </c:pt>
                <c:pt idx="137">
                  <c:v>3.2</c:v>
                </c:pt>
                <c:pt idx="138">
                  <c:v>3.2</c:v>
                </c:pt>
                <c:pt idx="139">
                  <c:v>3.2</c:v>
                </c:pt>
                <c:pt idx="140">
                  <c:v>3.2</c:v>
                </c:pt>
                <c:pt idx="141">
                  <c:v>3.1</c:v>
                </c:pt>
                <c:pt idx="142">
                  <c:v>3</c:v>
                </c:pt>
                <c:pt idx="143">
                  <c:v>3</c:v>
                </c:pt>
                <c:pt idx="144">
                  <c:v>3</c:v>
                </c:pt>
                <c:pt idx="145">
                  <c:v>3</c:v>
                </c:pt>
                <c:pt idx="146">
                  <c:v>3</c:v>
                </c:pt>
                <c:pt idx="147">
                  <c:v>3</c:v>
                </c:pt>
                <c:pt idx="148">
                  <c:v>3</c:v>
                </c:pt>
                <c:pt idx="149">
                  <c:v>3</c:v>
                </c:pt>
                <c:pt idx="150">
                  <c:v>3</c:v>
                </c:pt>
                <c:pt idx="151">
                  <c:v>3</c:v>
                </c:pt>
                <c:pt idx="152">
                  <c:v>3</c:v>
                </c:pt>
                <c:pt idx="153">
                  <c:v>3</c:v>
                </c:pt>
                <c:pt idx="154">
                  <c:v>3</c:v>
                </c:pt>
                <c:pt idx="155">
                  <c:v>3</c:v>
                </c:pt>
                <c:pt idx="156">
                  <c:v>3</c:v>
                </c:pt>
                <c:pt idx="157">
                  <c:v>3</c:v>
                </c:pt>
                <c:pt idx="158">
                  <c:v>3</c:v>
                </c:pt>
                <c:pt idx="159">
                  <c:v>3</c:v>
                </c:pt>
                <c:pt idx="160">
                  <c:v>3</c:v>
                </c:pt>
                <c:pt idx="161">
                  <c:v>2.9</c:v>
                </c:pt>
                <c:pt idx="162">
                  <c:v>2.9</c:v>
                </c:pt>
                <c:pt idx="163">
                  <c:v>2.9</c:v>
                </c:pt>
                <c:pt idx="164">
                  <c:v>2.9</c:v>
                </c:pt>
                <c:pt idx="165">
                  <c:v>2.9</c:v>
                </c:pt>
                <c:pt idx="166">
                  <c:v>2.9</c:v>
                </c:pt>
                <c:pt idx="167">
                  <c:v>2.9</c:v>
                </c:pt>
                <c:pt idx="168">
                  <c:v>2.9</c:v>
                </c:pt>
                <c:pt idx="169">
                  <c:v>2.9</c:v>
                </c:pt>
                <c:pt idx="170">
                  <c:v>2.9</c:v>
                </c:pt>
                <c:pt idx="171">
                  <c:v>2.9</c:v>
                </c:pt>
                <c:pt idx="172">
                  <c:v>2.9</c:v>
                </c:pt>
                <c:pt idx="173">
                  <c:v>2.9</c:v>
                </c:pt>
                <c:pt idx="174">
                  <c:v>2.9</c:v>
                </c:pt>
                <c:pt idx="175">
                  <c:v>2.9</c:v>
                </c:pt>
                <c:pt idx="176">
                  <c:v>2.9</c:v>
                </c:pt>
                <c:pt idx="177">
                  <c:v>2.9</c:v>
                </c:pt>
                <c:pt idx="178">
                  <c:v>2.9</c:v>
                </c:pt>
                <c:pt idx="179">
                  <c:v>2.9</c:v>
                </c:pt>
                <c:pt idx="180">
                  <c:v>2.9</c:v>
                </c:pt>
                <c:pt idx="181">
                  <c:v>2.9</c:v>
                </c:pt>
                <c:pt idx="182">
                  <c:v>2.9</c:v>
                </c:pt>
                <c:pt idx="183">
                  <c:v>2.8</c:v>
                </c:pt>
                <c:pt idx="184">
                  <c:v>2.8</c:v>
                </c:pt>
                <c:pt idx="185">
                  <c:v>2.8</c:v>
                </c:pt>
                <c:pt idx="186">
                  <c:v>2.8</c:v>
                </c:pt>
                <c:pt idx="187">
                  <c:v>2.8</c:v>
                </c:pt>
                <c:pt idx="188">
                  <c:v>2.8</c:v>
                </c:pt>
                <c:pt idx="189">
                  <c:v>2.8</c:v>
                </c:pt>
                <c:pt idx="190">
                  <c:v>2.8</c:v>
                </c:pt>
                <c:pt idx="191">
                  <c:v>2.8</c:v>
                </c:pt>
                <c:pt idx="192">
                  <c:v>2.8</c:v>
                </c:pt>
                <c:pt idx="193">
                  <c:v>2.8</c:v>
                </c:pt>
                <c:pt idx="194">
                  <c:v>2.8</c:v>
                </c:pt>
                <c:pt idx="195">
                  <c:v>2.8</c:v>
                </c:pt>
                <c:pt idx="196">
                  <c:v>2.8</c:v>
                </c:pt>
                <c:pt idx="197">
                  <c:v>2.8</c:v>
                </c:pt>
                <c:pt idx="198">
                  <c:v>2.8</c:v>
                </c:pt>
                <c:pt idx="199">
                  <c:v>2.8</c:v>
                </c:pt>
                <c:pt idx="200">
                  <c:v>2.8</c:v>
                </c:pt>
                <c:pt idx="201">
                  <c:v>2.8</c:v>
                </c:pt>
                <c:pt idx="202">
                  <c:v>2.8</c:v>
                </c:pt>
                <c:pt idx="203">
                  <c:v>2.8</c:v>
                </c:pt>
                <c:pt idx="204">
                  <c:v>2.8</c:v>
                </c:pt>
                <c:pt idx="205">
                  <c:v>2.8</c:v>
                </c:pt>
                <c:pt idx="206">
                  <c:v>2.8</c:v>
                </c:pt>
                <c:pt idx="207">
                  <c:v>2.7</c:v>
                </c:pt>
                <c:pt idx="208">
                  <c:v>2.8</c:v>
                </c:pt>
                <c:pt idx="209">
                  <c:v>2.7</c:v>
                </c:pt>
                <c:pt idx="210">
                  <c:v>2.7</c:v>
                </c:pt>
                <c:pt idx="211">
                  <c:v>2.7</c:v>
                </c:pt>
                <c:pt idx="212">
                  <c:v>2.7</c:v>
                </c:pt>
                <c:pt idx="213">
                  <c:v>2.7</c:v>
                </c:pt>
                <c:pt idx="214">
                  <c:v>2.7</c:v>
                </c:pt>
                <c:pt idx="215">
                  <c:v>2.7</c:v>
                </c:pt>
                <c:pt idx="216">
                  <c:v>2.7</c:v>
                </c:pt>
                <c:pt idx="217">
                  <c:v>2.7</c:v>
                </c:pt>
                <c:pt idx="218">
                  <c:v>2.7</c:v>
                </c:pt>
                <c:pt idx="219">
                  <c:v>2.7</c:v>
                </c:pt>
                <c:pt idx="220">
                  <c:v>2.7</c:v>
                </c:pt>
                <c:pt idx="221">
                  <c:v>2.7</c:v>
                </c:pt>
                <c:pt idx="222">
                  <c:v>2.7</c:v>
                </c:pt>
                <c:pt idx="223">
                  <c:v>2.7</c:v>
                </c:pt>
                <c:pt idx="224">
                  <c:v>2.7</c:v>
                </c:pt>
                <c:pt idx="225">
                  <c:v>2.7</c:v>
                </c:pt>
                <c:pt idx="226">
                  <c:v>2.7</c:v>
                </c:pt>
                <c:pt idx="227">
                  <c:v>2.7</c:v>
                </c:pt>
                <c:pt idx="228">
                  <c:v>2.7</c:v>
                </c:pt>
                <c:pt idx="229">
                  <c:v>2.7</c:v>
                </c:pt>
                <c:pt idx="230">
                  <c:v>2.7</c:v>
                </c:pt>
                <c:pt idx="231">
                  <c:v>2.7</c:v>
                </c:pt>
                <c:pt idx="232">
                  <c:v>2.7</c:v>
                </c:pt>
                <c:pt idx="233">
                  <c:v>2.7</c:v>
                </c:pt>
                <c:pt idx="234">
                  <c:v>2.7</c:v>
                </c:pt>
                <c:pt idx="235">
                  <c:v>2.7</c:v>
                </c:pt>
                <c:pt idx="236">
                  <c:v>2.7</c:v>
                </c:pt>
                <c:pt idx="237">
                  <c:v>2.7</c:v>
                </c:pt>
                <c:pt idx="238">
                  <c:v>2.7</c:v>
                </c:pt>
                <c:pt idx="239">
                  <c:v>2.7</c:v>
                </c:pt>
                <c:pt idx="240">
                  <c:v>2.7</c:v>
                </c:pt>
                <c:pt idx="241">
                  <c:v>2.6</c:v>
                </c:pt>
                <c:pt idx="242">
                  <c:v>2.6</c:v>
                </c:pt>
                <c:pt idx="243">
                  <c:v>2.6</c:v>
                </c:pt>
                <c:pt idx="244">
                  <c:v>2.6</c:v>
                </c:pt>
                <c:pt idx="245">
                  <c:v>2.6</c:v>
                </c:pt>
                <c:pt idx="246">
                  <c:v>2.6</c:v>
                </c:pt>
                <c:pt idx="247">
                  <c:v>2.6</c:v>
                </c:pt>
                <c:pt idx="248">
                  <c:v>2.6</c:v>
                </c:pt>
                <c:pt idx="249">
                  <c:v>2.6</c:v>
                </c:pt>
                <c:pt idx="250">
                  <c:v>2.6</c:v>
                </c:pt>
                <c:pt idx="251">
                  <c:v>2.6</c:v>
                </c:pt>
                <c:pt idx="252">
                  <c:v>2.6</c:v>
                </c:pt>
                <c:pt idx="253">
                  <c:v>2.6</c:v>
                </c:pt>
                <c:pt idx="254">
                  <c:v>2.6</c:v>
                </c:pt>
                <c:pt idx="255">
                  <c:v>2.6</c:v>
                </c:pt>
                <c:pt idx="256">
                  <c:v>2.6</c:v>
                </c:pt>
                <c:pt idx="257">
                  <c:v>2.6</c:v>
                </c:pt>
                <c:pt idx="258">
                  <c:v>2.6</c:v>
                </c:pt>
                <c:pt idx="259">
                  <c:v>2.6</c:v>
                </c:pt>
                <c:pt idx="260">
                  <c:v>2.6</c:v>
                </c:pt>
                <c:pt idx="261">
                  <c:v>2.6</c:v>
                </c:pt>
                <c:pt idx="262">
                  <c:v>2.6</c:v>
                </c:pt>
                <c:pt idx="263">
                  <c:v>2.6</c:v>
                </c:pt>
                <c:pt idx="264">
                  <c:v>2.6</c:v>
                </c:pt>
                <c:pt idx="265">
                  <c:v>2.6</c:v>
                </c:pt>
                <c:pt idx="266">
                  <c:v>2.6</c:v>
                </c:pt>
                <c:pt idx="267">
                  <c:v>2.6</c:v>
                </c:pt>
                <c:pt idx="268">
                  <c:v>2.6</c:v>
                </c:pt>
                <c:pt idx="269">
                  <c:v>2.6</c:v>
                </c:pt>
                <c:pt idx="270">
                  <c:v>2.6</c:v>
                </c:pt>
                <c:pt idx="271">
                  <c:v>2.6</c:v>
                </c:pt>
                <c:pt idx="272">
                  <c:v>2.6</c:v>
                </c:pt>
                <c:pt idx="273">
                  <c:v>2.6</c:v>
                </c:pt>
                <c:pt idx="274">
                  <c:v>2.6</c:v>
                </c:pt>
                <c:pt idx="275">
                  <c:v>2.6</c:v>
                </c:pt>
                <c:pt idx="276">
                  <c:v>2.6</c:v>
                </c:pt>
                <c:pt idx="277">
                  <c:v>2.6</c:v>
                </c:pt>
                <c:pt idx="278">
                  <c:v>2.6</c:v>
                </c:pt>
                <c:pt idx="279">
                  <c:v>2.6</c:v>
                </c:pt>
                <c:pt idx="280">
                  <c:v>2.6</c:v>
                </c:pt>
                <c:pt idx="281">
                  <c:v>2.6</c:v>
                </c:pt>
                <c:pt idx="282">
                  <c:v>2.6</c:v>
                </c:pt>
                <c:pt idx="283">
                  <c:v>2.6</c:v>
                </c:pt>
                <c:pt idx="284">
                  <c:v>2.6</c:v>
                </c:pt>
                <c:pt idx="285">
                  <c:v>2.6</c:v>
                </c:pt>
                <c:pt idx="286">
                  <c:v>2.6</c:v>
                </c:pt>
                <c:pt idx="287">
                  <c:v>2.6</c:v>
                </c:pt>
                <c:pt idx="288">
                  <c:v>2.6</c:v>
                </c:pt>
                <c:pt idx="289">
                  <c:v>2.6</c:v>
                </c:pt>
                <c:pt idx="290">
                  <c:v>2.6</c:v>
                </c:pt>
                <c:pt idx="291">
                  <c:v>2.6</c:v>
                </c:pt>
                <c:pt idx="292">
                  <c:v>2.6</c:v>
                </c:pt>
                <c:pt idx="293">
                  <c:v>2.6</c:v>
                </c:pt>
                <c:pt idx="294">
                  <c:v>2.6</c:v>
                </c:pt>
                <c:pt idx="295">
                  <c:v>2.6</c:v>
                </c:pt>
                <c:pt idx="296">
                  <c:v>2.5</c:v>
                </c:pt>
                <c:pt idx="297">
                  <c:v>2.6</c:v>
                </c:pt>
                <c:pt idx="298">
                  <c:v>2.6</c:v>
                </c:pt>
                <c:pt idx="299">
                  <c:v>2.6</c:v>
                </c:pt>
                <c:pt idx="300">
                  <c:v>2.5</c:v>
                </c:pt>
                <c:pt idx="301">
                  <c:v>2.5</c:v>
                </c:pt>
                <c:pt idx="302">
                  <c:v>2.5</c:v>
                </c:pt>
                <c:pt idx="303">
                  <c:v>2.5</c:v>
                </c:pt>
                <c:pt idx="304">
                  <c:v>2.5</c:v>
                </c:pt>
                <c:pt idx="305">
                  <c:v>2.5</c:v>
                </c:pt>
                <c:pt idx="306">
                  <c:v>2.5</c:v>
                </c:pt>
                <c:pt idx="307">
                  <c:v>2.5</c:v>
                </c:pt>
                <c:pt idx="308">
                  <c:v>2.5</c:v>
                </c:pt>
                <c:pt idx="309">
                  <c:v>2.5</c:v>
                </c:pt>
                <c:pt idx="310">
                  <c:v>2.5</c:v>
                </c:pt>
                <c:pt idx="311">
                  <c:v>2.5</c:v>
                </c:pt>
                <c:pt idx="312">
                  <c:v>2.5</c:v>
                </c:pt>
                <c:pt idx="313">
                  <c:v>2.5</c:v>
                </c:pt>
                <c:pt idx="314">
                  <c:v>2.5</c:v>
                </c:pt>
                <c:pt idx="315">
                  <c:v>2.5</c:v>
                </c:pt>
                <c:pt idx="316">
                  <c:v>2.5</c:v>
                </c:pt>
                <c:pt idx="317">
                  <c:v>2.5</c:v>
                </c:pt>
                <c:pt idx="318">
                  <c:v>2.5</c:v>
                </c:pt>
                <c:pt idx="319">
                  <c:v>2.5</c:v>
                </c:pt>
                <c:pt idx="320">
                  <c:v>2.5</c:v>
                </c:pt>
                <c:pt idx="321">
                  <c:v>2.5</c:v>
                </c:pt>
                <c:pt idx="322">
                  <c:v>2.5</c:v>
                </c:pt>
                <c:pt idx="323">
                  <c:v>2.5</c:v>
                </c:pt>
                <c:pt idx="324">
                  <c:v>2.5</c:v>
                </c:pt>
                <c:pt idx="325">
                  <c:v>2.5</c:v>
                </c:pt>
                <c:pt idx="326">
                  <c:v>2.5</c:v>
                </c:pt>
                <c:pt idx="327">
                  <c:v>2.5</c:v>
                </c:pt>
                <c:pt idx="328">
                  <c:v>2.5</c:v>
                </c:pt>
                <c:pt idx="329">
                  <c:v>2.5</c:v>
                </c:pt>
                <c:pt idx="330">
                  <c:v>2.5</c:v>
                </c:pt>
                <c:pt idx="331">
                  <c:v>2.5</c:v>
                </c:pt>
                <c:pt idx="332">
                  <c:v>2.5</c:v>
                </c:pt>
                <c:pt idx="333">
                  <c:v>2.5</c:v>
                </c:pt>
                <c:pt idx="334">
                  <c:v>2.5</c:v>
                </c:pt>
                <c:pt idx="335">
                  <c:v>2.5</c:v>
                </c:pt>
                <c:pt idx="336">
                  <c:v>2.5</c:v>
                </c:pt>
                <c:pt idx="337">
                  <c:v>2.5</c:v>
                </c:pt>
                <c:pt idx="338">
                  <c:v>2.5</c:v>
                </c:pt>
                <c:pt idx="339">
                  <c:v>2.5</c:v>
                </c:pt>
                <c:pt idx="340">
                  <c:v>2.5</c:v>
                </c:pt>
                <c:pt idx="341">
                  <c:v>2.5</c:v>
                </c:pt>
                <c:pt idx="342">
                  <c:v>2.5</c:v>
                </c:pt>
                <c:pt idx="343">
                  <c:v>2.5</c:v>
                </c:pt>
                <c:pt idx="344">
                  <c:v>2.5</c:v>
                </c:pt>
                <c:pt idx="345">
                  <c:v>2.5</c:v>
                </c:pt>
                <c:pt idx="346">
                  <c:v>2.5</c:v>
                </c:pt>
                <c:pt idx="347">
                  <c:v>2.5</c:v>
                </c:pt>
                <c:pt idx="348">
                  <c:v>2.5</c:v>
                </c:pt>
                <c:pt idx="349">
                  <c:v>2.5</c:v>
                </c:pt>
                <c:pt idx="350">
                  <c:v>2.5</c:v>
                </c:pt>
                <c:pt idx="351">
                  <c:v>2.5</c:v>
                </c:pt>
                <c:pt idx="352">
                  <c:v>2.5</c:v>
                </c:pt>
                <c:pt idx="353">
                  <c:v>2.5</c:v>
                </c:pt>
                <c:pt idx="354">
                  <c:v>2.5</c:v>
                </c:pt>
                <c:pt idx="355">
                  <c:v>2.5</c:v>
                </c:pt>
                <c:pt idx="356">
                  <c:v>2.5</c:v>
                </c:pt>
                <c:pt idx="357">
                  <c:v>2.5</c:v>
                </c:pt>
                <c:pt idx="358">
                  <c:v>2.5</c:v>
                </c:pt>
                <c:pt idx="359">
                  <c:v>2.5</c:v>
                </c:pt>
                <c:pt idx="360">
                  <c:v>2.5</c:v>
                </c:pt>
                <c:pt idx="361">
                  <c:v>2.5</c:v>
                </c:pt>
                <c:pt idx="362">
                  <c:v>2.5</c:v>
                </c:pt>
                <c:pt idx="363">
                  <c:v>2.5</c:v>
                </c:pt>
                <c:pt idx="364">
                  <c:v>2.5</c:v>
                </c:pt>
                <c:pt idx="365">
                  <c:v>2.5</c:v>
                </c:pt>
                <c:pt idx="366">
                  <c:v>2.5</c:v>
                </c:pt>
                <c:pt idx="367">
                  <c:v>2.5</c:v>
                </c:pt>
                <c:pt idx="368">
                  <c:v>2.5</c:v>
                </c:pt>
                <c:pt idx="369">
                  <c:v>2.5</c:v>
                </c:pt>
                <c:pt idx="370">
                  <c:v>2.5</c:v>
                </c:pt>
                <c:pt idx="371">
                  <c:v>2.5</c:v>
                </c:pt>
                <c:pt idx="372">
                  <c:v>2.5</c:v>
                </c:pt>
                <c:pt idx="373">
                  <c:v>2.5</c:v>
                </c:pt>
                <c:pt idx="374">
                  <c:v>2.5</c:v>
                </c:pt>
                <c:pt idx="375">
                  <c:v>2.4</c:v>
                </c:pt>
                <c:pt idx="376">
                  <c:v>2.5</c:v>
                </c:pt>
                <c:pt idx="377">
                  <c:v>2.4</c:v>
                </c:pt>
                <c:pt idx="378">
                  <c:v>2.4</c:v>
                </c:pt>
                <c:pt idx="379">
                  <c:v>2.4</c:v>
                </c:pt>
                <c:pt idx="380">
                  <c:v>2.4</c:v>
                </c:pt>
                <c:pt idx="381">
                  <c:v>2.4</c:v>
                </c:pt>
                <c:pt idx="382">
                  <c:v>2.4</c:v>
                </c:pt>
                <c:pt idx="383">
                  <c:v>2.4</c:v>
                </c:pt>
                <c:pt idx="384">
                  <c:v>2.4</c:v>
                </c:pt>
                <c:pt idx="385">
                  <c:v>2.4</c:v>
                </c:pt>
                <c:pt idx="386">
                  <c:v>2.4</c:v>
                </c:pt>
                <c:pt idx="387">
                  <c:v>2.4</c:v>
                </c:pt>
                <c:pt idx="388">
                  <c:v>2.4</c:v>
                </c:pt>
                <c:pt idx="389">
                  <c:v>2.4</c:v>
                </c:pt>
                <c:pt idx="390">
                  <c:v>2.4</c:v>
                </c:pt>
                <c:pt idx="391">
                  <c:v>2.4</c:v>
                </c:pt>
                <c:pt idx="392">
                  <c:v>2.4</c:v>
                </c:pt>
                <c:pt idx="393">
                  <c:v>2.4</c:v>
                </c:pt>
                <c:pt idx="394">
                  <c:v>2.4</c:v>
                </c:pt>
                <c:pt idx="395">
                  <c:v>2.4</c:v>
                </c:pt>
                <c:pt idx="396">
                  <c:v>2.4</c:v>
                </c:pt>
                <c:pt idx="397">
                  <c:v>2.4</c:v>
                </c:pt>
                <c:pt idx="398">
                  <c:v>2.4</c:v>
                </c:pt>
                <c:pt idx="399">
                  <c:v>2.4</c:v>
                </c:pt>
                <c:pt idx="400">
                  <c:v>2.4</c:v>
                </c:pt>
                <c:pt idx="401">
                  <c:v>2.4</c:v>
                </c:pt>
                <c:pt idx="402">
                  <c:v>2.4</c:v>
                </c:pt>
                <c:pt idx="403">
                  <c:v>2.4</c:v>
                </c:pt>
                <c:pt idx="404">
                  <c:v>2.4</c:v>
                </c:pt>
                <c:pt idx="405">
                  <c:v>2.4</c:v>
                </c:pt>
                <c:pt idx="406">
                  <c:v>2.4</c:v>
                </c:pt>
                <c:pt idx="407">
                  <c:v>2.4</c:v>
                </c:pt>
                <c:pt idx="408">
                  <c:v>2.4</c:v>
                </c:pt>
                <c:pt idx="409">
                  <c:v>2.4</c:v>
                </c:pt>
                <c:pt idx="410">
                  <c:v>2.4</c:v>
                </c:pt>
                <c:pt idx="411">
                  <c:v>2.4</c:v>
                </c:pt>
                <c:pt idx="412">
                  <c:v>2.5</c:v>
                </c:pt>
                <c:pt idx="413">
                  <c:v>2.5</c:v>
                </c:pt>
                <c:pt idx="414">
                  <c:v>2.5</c:v>
                </c:pt>
                <c:pt idx="415">
                  <c:v>2.5</c:v>
                </c:pt>
                <c:pt idx="416">
                  <c:v>2.5</c:v>
                </c:pt>
                <c:pt idx="417">
                  <c:v>2.5</c:v>
                </c:pt>
                <c:pt idx="418">
                  <c:v>2.5</c:v>
                </c:pt>
                <c:pt idx="419">
                  <c:v>2.5</c:v>
                </c:pt>
                <c:pt idx="420">
                  <c:v>2.5</c:v>
                </c:pt>
                <c:pt idx="421">
                  <c:v>2.5</c:v>
                </c:pt>
                <c:pt idx="422">
                  <c:v>2.5</c:v>
                </c:pt>
                <c:pt idx="423">
                  <c:v>2.5</c:v>
                </c:pt>
                <c:pt idx="424">
                  <c:v>2.5</c:v>
                </c:pt>
                <c:pt idx="425">
                  <c:v>2.5</c:v>
                </c:pt>
                <c:pt idx="426">
                  <c:v>2.6</c:v>
                </c:pt>
                <c:pt idx="427">
                  <c:v>2.6</c:v>
                </c:pt>
                <c:pt idx="428">
                  <c:v>2.6</c:v>
                </c:pt>
                <c:pt idx="429">
                  <c:v>2.6</c:v>
                </c:pt>
                <c:pt idx="430">
                  <c:v>2.6</c:v>
                </c:pt>
                <c:pt idx="431">
                  <c:v>2.6</c:v>
                </c:pt>
                <c:pt idx="432">
                  <c:v>2.6</c:v>
                </c:pt>
                <c:pt idx="433">
                  <c:v>2.6</c:v>
                </c:pt>
                <c:pt idx="434">
                  <c:v>2.6</c:v>
                </c:pt>
                <c:pt idx="435">
                  <c:v>2.6</c:v>
                </c:pt>
                <c:pt idx="436">
                  <c:v>2.6</c:v>
                </c:pt>
                <c:pt idx="437">
                  <c:v>2.6</c:v>
                </c:pt>
                <c:pt idx="438">
                  <c:v>2.6</c:v>
                </c:pt>
                <c:pt idx="439">
                  <c:v>2.6</c:v>
                </c:pt>
                <c:pt idx="440">
                  <c:v>2.6</c:v>
                </c:pt>
                <c:pt idx="441">
                  <c:v>2.7</c:v>
                </c:pt>
                <c:pt idx="442">
                  <c:v>2.7</c:v>
                </c:pt>
                <c:pt idx="443">
                  <c:v>2.7</c:v>
                </c:pt>
                <c:pt idx="444">
                  <c:v>2.7</c:v>
                </c:pt>
                <c:pt idx="445">
                  <c:v>2.7</c:v>
                </c:pt>
                <c:pt idx="446">
                  <c:v>2.8</c:v>
                </c:pt>
                <c:pt idx="447">
                  <c:v>2.8</c:v>
                </c:pt>
                <c:pt idx="448">
                  <c:v>2.8</c:v>
                </c:pt>
                <c:pt idx="449">
                  <c:v>2.8</c:v>
                </c:pt>
                <c:pt idx="450">
                  <c:v>2.8</c:v>
                </c:pt>
                <c:pt idx="451">
                  <c:v>2.8</c:v>
                </c:pt>
                <c:pt idx="452">
                  <c:v>2.8</c:v>
                </c:pt>
                <c:pt idx="453">
                  <c:v>2.8</c:v>
                </c:pt>
                <c:pt idx="454">
                  <c:v>2.9</c:v>
                </c:pt>
                <c:pt idx="455">
                  <c:v>2.9</c:v>
                </c:pt>
                <c:pt idx="456">
                  <c:v>2.9</c:v>
                </c:pt>
                <c:pt idx="457">
                  <c:v>2.9</c:v>
                </c:pt>
                <c:pt idx="458">
                  <c:v>2.9</c:v>
                </c:pt>
                <c:pt idx="459">
                  <c:v>3</c:v>
                </c:pt>
                <c:pt idx="460">
                  <c:v>3</c:v>
                </c:pt>
                <c:pt idx="461">
                  <c:v>3</c:v>
                </c:pt>
                <c:pt idx="462">
                  <c:v>3</c:v>
                </c:pt>
                <c:pt idx="463">
                  <c:v>3</c:v>
                </c:pt>
                <c:pt idx="464">
                  <c:v>3.2</c:v>
                </c:pt>
                <c:pt idx="465">
                  <c:v>3.2</c:v>
                </c:pt>
                <c:pt idx="466">
                  <c:v>3.2</c:v>
                </c:pt>
                <c:pt idx="467">
                  <c:v>3.2</c:v>
                </c:pt>
                <c:pt idx="468">
                  <c:v>3.2</c:v>
                </c:pt>
                <c:pt idx="469">
                  <c:v>3.3</c:v>
                </c:pt>
                <c:pt idx="470">
                  <c:v>3.3</c:v>
                </c:pt>
                <c:pt idx="471">
                  <c:v>3.3</c:v>
                </c:pt>
                <c:pt idx="472">
                  <c:v>3.3</c:v>
                </c:pt>
                <c:pt idx="473">
                  <c:v>3.4</c:v>
                </c:pt>
                <c:pt idx="474">
                  <c:v>3.4</c:v>
                </c:pt>
                <c:pt idx="475">
                  <c:v>3.4</c:v>
                </c:pt>
                <c:pt idx="476">
                  <c:v>3.4</c:v>
                </c:pt>
                <c:pt idx="477">
                  <c:v>3.5</c:v>
                </c:pt>
                <c:pt idx="478">
                  <c:v>3.5</c:v>
                </c:pt>
                <c:pt idx="479">
                  <c:v>3.5</c:v>
                </c:pt>
                <c:pt idx="480">
                  <c:v>3.5</c:v>
                </c:pt>
                <c:pt idx="481">
                  <c:v>3.5</c:v>
                </c:pt>
                <c:pt idx="482">
                  <c:v>3.6</c:v>
                </c:pt>
                <c:pt idx="483">
                  <c:v>3.6</c:v>
                </c:pt>
                <c:pt idx="484">
                  <c:v>3.6</c:v>
                </c:pt>
                <c:pt idx="485">
                  <c:v>3.6</c:v>
                </c:pt>
                <c:pt idx="486">
                  <c:v>3.6</c:v>
                </c:pt>
                <c:pt idx="487">
                  <c:v>3.7</c:v>
                </c:pt>
                <c:pt idx="488">
                  <c:v>3.7</c:v>
                </c:pt>
                <c:pt idx="489">
                  <c:v>3.7</c:v>
                </c:pt>
                <c:pt idx="490">
                  <c:v>3.7</c:v>
                </c:pt>
                <c:pt idx="491">
                  <c:v>3.7</c:v>
                </c:pt>
                <c:pt idx="492">
                  <c:v>3.8</c:v>
                </c:pt>
                <c:pt idx="493">
                  <c:v>3.8</c:v>
                </c:pt>
                <c:pt idx="494">
                  <c:v>3.8</c:v>
                </c:pt>
                <c:pt idx="495">
                  <c:v>3.8</c:v>
                </c:pt>
                <c:pt idx="496">
                  <c:v>3.8</c:v>
                </c:pt>
                <c:pt idx="497">
                  <c:v>3.9</c:v>
                </c:pt>
                <c:pt idx="498">
                  <c:v>3.9</c:v>
                </c:pt>
                <c:pt idx="499">
                  <c:v>3.9</c:v>
                </c:pt>
                <c:pt idx="500">
                  <c:v>3.9</c:v>
                </c:pt>
                <c:pt idx="501">
                  <c:v>4</c:v>
                </c:pt>
                <c:pt idx="502">
                  <c:v>4</c:v>
                </c:pt>
                <c:pt idx="503">
                  <c:v>4</c:v>
                </c:pt>
                <c:pt idx="504">
                  <c:v>4</c:v>
                </c:pt>
                <c:pt idx="505">
                  <c:v>4</c:v>
                </c:pt>
                <c:pt idx="506">
                  <c:v>4.0999999999999996</c:v>
                </c:pt>
                <c:pt idx="507">
                  <c:v>4.0999999999999996</c:v>
                </c:pt>
                <c:pt idx="508">
                  <c:v>4.0999999999999996</c:v>
                </c:pt>
                <c:pt idx="509">
                  <c:v>4.0999999999999996</c:v>
                </c:pt>
                <c:pt idx="510">
                  <c:v>4.2</c:v>
                </c:pt>
                <c:pt idx="511">
                  <c:v>4.2</c:v>
                </c:pt>
                <c:pt idx="512">
                  <c:v>4.2</c:v>
                </c:pt>
                <c:pt idx="513">
                  <c:v>4.3</c:v>
                </c:pt>
                <c:pt idx="514">
                  <c:v>4.3</c:v>
                </c:pt>
                <c:pt idx="515">
                  <c:v>4.3</c:v>
                </c:pt>
                <c:pt idx="516">
                  <c:v>4.4000000000000004</c:v>
                </c:pt>
                <c:pt idx="517">
                  <c:v>4.4000000000000004</c:v>
                </c:pt>
                <c:pt idx="518">
                  <c:v>4.4000000000000004</c:v>
                </c:pt>
                <c:pt idx="519">
                  <c:v>4.4000000000000004</c:v>
                </c:pt>
                <c:pt idx="520">
                  <c:v>4.5</c:v>
                </c:pt>
                <c:pt idx="521">
                  <c:v>4.5</c:v>
                </c:pt>
                <c:pt idx="522">
                  <c:v>4.5</c:v>
                </c:pt>
                <c:pt idx="523">
                  <c:v>4.5999999999999996</c:v>
                </c:pt>
                <c:pt idx="524">
                  <c:v>4.5999999999999996</c:v>
                </c:pt>
                <c:pt idx="525">
                  <c:v>4.5999999999999996</c:v>
                </c:pt>
                <c:pt idx="526">
                  <c:v>4.7</c:v>
                </c:pt>
                <c:pt idx="527">
                  <c:v>4.7</c:v>
                </c:pt>
                <c:pt idx="528">
                  <c:v>4.7</c:v>
                </c:pt>
                <c:pt idx="529">
                  <c:v>4.8</c:v>
                </c:pt>
                <c:pt idx="530">
                  <c:v>4.8</c:v>
                </c:pt>
                <c:pt idx="531">
                  <c:v>4.8</c:v>
                </c:pt>
                <c:pt idx="532">
                  <c:v>4.9000000000000004</c:v>
                </c:pt>
                <c:pt idx="533">
                  <c:v>4.9000000000000004</c:v>
                </c:pt>
                <c:pt idx="534">
                  <c:v>4.9000000000000004</c:v>
                </c:pt>
                <c:pt idx="535">
                  <c:v>5</c:v>
                </c:pt>
                <c:pt idx="536">
                  <c:v>5</c:v>
                </c:pt>
                <c:pt idx="537">
                  <c:v>5</c:v>
                </c:pt>
                <c:pt idx="538">
                  <c:v>5.0999999999999996</c:v>
                </c:pt>
                <c:pt idx="539">
                  <c:v>5.0999999999999996</c:v>
                </c:pt>
                <c:pt idx="540">
                  <c:v>5.2</c:v>
                </c:pt>
                <c:pt idx="541">
                  <c:v>5.2</c:v>
                </c:pt>
                <c:pt idx="542">
                  <c:v>5.2</c:v>
                </c:pt>
                <c:pt idx="543">
                  <c:v>5.3</c:v>
                </c:pt>
                <c:pt idx="544">
                  <c:v>5.3</c:v>
                </c:pt>
                <c:pt idx="545">
                  <c:v>5.4</c:v>
                </c:pt>
                <c:pt idx="546">
                  <c:v>5.4</c:v>
                </c:pt>
                <c:pt idx="547">
                  <c:v>5.4</c:v>
                </c:pt>
                <c:pt idx="548">
                  <c:v>5.5</c:v>
                </c:pt>
                <c:pt idx="549">
                  <c:v>5.5</c:v>
                </c:pt>
                <c:pt idx="550">
                  <c:v>5.6</c:v>
                </c:pt>
                <c:pt idx="551">
                  <c:v>5.6</c:v>
                </c:pt>
                <c:pt idx="552">
                  <c:v>5.7</c:v>
                </c:pt>
                <c:pt idx="553">
                  <c:v>5.7</c:v>
                </c:pt>
                <c:pt idx="554">
                  <c:v>5.8</c:v>
                </c:pt>
                <c:pt idx="555">
                  <c:v>5.8</c:v>
                </c:pt>
                <c:pt idx="556">
                  <c:v>5.9</c:v>
                </c:pt>
                <c:pt idx="557">
                  <c:v>5.9</c:v>
                </c:pt>
                <c:pt idx="558">
                  <c:v>6</c:v>
                </c:pt>
                <c:pt idx="559">
                  <c:v>6</c:v>
                </c:pt>
                <c:pt idx="560">
                  <c:v>6.1</c:v>
                </c:pt>
                <c:pt idx="561">
                  <c:v>6.2</c:v>
                </c:pt>
                <c:pt idx="562">
                  <c:v>6.2</c:v>
                </c:pt>
                <c:pt idx="563">
                  <c:v>6.3</c:v>
                </c:pt>
                <c:pt idx="564">
                  <c:v>6.4</c:v>
                </c:pt>
                <c:pt idx="565">
                  <c:v>6.4</c:v>
                </c:pt>
                <c:pt idx="566">
                  <c:v>6.5</c:v>
                </c:pt>
                <c:pt idx="567">
                  <c:v>6.6</c:v>
                </c:pt>
                <c:pt idx="568">
                  <c:v>6.7</c:v>
                </c:pt>
                <c:pt idx="569">
                  <c:v>6.7</c:v>
                </c:pt>
                <c:pt idx="570">
                  <c:v>6.8</c:v>
                </c:pt>
                <c:pt idx="571">
                  <c:v>6.9</c:v>
                </c:pt>
                <c:pt idx="572">
                  <c:v>6.9</c:v>
                </c:pt>
                <c:pt idx="573">
                  <c:v>7.1</c:v>
                </c:pt>
                <c:pt idx="574">
                  <c:v>7.2</c:v>
                </c:pt>
                <c:pt idx="575">
                  <c:v>7.3</c:v>
                </c:pt>
                <c:pt idx="576">
                  <c:v>7.3</c:v>
                </c:pt>
                <c:pt idx="577">
                  <c:v>7.4</c:v>
                </c:pt>
                <c:pt idx="578">
                  <c:v>7.5</c:v>
                </c:pt>
                <c:pt idx="579">
                  <c:v>7.5</c:v>
                </c:pt>
                <c:pt idx="580">
                  <c:v>7.6</c:v>
                </c:pt>
                <c:pt idx="581">
                  <c:v>7.7</c:v>
                </c:pt>
                <c:pt idx="582">
                  <c:v>7.7</c:v>
                </c:pt>
                <c:pt idx="583">
                  <c:v>7.8</c:v>
                </c:pt>
                <c:pt idx="584">
                  <c:v>7.8</c:v>
                </c:pt>
                <c:pt idx="585">
                  <c:v>7.9</c:v>
                </c:pt>
                <c:pt idx="586">
                  <c:v>7.9</c:v>
                </c:pt>
                <c:pt idx="587">
                  <c:v>8</c:v>
                </c:pt>
                <c:pt idx="588">
                  <c:v>8</c:v>
                </c:pt>
                <c:pt idx="589">
                  <c:v>8.1</c:v>
                </c:pt>
                <c:pt idx="590">
                  <c:v>8.1999999999999993</c:v>
                </c:pt>
                <c:pt idx="591">
                  <c:v>8.1999999999999993</c:v>
                </c:pt>
                <c:pt idx="592">
                  <c:v>8.3000000000000007</c:v>
                </c:pt>
                <c:pt idx="593">
                  <c:v>8.4</c:v>
                </c:pt>
                <c:pt idx="594">
                  <c:v>8.5</c:v>
                </c:pt>
                <c:pt idx="595">
                  <c:v>8.5</c:v>
                </c:pt>
                <c:pt idx="596">
                  <c:v>8.6</c:v>
                </c:pt>
                <c:pt idx="597">
                  <c:v>8.6999999999999993</c:v>
                </c:pt>
                <c:pt idx="598">
                  <c:v>8.6999999999999993</c:v>
                </c:pt>
                <c:pt idx="599">
                  <c:v>8.8000000000000007</c:v>
                </c:pt>
                <c:pt idx="600">
                  <c:v>8.9</c:v>
                </c:pt>
                <c:pt idx="601">
                  <c:v>9</c:v>
                </c:pt>
                <c:pt idx="602">
                  <c:v>9</c:v>
                </c:pt>
                <c:pt idx="603">
                  <c:v>9.1</c:v>
                </c:pt>
                <c:pt idx="604">
                  <c:v>9.1999999999999993</c:v>
                </c:pt>
                <c:pt idx="605">
                  <c:v>9.1999999999999993</c:v>
                </c:pt>
                <c:pt idx="606">
                  <c:v>9.3000000000000007</c:v>
                </c:pt>
                <c:pt idx="607">
                  <c:v>9.4</c:v>
                </c:pt>
                <c:pt idx="608">
                  <c:v>9.4</c:v>
                </c:pt>
                <c:pt idx="609">
                  <c:v>9.5</c:v>
                </c:pt>
                <c:pt idx="610">
                  <c:v>9.6</c:v>
                </c:pt>
                <c:pt idx="611">
                  <c:v>9.6999999999999993</c:v>
                </c:pt>
                <c:pt idx="612">
                  <c:v>9.6999999999999993</c:v>
                </c:pt>
                <c:pt idx="613">
                  <c:v>9.8000000000000007</c:v>
                </c:pt>
                <c:pt idx="614">
                  <c:v>9.9</c:v>
                </c:pt>
                <c:pt idx="615">
                  <c:v>9.9</c:v>
                </c:pt>
                <c:pt idx="616">
                  <c:v>10</c:v>
                </c:pt>
                <c:pt idx="617">
                  <c:v>10.1</c:v>
                </c:pt>
                <c:pt idx="618">
                  <c:v>10.1</c:v>
                </c:pt>
                <c:pt idx="619">
                  <c:v>10.199999999999999</c:v>
                </c:pt>
                <c:pt idx="620">
                  <c:v>10.3</c:v>
                </c:pt>
                <c:pt idx="621">
                  <c:v>10.4</c:v>
                </c:pt>
                <c:pt idx="622">
                  <c:v>10.4</c:v>
                </c:pt>
                <c:pt idx="623">
                  <c:v>10.6</c:v>
                </c:pt>
                <c:pt idx="624">
                  <c:v>10.7</c:v>
                </c:pt>
                <c:pt idx="625">
                  <c:v>10.7</c:v>
                </c:pt>
                <c:pt idx="626">
                  <c:v>10.8</c:v>
                </c:pt>
                <c:pt idx="627">
                  <c:v>10.8</c:v>
                </c:pt>
                <c:pt idx="628">
                  <c:v>10.8</c:v>
                </c:pt>
                <c:pt idx="629">
                  <c:v>10.9</c:v>
                </c:pt>
                <c:pt idx="630">
                  <c:v>11</c:v>
                </c:pt>
                <c:pt idx="631">
                  <c:v>11</c:v>
                </c:pt>
                <c:pt idx="632">
                  <c:v>11.1</c:v>
                </c:pt>
                <c:pt idx="633">
                  <c:v>11.2</c:v>
                </c:pt>
                <c:pt idx="634">
                  <c:v>11.2</c:v>
                </c:pt>
                <c:pt idx="635">
                  <c:v>11.3</c:v>
                </c:pt>
                <c:pt idx="636">
                  <c:v>11.4</c:v>
                </c:pt>
                <c:pt idx="637">
                  <c:v>11.4</c:v>
                </c:pt>
                <c:pt idx="638">
                  <c:v>11.5</c:v>
                </c:pt>
                <c:pt idx="639">
                  <c:v>11.6</c:v>
                </c:pt>
                <c:pt idx="640">
                  <c:v>11.6</c:v>
                </c:pt>
                <c:pt idx="641">
                  <c:v>11.7</c:v>
                </c:pt>
                <c:pt idx="642">
                  <c:v>11.7</c:v>
                </c:pt>
                <c:pt idx="643">
                  <c:v>11.8</c:v>
                </c:pt>
                <c:pt idx="644">
                  <c:v>11.8</c:v>
                </c:pt>
                <c:pt idx="645">
                  <c:v>11.9</c:v>
                </c:pt>
                <c:pt idx="646">
                  <c:v>12</c:v>
                </c:pt>
                <c:pt idx="647">
                  <c:v>12</c:v>
                </c:pt>
                <c:pt idx="648">
                  <c:v>12.1</c:v>
                </c:pt>
                <c:pt idx="649">
                  <c:v>12.2</c:v>
                </c:pt>
                <c:pt idx="650">
                  <c:v>12.2</c:v>
                </c:pt>
                <c:pt idx="651">
                  <c:v>12.3</c:v>
                </c:pt>
                <c:pt idx="652">
                  <c:v>12.3</c:v>
                </c:pt>
                <c:pt idx="653">
                  <c:v>12.4</c:v>
                </c:pt>
                <c:pt idx="654">
                  <c:v>12.5</c:v>
                </c:pt>
                <c:pt idx="655">
                  <c:v>12.5</c:v>
                </c:pt>
                <c:pt idx="656">
                  <c:v>12.6</c:v>
                </c:pt>
                <c:pt idx="657">
                  <c:v>12.6</c:v>
                </c:pt>
                <c:pt idx="658">
                  <c:v>12.7</c:v>
                </c:pt>
                <c:pt idx="659">
                  <c:v>12.8</c:v>
                </c:pt>
                <c:pt idx="660">
                  <c:v>12.8</c:v>
                </c:pt>
                <c:pt idx="661">
                  <c:v>12.9</c:v>
                </c:pt>
                <c:pt idx="662">
                  <c:v>12.9</c:v>
                </c:pt>
                <c:pt idx="663">
                  <c:v>13</c:v>
                </c:pt>
                <c:pt idx="664">
                  <c:v>13</c:v>
                </c:pt>
                <c:pt idx="665">
                  <c:v>13.1</c:v>
                </c:pt>
                <c:pt idx="666">
                  <c:v>13.1</c:v>
                </c:pt>
                <c:pt idx="667">
                  <c:v>13.2</c:v>
                </c:pt>
                <c:pt idx="668">
                  <c:v>13.3</c:v>
                </c:pt>
                <c:pt idx="669">
                  <c:v>13.3</c:v>
                </c:pt>
                <c:pt idx="670">
                  <c:v>13.4</c:v>
                </c:pt>
                <c:pt idx="671">
                  <c:v>13.4</c:v>
                </c:pt>
                <c:pt idx="672">
                  <c:v>13.5</c:v>
                </c:pt>
                <c:pt idx="673">
                  <c:v>13.6</c:v>
                </c:pt>
                <c:pt idx="674">
                  <c:v>13.6</c:v>
                </c:pt>
                <c:pt idx="675">
                  <c:v>13.7</c:v>
                </c:pt>
                <c:pt idx="676">
                  <c:v>13.7</c:v>
                </c:pt>
                <c:pt idx="677">
                  <c:v>13.8</c:v>
                </c:pt>
                <c:pt idx="678">
                  <c:v>13.9</c:v>
                </c:pt>
                <c:pt idx="679">
                  <c:v>13.9</c:v>
                </c:pt>
                <c:pt idx="680">
                  <c:v>14</c:v>
                </c:pt>
                <c:pt idx="681">
                  <c:v>14.1</c:v>
                </c:pt>
                <c:pt idx="682">
                  <c:v>14.1</c:v>
                </c:pt>
                <c:pt idx="683">
                  <c:v>14.2</c:v>
                </c:pt>
                <c:pt idx="684">
                  <c:v>14.2</c:v>
                </c:pt>
                <c:pt idx="685">
                  <c:v>14.3</c:v>
                </c:pt>
                <c:pt idx="686">
                  <c:v>14.4</c:v>
                </c:pt>
                <c:pt idx="687">
                  <c:v>14.4</c:v>
                </c:pt>
                <c:pt idx="688">
                  <c:v>14.5</c:v>
                </c:pt>
                <c:pt idx="689">
                  <c:v>14.5</c:v>
                </c:pt>
                <c:pt idx="690">
                  <c:v>14.6</c:v>
                </c:pt>
                <c:pt idx="691">
                  <c:v>14.7</c:v>
                </c:pt>
                <c:pt idx="692">
                  <c:v>14.7</c:v>
                </c:pt>
                <c:pt idx="693">
                  <c:v>14.8</c:v>
                </c:pt>
                <c:pt idx="694">
                  <c:v>14.8</c:v>
                </c:pt>
                <c:pt idx="695">
                  <c:v>14.9</c:v>
                </c:pt>
                <c:pt idx="696">
                  <c:v>14.9</c:v>
                </c:pt>
                <c:pt idx="697">
                  <c:v>15</c:v>
                </c:pt>
                <c:pt idx="698">
                  <c:v>15.1</c:v>
                </c:pt>
                <c:pt idx="699">
                  <c:v>15.1</c:v>
                </c:pt>
                <c:pt idx="700">
                  <c:v>15.2</c:v>
                </c:pt>
                <c:pt idx="701">
                  <c:v>15.2</c:v>
                </c:pt>
                <c:pt idx="702">
                  <c:v>15.3</c:v>
                </c:pt>
                <c:pt idx="703">
                  <c:v>15.4</c:v>
                </c:pt>
                <c:pt idx="704">
                  <c:v>15.4</c:v>
                </c:pt>
                <c:pt idx="705">
                  <c:v>15.5</c:v>
                </c:pt>
                <c:pt idx="706">
                  <c:v>15.5</c:v>
                </c:pt>
                <c:pt idx="707">
                  <c:v>15.6</c:v>
                </c:pt>
                <c:pt idx="708">
                  <c:v>15.7</c:v>
                </c:pt>
                <c:pt idx="709">
                  <c:v>15.7</c:v>
                </c:pt>
                <c:pt idx="710">
                  <c:v>15.8</c:v>
                </c:pt>
                <c:pt idx="711">
                  <c:v>15.9</c:v>
                </c:pt>
                <c:pt idx="712">
                  <c:v>15.9</c:v>
                </c:pt>
                <c:pt idx="713">
                  <c:v>16</c:v>
                </c:pt>
                <c:pt idx="714">
                  <c:v>16</c:v>
                </c:pt>
                <c:pt idx="715">
                  <c:v>16.100000000000001</c:v>
                </c:pt>
                <c:pt idx="716">
                  <c:v>16.2</c:v>
                </c:pt>
                <c:pt idx="717">
                  <c:v>16.2</c:v>
                </c:pt>
                <c:pt idx="718">
                  <c:v>16.3</c:v>
                </c:pt>
                <c:pt idx="719">
                  <c:v>16.399999999999999</c:v>
                </c:pt>
                <c:pt idx="720">
                  <c:v>16.399999999999999</c:v>
                </c:pt>
                <c:pt idx="721">
                  <c:v>16.5</c:v>
                </c:pt>
                <c:pt idx="722">
                  <c:v>16.600000000000001</c:v>
                </c:pt>
                <c:pt idx="723">
                  <c:v>16.600000000000001</c:v>
                </c:pt>
                <c:pt idx="724">
                  <c:v>16.7</c:v>
                </c:pt>
                <c:pt idx="725">
                  <c:v>16.7</c:v>
                </c:pt>
                <c:pt idx="726">
                  <c:v>16.8</c:v>
                </c:pt>
                <c:pt idx="727">
                  <c:v>16.899999999999999</c:v>
                </c:pt>
                <c:pt idx="728">
                  <c:v>16.899999999999999</c:v>
                </c:pt>
                <c:pt idx="729">
                  <c:v>17</c:v>
                </c:pt>
                <c:pt idx="730">
                  <c:v>17</c:v>
                </c:pt>
                <c:pt idx="731">
                  <c:v>17.100000000000001</c:v>
                </c:pt>
                <c:pt idx="732">
                  <c:v>17.2</c:v>
                </c:pt>
                <c:pt idx="733">
                  <c:v>17.2</c:v>
                </c:pt>
                <c:pt idx="734">
                  <c:v>17.3</c:v>
                </c:pt>
                <c:pt idx="735">
                  <c:v>17.3</c:v>
                </c:pt>
                <c:pt idx="736">
                  <c:v>17.399999999999999</c:v>
                </c:pt>
                <c:pt idx="737">
                  <c:v>17.5</c:v>
                </c:pt>
                <c:pt idx="738">
                  <c:v>17.5</c:v>
                </c:pt>
                <c:pt idx="739">
                  <c:v>17.600000000000001</c:v>
                </c:pt>
                <c:pt idx="740">
                  <c:v>17.600000000000001</c:v>
                </c:pt>
                <c:pt idx="741">
                  <c:v>17.7</c:v>
                </c:pt>
                <c:pt idx="742">
                  <c:v>17.8</c:v>
                </c:pt>
                <c:pt idx="743">
                  <c:v>17.8</c:v>
                </c:pt>
                <c:pt idx="744">
                  <c:v>17.899999999999999</c:v>
                </c:pt>
                <c:pt idx="745">
                  <c:v>17.899999999999999</c:v>
                </c:pt>
                <c:pt idx="746">
                  <c:v>18</c:v>
                </c:pt>
                <c:pt idx="747">
                  <c:v>18.100000000000001</c:v>
                </c:pt>
                <c:pt idx="748">
                  <c:v>18.100000000000001</c:v>
                </c:pt>
                <c:pt idx="749">
                  <c:v>18.2</c:v>
                </c:pt>
                <c:pt idx="750">
                  <c:v>18.2</c:v>
                </c:pt>
                <c:pt idx="751">
                  <c:v>18.3</c:v>
                </c:pt>
                <c:pt idx="752">
                  <c:v>18.399999999999999</c:v>
                </c:pt>
                <c:pt idx="753">
                  <c:v>18.399999999999999</c:v>
                </c:pt>
                <c:pt idx="754">
                  <c:v>18.5</c:v>
                </c:pt>
                <c:pt idx="755">
                  <c:v>18.5</c:v>
                </c:pt>
                <c:pt idx="756">
                  <c:v>18.600000000000001</c:v>
                </c:pt>
                <c:pt idx="757">
                  <c:v>18.600000000000001</c:v>
                </c:pt>
                <c:pt idx="758">
                  <c:v>18.7</c:v>
                </c:pt>
                <c:pt idx="759">
                  <c:v>18.8</c:v>
                </c:pt>
                <c:pt idx="760">
                  <c:v>18.8</c:v>
                </c:pt>
                <c:pt idx="761">
                  <c:v>18.899999999999999</c:v>
                </c:pt>
                <c:pt idx="762">
                  <c:v>18.899999999999999</c:v>
                </c:pt>
                <c:pt idx="763">
                  <c:v>19</c:v>
                </c:pt>
                <c:pt idx="764">
                  <c:v>19</c:v>
                </c:pt>
                <c:pt idx="765">
                  <c:v>19.100000000000001</c:v>
                </c:pt>
                <c:pt idx="766">
                  <c:v>19.100000000000001</c:v>
                </c:pt>
                <c:pt idx="767">
                  <c:v>19.2</c:v>
                </c:pt>
                <c:pt idx="768">
                  <c:v>19.3</c:v>
                </c:pt>
                <c:pt idx="769">
                  <c:v>19.3</c:v>
                </c:pt>
                <c:pt idx="770">
                  <c:v>19.399999999999999</c:v>
                </c:pt>
                <c:pt idx="771">
                  <c:v>19.399999999999999</c:v>
                </c:pt>
                <c:pt idx="772">
                  <c:v>19.5</c:v>
                </c:pt>
                <c:pt idx="773">
                  <c:v>19.5</c:v>
                </c:pt>
                <c:pt idx="774">
                  <c:v>19.600000000000001</c:v>
                </c:pt>
                <c:pt idx="775">
                  <c:v>19.600000000000001</c:v>
                </c:pt>
                <c:pt idx="776">
                  <c:v>19.7</c:v>
                </c:pt>
                <c:pt idx="777">
                  <c:v>19.7</c:v>
                </c:pt>
                <c:pt idx="778">
                  <c:v>19.8</c:v>
                </c:pt>
                <c:pt idx="779">
                  <c:v>19.8</c:v>
                </c:pt>
                <c:pt idx="780">
                  <c:v>19.899999999999999</c:v>
                </c:pt>
                <c:pt idx="781">
                  <c:v>19.899999999999999</c:v>
                </c:pt>
                <c:pt idx="782">
                  <c:v>20</c:v>
                </c:pt>
                <c:pt idx="783">
                  <c:v>20.100000000000001</c:v>
                </c:pt>
                <c:pt idx="784">
                  <c:v>20.100000000000001</c:v>
                </c:pt>
                <c:pt idx="785">
                  <c:v>20.2</c:v>
                </c:pt>
                <c:pt idx="786">
                  <c:v>20.2</c:v>
                </c:pt>
                <c:pt idx="787">
                  <c:v>20.2</c:v>
                </c:pt>
                <c:pt idx="788">
                  <c:v>20.3</c:v>
                </c:pt>
                <c:pt idx="789">
                  <c:v>20.3</c:v>
                </c:pt>
                <c:pt idx="790">
                  <c:v>20.399999999999999</c:v>
                </c:pt>
                <c:pt idx="791">
                  <c:v>20.399999999999999</c:v>
                </c:pt>
                <c:pt idx="792">
                  <c:v>20.5</c:v>
                </c:pt>
                <c:pt idx="793">
                  <c:v>20.5</c:v>
                </c:pt>
                <c:pt idx="794">
                  <c:v>20.6</c:v>
                </c:pt>
                <c:pt idx="795">
                  <c:v>20.6</c:v>
                </c:pt>
                <c:pt idx="796">
                  <c:v>20.7</c:v>
                </c:pt>
                <c:pt idx="797">
                  <c:v>20.7</c:v>
                </c:pt>
                <c:pt idx="798">
                  <c:v>20.8</c:v>
                </c:pt>
                <c:pt idx="799">
                  <c:v>20.8</c:v>
                </c:pt>
                <c:pt idx="800">
                  <c:v>20.9</c:v>
                </c:pt>
                <c:pt idx="801">
                  <c:v>20.9</c:v>
                </c:pt>
                <c:pt idx="802">
                  <c:v>21</c:v>
                </c:pt>
                <c:pt idx="803">
                  <c:v>21</c:v>
                </c:pt>
                <c:pt idx="804">
                  <c:v>21.1</c:v>
                </c:pt>
                <c:pt idx="805">
                  <c:v>21.1</c:v>
                </c:pt>
                <c:pt idx="806">
                  <c:v>21.2</c:v>
                </c:pt>
                <c:pt idx="807">
                  <c:v>21.2</c:v>
                </c:pt>
                <c:pt idx="808">
                  <c:v>21.4</c:v>
                </c:pt>
                <c:pt idx="809">
                  <c:v>21.4</c:v>
                </c:pt>
                <c:pt idx="810">
                  <c:v>21.4</c:v>
                </c:pt>
                <c:pt idx="811">
                  <c:v>21.5</c:v>
                </c:pt>
                <c:pt idx="812">
                  <c:v>21.5</c:v>
                </c:pt>
                <c:pt idx="813">
                  <c:v>21.6</c:v>
                </c:pt>
                <c:pt idx="814">
                  <c:v>21.6</c:v>
                </c:pt>
                <c:pt idx="815">
                  <c:v>21.7</c:v>
                </c:pt>
                <c:pt idx="816">
                  <c:v>21.7</c:v>
                </c:pt>
                <c:pt idx="817">
                  <c:v>21.8</c:v>
                </c:pt>
                <c:pt idx="818">
                  <c:v>21.8</c:v>
                </c:pt>
                <c:pt idx="819">
                  <c:v>21.9</c:v>
                </c:pt>
                <c:pt idx="820">
                  <c:v>21.9</c:v>
                </c:pt>
                <c:pt idx="821">
                  <c:v>22</c:v>
                </c:pt>
                <c:pt idx="822">
                  <c:v>22</c:v>
                </c:pt>
                <c:pt idx="823">
                  <c:v>22</c:v>
                </c:pt>
                <c:pt idx="824">
                  <c:v>22.1</c:v>
                </c:pt>
                <c:pt idx="825">
                  <c:v>22.1</c:v>
                </c:pt>
                <c:pt idx="826">
                  <c:v>22.2</c:v>
                </c:pt>
                <c:pt idx="827">
                  <c:v>22.2</c:v>
                </c:pt>
                <c:pt idx="828">
                  <c:v>22.3</c:v>
                </c:pt>
                <c:pt idx="829">
                  <c:v>22.3</c:v>
                </c:pt>
                <c:pt idx="830">
                  <c:v>22.3</c:v>
                </c:pt>
                <c:pt idx="831">
                  <c:v>22.4</c:v>
                </c:pt>
                <c:pt idx="832">
                  <c:v>22.4</c:v>
                </c:pt>
                <c:pt idx="833">
                  <c:v>22.5</c:v>
                </c:pt>
                <c:pt idx="834">
                  <c:v>22.5</c:v>
                </c:pt>
                <c:pt idx="835">
                  <c:v>22.6</c:v>
                </c:pt>
                <c:pt idx="836">
                  <c:v>22.6</c:v>
                </c:pt>
                <c:pt idx="837">
                  <c:v>22.6</c:v>
                </c:pt>
                <c:pt idx="838">
                  <c:v>22.7</c:v>
                </c:pt>
                <c:pt idx="839">
                  <c:v>22.7</c:v>
                </c:pt>
                <c:pt idx="840">
                  <c:v>22.8</c:v>
                </c:pt>
                <c:pt idx="841">
                  <c:v>22.8</c:v>
                </c:pt>
                <c:pt idx="842">
                  <c:v>22.9</c:v>
                </c:pt>
                <c:pt idx="843">
                  <c:v>22.9</c:v>
                </c:pt>
                <c:pt idx="844">
                  <c:v>22.9</c:v>
                </c:pt>
                <c:pt idx="845">
                  <c:v>23</c:v>
                </c:pt>
                <c:pt idx="846">
                  <c:v>23</c:v>
                </c:pt>
                <c:pt idx="847">
                  <c:v>23</c:v>
                </c:pt>
                <c:pt idx="848">
                  <c:v>23.1</c:v>
                </c:pt>
                <c:pt idx="849">
                  <c:v>23.1</c:v>
                </c:pt>
                <c:pt idx="850">
                  <c:v>23.2</c:v>
                </c:pt>
                <c:pt idx="851">
                  <c:v>23.2</c:v>
                </c:pt>
                <c:pt idx="852">
                  <c:v>23.3</c:v>
                </c:pt>
                <c:pt idx="853">
                  <c:v>23.3</c:v>
                </c:pt>
                <c:pt idx="854">
                  <c:v>23.3</c:v>
                </c:pt>
                <c:pt idx="855">
                  <c:v>23.4</c:v>
                </c:pt>
                <c:pt idx="856">
                  <c:v>23.4</c:v>
                </c:pt>
                <c:pt idx="857">
                  <c:v>23.4</c:v>
                </c:pt>
                <c:pt idx="858">
                  <c:v>23.5</c:v>
                </c:pt>
                <c:pt idx="859">
                  <c:v>23.5</c:v>
                </c:pt>
                <c:pt idx="860">
                  <c:v>23.6</c:v>
                </c:pt>
                <c:pt idx="861">
                  <c:v>23.6</c:v>
                </c:pt>
                <c:pt idx="862">
                  <c:v>23.6</c:v>
                </c:pt>
                <c:pt idx="863">
                  <c:v>23.7</c:v>
                </c:pt>
                <c:pt idx="864">
                  <c:v>23.7</c:v>
                </c:pt>
                <c:pt idx="865">
                  <c:v>23.8</c:v>
                </c:pt>
                <c:pt idx="866">
                  <c:v>23.8</c:v>
                </c:pt>
                <c:pt idx="867">
                  <c:v>23.8</c:v>
                </c:pt>
                <c:pt idx="868">
                  <c:v>23.9</c:v>
                </c:pt>
                <c:pt idx="869">
                  <c:v>23.9</c:v>
                </c:pt>
                <c:pt idx="870">
                  <c:v>23.9</c:v>
                </c:pt>
                <c:pt idx="871">
                  <c:v>24</c:v>
                </c:pt>
                <c:pt idx="872">
                  <c:v>24</c:v>
                </c:pt>
                <c:pt idx="873">
                  <c:v>24</c:v>
                </c:pt>
                <c:pt idx="874">
                  <c:v>24.1</c:v>
                </c:pt>
                <c:pt idx="875">
                  <c:v>24.1</c:v>
                </c:pt>
                <c:pt idx="876">
                  <c:v>24.1</c:v>
                </c:pt>
                <c:pt idx="877">
                  <c:v>24.2</c:v>
                </c:pt>
                <c:pt idx="878">
                  <c:v>24.2</c:v>
                </c:pt>
                <c:pt idx="879">
                  <c:v>24.3</c:v>
                </c:pt>
                <c:pt idx="880">
                  <c:v>24.3</c:v>
                </c:pt>
                <c:pt idx="881">
                  <c:v>24.3</c:v>
                </c:pt>
                <c:pt idx="882">
                  <c:v>24.4</c:v>
                </c:pt>
                <c:pt idx="883">
                  <c:v>24.4</c:v>
                </c:pt>
                <c:pt idx="884">
                  <c:v>24.4</c:v>
                </c:pt>
                <c:pt idx="885">
                  <c:v>24.5</c:v>
                </c:pt>
                <c:pt idx="886">
                  <c:v>24.5</c:v>
                </c:pt>
                <c:pt idx="887">
                  <c:v>24.5</c:v>
                </c:pt>
                <c:pt idx="888">
                  <c:v>24.6</c:v>
                </c:pt>
                <c:pt idx="889">
                  <c:v>24.6</c:v>
                </c:pt>
                <c:pt idx="890">
                  <c:v>24.6</c:v>
                </c:pt>
                <c:pt idx="891">
                  <c:v>24.8</c:v>
                </c:pt>
                <c:pt idx="892">
                  <c:v>24.8</c:v>
                </c:pt>
                <c:pt idx="893">
                  <c:v>24.8</c:v>
                </c:pt>
                <c:pt idx="894">
                  <c:v>24.9</c:v>
                </c:pt>
                <c:pt idx="895">
                  <c:v>24.9</c:v>
                </c:pt>
                <c:pt idx="896">
                  <c:v>24.9</c:v>
                </c:pt>
                <c:pt idx="897">
                  <c:v>25</c:v>
                </c:pt>
                <c:pt idx="898">
                  <c:v>25</c:v>
                </c:pt>
                <c:pt idx="899">
                  <c:v>25</c:v>
                </c:pt>
                <c:pt idx="900">
                  <c:v>25.1</c:v>
                </c:pt>
                <c:pt idx="901">
                  <c:v>25.1</c:v>
                </c:pt>
                <c:pt idx="902">
                  <c:v>25.1</c:v>
                </c:pt>
                <c:pt idx="903">
                  <c:v>25.2</c:v>
                </c:pt>
                <c:pt idx="904">
                  <c:v>25.2</c:v>
                </c:pt>
                <c:pt idx="905">
                  <c:v>25.2</c:v>
                </c:pt>
                <c:pt idx="906">
                  <c:v>25.2</c:v>
                </c:pt>
                <c:pt idx="907">
                  <c:v>25.3</c:v>
                </c:pt>
                <c:pt idx="908">
                  <c:v>25.3</c:v>
                </c:pt>
                <c:pt idx="909">
                  <c:v>25.3</c:v>
                </c:pt>
                <c:pt idx="910">
                  <c:v>25.4</c:v>
                </c:pt>
                <c:pt idx="911">
                  <c:v>25.4</c:v>
                </c:pt>
                <c:pt idx="912">
                  <c:v>25.4</c:v>
                </c:pt>
                <c:pt idx="913">
                  <c:v>25.5</c:v>
                </c:pt>
                <c:pt idx="914">
                  <c:v>25.5</c:v>
                </c:pt>
                <c:pt idx="915">
                  <c:v>25.5</c:v>
                </c:pt>
                <c:pt idx="916">
                  <c:v>25.6</c:v>
                </c:pt>
                <c:pt idx="917">
                  <c:v>25.6</c:v>
                </c:pt>
                <c:pt idx="918">
                  <c:v>25.6</c:v>
                </c:pt>
                <c:pt idx="919">
                  <c:v>25.6</c:v>
                </c:pt>
                <c:pt idx="920">
                  <c:v>25.7</c:v>
                </c:pt>
                <c:pt idx="921">
                  <c:v>25.7</c:v>
                </c:pt>
                <c:pt idx="922">
                  <c:v>25.7</c:v>
                </c:pt>
                <c:pt idx="923">
                  <c:v>25.8</c:v>
                </c:pt>
                <c:pt idx="924">
                  <c:v>25.8</c:v>
                </c:pt>
                <c:pt idx="925">
                  <c:v>25.8</c:v>
                </c:pt>
                <c:pt idx="926">
                  <c:v>25.9</c:v>
                </c:pt>
                <c:pt idx="927">
                  <c:v>25.9</c:v>
                </c:pt>
                <c:pt idx="928">
                  <c:v>25.9</c:v>
                </c:pt>
                <c:pt idx="929">
                  <c:v>25.9</c:v>
                </c:pt>
                <c:pt idx="930">
                  <c:v>26</c:v>
                </c:pt>
                <c:pt idx="931">
                  <c:v>26</c:v>
                </c:pt>
                <c:pt idx="932">
                  <c:v>26</c:v>
                </c:pt>
                <c:pt idx="933">
                  <c:v>26</c:v>
                </c:pt>
                <c:pt idx="934">
                  <c:v>26.2</c:v>
                </c:pt>
                <c:pt idx="935">
                  <c:v>26.2</c:v>
                </c:pt>
                <c:pt idx="936">
                  <c:v>26.2</c:v>
                </c:pt>
                <c:pt idx="937">
                  <c:v>26.3</c:v>
                </c:pt>
                <c:pt idx="938">
                  <c:v>26.3</c:v>
                </c:pt>
                <c:pt idx="939">
                  <c:v>26.3</c:v>
                </c:pt>
                <c:pt idx="940">
                  <c:v>26.3</c:v>
                </c:pt>
                <c:pt idx="941">
                  <c:v>26.4</c:v>
                </c:pt>
                <c:pt idx="942">
                  <c:v>26.4</c:v>
                </c:pt>
                <c:pt idx="943">
                  <c:v>26.4</c:v>
                </c:pt>
                <c:pt idx="944">
                  <c:v>26.5</c:v>
                </c:pt>
                <c:pt idx="945">
                  <c:v>26.5</c:v>
                </c:pt>
                <c:pt idx="946">
                  <c:v>26.5</c:v>
                </c:pt>
                <c:pt idx="947">
                  <c:v>26.5</c:v>
                </c:pt>
                <c:pt idx="948">
                  <c:v>26.6</c:v>
                </c:pt>
                <c:pt idx="949">
                  <c:v>26.6</c:v>
                </c:pt>
                <c:pt idx="950">
                  <c:v>26.6</c:v>
                </c:pt>
                <c:pt idx="951">
                  <c:v>26.6</c:v>
                </c:pt>
                <c:pt idx="952">
                  <c:v>26.7</c:v>
                </c:pt>
                <c:pt idx="953">
                  <c:v>26.7</c:v>
                </c:pt>
                <c:pt idx="954">
                  <c:v>26.7</c:v>
                </c:pt>
                <c:pt idx="955">
                  <c:v>26.7</c:v>
                </c:pt>
                <c:pt idx="956">
                  <c:v>26.8</c:v>
                </c:pt>
                <c:pt idx="957">
                  <c:v>26.8</c:v>
                </c:pt>
                <c:pt idx="958">
                  <c:v>26.8</c:v>
                </c:pt>
                <c:pt idx="959">
                  <c:v>26.8</c:v>
                </c:pt>
                <c:pt idx="960">
                  <c:v>26.9</c:v>
                </c:pt>
                <c:pt idx="961">
                  <c:v>26.9</c:v>
                </c:pt>
                <c:pt idx="962">
                  <c:v>26.9</c:v>
                </c:pt>
                <c:pt idx="963">
                  <c:v>27</c:v>
                </c:pt>
                <c:pt idx="964">
                  <c:v>27</c:v>
                </c:pt>
                <c:pt idx="965">
                  <c:v>27</c:v>
                </c:pt>
                <c:pt idx="966">
                  <c:v>27</c:v>
                </c:pt>
                <c:pt idx="967">
                  <c:v>27</c:v>
                </c:pt>
                <c:pt idx="968">
                  <c:v>27.1</c:v>
                </c:pt>
                <c:pt idx="969">
                  <c:v>27.1</c:v>
                </c:pt>
                <c:pt idx="970">
                  <c:v>27.1</c:v>
                </c:pt>
                <c:pt idx="971">
                  <c:v>27.2</c:v>
                </c:pt>
                <c:pt idx="972">
                  <c:v>27.2</c:v>
                </c:pt>
                <c:pt idx="973">
                  <c:v>27.2</c:v>
                </c:pt>
                <c:pt idx="974">
                  <c:v>27.2</c:v>
                </c:pt>
                <c:pt idx="975">
                  <c:v>27.3</c:v>
                </c:pt>
                <c:pt idx="976">
                  <c:v>27.3</c:v>
                </c:pt>
                <c:pt idx="977">
                  <c:v>27.3</c:v>
                </c:pt>
                <c:pt idx="978">
                  <c:v>27.3</c:v>
                </c:pt>
                <c:pt idx="979">
                  <c:v>27.3</c:v>
                </c:pt>
                <c:pt idx="980">
                  <c:v>27.5</c:v>
                </c:pt>
                <c:pt idx="981">
                  <c:v>27.5</c:v>
                </c:pt>
                <c:pt idx="982">
                  <c:v>27.5</c:v>
                </c:pt>
                <c:pt idx="983">
                  <c:v>27.5</c:v>
                </c:pt>
                <c:pt idx="984">
                  <c:v>27.5</c:v>
                </c:pt>
                <c:pt idx="985">
                  <c:v>27.6</c:v>
                </c:pt>
                <c:pt idx="986">
                  <c:v>27.6</c:v>
                </c:pt>
                <c:pt idx="987">
                  <c:v>27.6</c:v>
                </c:pt>
                <c:pt idx="988">
                  <c:v>27.6</c:v>
                </c:pt>
                <c:pt idx="989">
                  <c:v>27.7</c:v>
                </c:pt>
                <c:pt idx="990">
                  <c:v>27.7</c:v>
                </c:pt>
                <c:pt idx="991">
                  <c:v>27.7</c:v>
                </c:pt>
                <c:pt idx="992">
                  <c:v>27.7</c:v>
                </c:pt>
                <c:pt idx="993">
                  <c:v>27.8</c:v>
                </c:pt>
                <c:pt idx="994">
                  <c:v>27.8</c:v>
                </c:pt>
                <c:pt idx="995">
                  <c:v>27.8</c:v>
                </c:pt>
                <c:pt idx="996">
                  <c:v>27.8</c:v>
                </c:pt>
                <c:pt idx="997">
                  <c:v>27.8</c:v>
                </c:pt>
                <c:pt idx="998">
                  <c:v>27.9</c:v>
                </c:pt>
                <c:pt idx="999">
                  <c:v>27.9</c:v>
                </c:pt>
                <c:pt idx="1000">
                  <c:v>27.9</c:v>
                </c:pt>
                <c:pt idx="1001">
                  <c:v>27.9</c:v>
                </c:pt>
                <c:pt idx="1002">
                  <c:v>28</c:v>
                </c:pt>
                <c:pt idx="1003">
                  <c:v>28</c:v>
                </c:pt>
                <c:pt idx="1004">
                  <c:v>28</c:v>
                </c:pt>
                <c:pt idx="1005">
                  <c:v>28</c:v>
                </c:pt>
                <c:pt idx="1006">
                  <c:v>28</c:v>
                </c:pt>
                <c:pt idx="1007">
                  <c:v>28.1</c:v>
                </c:pt>
                <c:pt idx="1008">
                  <c:v>28.1</c:v>
                </c:pt>
                <c:pt idx="1009">
                  <c:v>28.1</c:v>
                </c:pt>
                <c:pt idx="1010">
                  <c:v>28.1</c:v>
                </c:pt>
                <c:pt idx="1011">
                  <c:v>28.1</c:v>
                </c:pt>
                <c:pt idx="1012">
                  <c:v>28.2</c:v>
                </c:pt>
                <c:pt idx="1013">
                  <c:v>28.2</c:v>
                </c:pt>
                <c:pt idx="1014">
                  <c:v>28.2</c:v>
                </c:pt>
                <c:pt idx="1015">
                  <c:v>28.2</c:v>
                </c:pt>
                <c:pt idx="1016">
                  <c:v>28.2</c:v>
                </c:pt>
                <c:pt idx="1017">
                  <c:v>28.3</c:v>
                </c:pt>
                <c:pt idx="1018">
                  <c:v>28.3</c:v>
                </c:pt>
                <c:pt idx="1019">
                  <c:v>28.3</c:v>
                </c:pt>
                <c:pt idx="1020">
                  <c:v>28.3</c:v>
                </c:pt>
                <c:pt idx="1021">
                  <c:v>28.3</c:v>
                </c:pt>
                <c:pt idx="1022">
                  <c:v>28.4</c:v>
                </c:pt>
                <c:pt idx="1023">
                  <c:v>28.4</c:v>
                </c:pt>
                <c:pt idx="1024">
                  <c:v>28.4</c:v>
                </c:pt>
                <c:pt idx="1025">
                  <c:v>28.4</c:v>
                </c:pt>
                <c:pt idx="1026">
                  <c:v>28.4</c:v>
                </c:pt>
                <c:pt idx="1027">
                  <c:v>28.5</c:v>
                </c:pt>
                <c:pt idx="1028">
                  <c:v>28.6</c:v>
                </c:pt>
                <c:pt idx="1029">
                  <c:v>28.6</c:v>
                </c:pt>
                <c:pt idx="1030">
                  <c:v>28.6</c:v>
                </c:pt>
                <c:pt idx="1031">
                  <c:v>28.6</c:v>
                </c:pt>
                <c:pt idx="1032">
                  <c:v>28.6</c:v>
                </c:pt>
                <c:pt idx="1033">
                  <c:v>28.7</c:v>
                </c:pt>
                <c:pt idx="1034">
                  <c:v>28.7</c:v>
                </c:pt>
                <c:pt idx="1035">
                  <c:v>28.7</c:v>
                </c:pt>
                <c:pt idx="1036">
                  <c:v>28.7</c:v>
                </c:pt>
                <c:pt idx="1037">
                  <c:v>28.7</c:v>
                </c:pt>
                <c:pt idx="1038">
                  <c:v>28.8</c:v>
                </c:pt>
                <c:pt idx="1039">
                  <c:v>28.8</c:v>
                </c:pt>
                <c:pt idx="1040">
                  <c:v>28.8</c:v>
                </c:pt>
                <c:pt idx="1041">
                  <c:v>28.8</c:v>
                </c:pt>
                <c:pt idx="1042">
                  <c:v>28.8</c:v>
                </c:pt>
                <c:pt idx="1043">
                  <c:v>28.9</c:v>
                </c:pt>
                <c:pt idx="1044">
                  <c:v>28.9</c:v>
                </c:pt>
                <c:pt idx="1045">
                  <c:v>28.9</c:v>
                </c:pt>
                <c:pt idx="1046">
                  <c:v>28.9</c:v>
                </c:pt>
                <c:pt idx="1047">
                  <c:v>28.9</c:v>
                </c:pt>
                <c:pt idx="1048">
                  <c:v>28.9</c:v>
                </c:pt>
                <c:pt idx="1049">
                  <c:v>29</c:v>
                </c:pt>
                <c:pt idx="1050">
                  <c:v>29</c:v>
                </c:pt>
                <c:pt idx="1051">
                  <c:v>29</c:v>
                </c:pt>
                <c:pt idx="1052">
                  <c:v>29</c:v>
                </c:pt>
                <c:pt idx="1053">
                  <c:v>29</c:v>
                </c:pt>
                <c:pt idx="1054">
                  <c:v>29.1</c:v>
                </c:pt>
                <c:pt idx="1055">
                  <c:v>29.1</c:v>
                </c:pt>
                <c:pt idx="1056">
                  <c:v>29.1</c:v>
                </c:pt>
                <c:pt idx="1057">
                  <c:v>29.1</c:v>
                </c:pt>
                <c:pt idx="1058">
                  <c:v>29.1</c:v>
                </c:pt>
                <c:pt idx="1059">
                  <c:v>29.1</c:v>
                </c:pt>
                <c:pt idx="1060">
                  <c:v>29.2</c:v>
                </c:pt>
                <c:pt idx="1061">
                  <c:v>29.2</c:v>
                </c:pt>
                <c:pt idx="1062">
                  <c:v>29.2</c:v>
                </c:pt>
                <c:pt idx="1063">
                  <c:v>29.2</c:v>
                </c:pt>
                <c:pt idx="1064">
                  <c:v>29.2</c:v>
                </c:pt>
                <c:pt idx="1065">
                  <c:v>29.2</c:v>
                </c:pt>
                <c:pt idx="1066">
                  <c:v>29.3</c:v>
                </c:pt>
                <c:pt idx="1067">
                  <c:v>29.3</c:v>
                </c:pt>
                <c:pt idx="1068">
                  <c:v>29.3</c:v>
                </c:pt>
                <c:pt idx="1069">
                  <c:v>29.3</c:v>
                </c:pt>
                <c:pt idx="1070">
                  <c:v>29.3</c:v>
                </c:pt>
                <c:pt idx="1071">
                  <c:v>29.3</c:v>
                </c:pt>
                <c:pt idx="1072">
                  <c:v>29.4</c:v>
                </c:pt>
                <c:pt idx="1073">
                  <c:v>29.4</c:v>
                </c:pt>
                <c:pt idx="1074">
                  <c:v>29.4</c:v>
                </c:pt>
                <c:pt idx="1075">
                  <c:v>29.4</c:v>
                </c:pt>
                <c:pt idx="1076">
                  <c:v>29.4</c:v>
                </c:pt>
                <c:pt idx="1077">
                  <c:v>29.4</c:v>
                </c:pt>
                <c:pt idx="1078">
                  <c:v>29.5</c:v>
                </c:pt>
                <c:pt idx="1079">
                  <c:v>29.6</c:v>
                </c:pt>
                <c:pt idx="1080">
                  <c:v>29.6</c:v>
                </c:pt>
                <c:pt idx="1081">
                  <c:v>29.6</c:v>
                </c:pt>
                <c:pt idx="1082">
                  <c:v>29.6</c:v>
                </c:pt>
                <c:pt idx="1083">
                  <c:v>29.6</c:v>
                </c:pt>
                <c:pt idx="1084">
                  <c:v>29.6</c:v>
                </c:pt>
                <c:pt idx="1085">
                  <c:v>29.7</c:v>
                </c:pt>
                <c:pt idx="1086">
                  <c:v>29.7</c:v>
                </c:pt>
                <c:pt idx="1087">
                  <c:v>29.7</c:v>
                </c:pt>
                <c:pt idx="1088">
                  <c:v>29.7</c:v>
                </c:pt>
                <c:pt idx="1089">
                  <c:v>29.7</c:v>
                </c:pt>
                <c:pt idx="1090">
                  <c:v>29.7</c:v>
                </c:pt>
                <c:pt idx="1091">
                  <c:v>29.8</c:v>
                </c:pt>
                <c:pt idx="1092">
                  <c:v>29.8</c:v>
                </c:pt>
                <c:pt idx="1093">
                  <c:v>29.8</c:v>
                </c:pt>
                <c:pt idx="1094">
                  <c:v>29.8</c:v>
                </c:pt>
                <c:pt idx="1095">
                  <c:v>29.8</c:v>
                </c:pt>
                <c:pt idx="1096">
                  <c:v>29.8</c:v>
                </c:pt>
                <c:pt idx="1097">
                  <c:v>29.9</c:v>
                </c:pt>
                <c:pt idx="1098">
                  <c:v>29.9</c:v>
                </c:pt>
                <c:pt idx="1099">
                  <c:v>29.9</c:v>
                </c:pt>
                <c:pt idx="1100">
                  <c:v>29.9</c:v>
                </c:pt>
                <c:pt idx="1101">
                  <c:v>29.9</c:v>
                </c:pt>
                <c:pt idx="1102">
                  <c:v>29.9</c:v>
                </c:pt>
                <c:pt idx="1103">
                  <c:v>29.9</c:v>
                </c:pt>
                <c:pt idx="1104">
                  <c:v>30</c:v>
                </c:pt>
                <c:pt idx="1105">
                  <c:v>30</c:v>
                </c:pt>
                <c:pt idx="1106">
                  <c:v>30</c:v>
                </c:pt>
                <c:pt idx="1107">
                  <c:v>30</c:v>
                </c:pt>
                <c:pt idx="1108">
                  <c:v>30</c:v>
                </c:pt>
                <c:pt idx="1109">
                  <c:v>30</c:v>
                </c:pt>
                <c:pt idx="1110">
                  <c:v>30</c:v>
                </c:pt>
                <c:pt idx="1111">
                  <c:v>30.1</c:v>
                </c:pt>
                <c:pt idx="1112">
                  <c:v>30.1</c:v>
                </c:pt>
                <c:pt idx="1113">
                  <c:v>30.1</c:v>
                </c:pt>
                <c:pt idx="1114">
                  <c:v>30.1</c:v>
                </c:pt>
                <c:pt idx="1115">
                  <c:v>30.1</c:v>
                </c:pt>
                <c:pt idx="1116">
                  <c:v>30.1</c:v>
                </c:pt>
                <c:pt idx="1117">
                  <c:v>30.2</c:v>
                </c:pt>
                <c:pt idx="1118">
                  <c:v>30.2</c:v>
                </c:pt>
                <c:pt idx="1119">
                  <c:v>30.2</c:v>
                </c:pt>
                <c:pt idx="1120">
                  <c:v>30.2</c:v>
                </c:pt>
                <c:pt idx="1121">
                  <c:v>30.2</c:v>
                </c:pt>
                <c:pt idx="1122">
                  <c:v>30.2</c:v>
                </c:pt>
                <c:pt idx="1123">
                  <c:v>30.2</c:v>
                </c:pt>
                <c:pt idx="1124">
                  <c:v>30.3</c:v>
                </c:pt>
                <c:pt idx="1125">
                  <c:v>30.3</c:v>
                </c:pt>
                <c:pt idx="1126">
                  <c:v>30.3</c:v>
                </c:pt>
                <c:pt idx="1127">
                  <c:v>30.3</c:v>
                </c:pt>
                <c:pt idx="1128">
                  <c:v>30.3</c:v>
                </c:pt>
                <c:pt idx="1129">
                  <c:v>30.3</c:v>
                </c:pt>
                <c:pt idx="1130">
                  <c:v>30.3</c:v>
                </c:pt>
                <c:pt idx="1131">
                  <c:v>30.4</c:v>
                </c:pt>
                <c:pt idx="1132">
                  <c:v>30.4</c:v>
                </c:pt>
                <c:pt idx="1133">
                  <c:v>30.4</c:v>
                </c:pt>
                <c:pt idx="1134">
                  <c:v>30.4</c:v>
                </c:pt>
                <c:pt idx="1135">
                  <c:v>30.4</c:v>
                </c:pt>
                <c:pt idx="1136">
                  <c:v>30.4</c:v>
                </c:pt>
                <c:pt idx="1137">
                  <c:v>30.4</c:v>
                </c:pt>
                <c:pt idx="1138">
                  <c:v>30.4</c:v>
                </c:pt>
                <c:pt idx="1139">
                  <c:v>30.5</c:v>
                </c:pt>
                <c:pt idx="1140">
                  <c:v>30.6</c:v>
                </c:pt>
                <c:pt idx="1141">
                  <c:v>30.6</c:v>
                </c:pt>
                <c:pt idx="1142">
                  <c:v>30.6</c:v>
                </c:pt>
                <c:pt idx="1143">
                  <c:v>30.6</c:v>
                </c:pt>
                <c:pt idx="1144">
                  <c:v>30.6</c:v>
                </c:pt>
                <c:pt idx="1145">
                  <c:v>30.6</c:v>
                </c:pt>
                <c:pt idx="1146">
                  <c:v>30.6</c:v>
                </c:pt>
                <c:pt idx="1147">
                  <c:v>30.6</c:v>
                </c:pt>
                <c:pt idx="1148">
                  <c:v>30.7</c:v>
                </c:pt>
                <c:pt idx="1149">
                  <c:v>30.7</c:v>
                </c:pt>
                <c:pt idx="1150">
                  <c:v>30.7</c:v>
                </c:pt>
                <c:pt idx="1151">
                  <c:v>30.7</c:v>
                </c:pt>
                <c:pt idx="1152">
                  <c:v>30.7</c:v>
                </c:pt>
                <c:pt idx="1153">
                  <c:v>30.7</c:v>
                </c:pt>
                <c:pt idx="1154">
                  <c:v>30.7</c:v>
                </c:pt>
                <c:pt idx="1155">
                  <c:v>30.8</c:v>
                </c:pt>
                <c:pt idx="1156">
                  <c:v>30.8</c:v>
                </c:pt>
                <c:pt idx="1157">
                  <c:v>30.8</c:v>
                </c:pt>
                <c:pt idx="1158">
                  <c:v>30.8</c:v>
                </c:pt>
                <c:pt idx="1159">
                  <c:v>30.8</c:v>
                </c:pt>
                <c:pt idx="1160">
                  <c:v>30.8</c:v>
                </c:pt>
                <c:pt idx="1161">
                  <c:v>30.8</c:v>
                </c:pt>
                <c:pt idx="1162">
                  <c:v>30.8</c:v>
                </c:pt>
                <c:pt idx="1163">
                  <c:v>30.9</c:v>
                </c:pt>
                <c:pt idx="1164">
                  <c:v>30.9</c:v>
                </c:pt>
                <c:pt idx="1165">
                  <c:v>30.9</c:v>
                </c:pt>
                <c:pt idx="1166">
                  <c:v>30.9</c:v>
                </c:pt>
                <c:pt idx="1167">
                  <c:v>30.9</c:v>
                </c:pt>
                <c:pt idx="1168">
                  <c:v>30.9</c:v>
                </c:pt>
                <c:pt idx="1169">
                  <c:v>30.9</c:v>
                </c:pt>
                <c:pt idx="1170">
                  <c:v>30.9</c:v>
                </c:pt>
                <c:pt idx="1171">
                  <c:v>31</c:v>
                </c:pt>
                <c:pt idx="1172">
                  <c:v>31</c:v>
                </c:pt>
                <c:pt idx="1173">
                  <c:v>31</c:v>
                </c:pt>
                <c:pt idx="1174">
                  <c:v>31</c:v>
                </c:pt>
                <c:pt idx="1175">
                  <c:v>31</c:v>
                </c:pt>
                <c:pt idx="1176">
                  <c:v>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749-4B1D-949A-04EFD5785095}"/>
            </c:ext>
          </c:extLst>
        </c:ser>
        <c:ser>
          <c:idx val="2"/>
          <c:order val="2"/>
          <c:tx>
            <c:strRef>
              <c:f>データ!$H$3</c:f>
              <c:strCache>
                <c:ptCount val="1"/>
                <c:pt idx="0">
                  <c:v>周囲温度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データ!$C$4:$C$1180</c:f>
              <c:numCache>
                <c:formatCode>General</c:formatCode>
                <c:ptCount val="1177"/>
                <c:pt idx="0">
                  <c:v>0</c:v>
                </c:pt>
                <c:pt idx="1">
                  <c:v>8.3333333333333329E-2</c:v>
                </c:pt>
                <c:pt idx="2">
                  <c:v>0.16666666666666666</c:v>
                </c:pt>
                <c:pt idx="3">
                  <c:v>0.25</c:v>
                </c:pt>
                <c:pt idx="4">
                  <c:v>0.33333333333333331</c:v>
                </c:pt>
                <c:pt idx="5">
                  <c:v>0.41666666666666669</c:v>
                </c:pt>
                <c:pt idx="6">
                  <c:v>0.5</c:v>
                </c:pt>
                <c:pt idx="7">
                  <c:v>0.58333333333333337</c:v>
                </c:pt>
                <c:pt idx="8">
                  <c:v>0.66666666666666663</c:v>
                </c:pt>
                <c:pt idx="9">
                  <c:v>0.75</c:v>
                </c:pt>
                <c:pt idx="10">
                  <c:v>0.83333333333333337</c:v>
                </c:pt>
                <c:pt idx="11">
                  <c:v>0.91666666666666663</c:v>
                </c:pt>
                <c:pt idx="12">
                  <c:v>1</c:v>
                </c:pt>
                <c:pt idx="13">
                  <c:v>1.0833333333333333</c:v>
                </c:pt>
                <c:pt idx="14">
                  <c:v>1.1666666666666667</c:v>
                </c:pt>
                <c:pt idx="15">
                  <c:v>1.25</c:v>
                </c:pt>
                <c:pt idx="16">
                  <c:v>1.3333333333333333</c:v>
                </c:pt>
                <c:pt idx="17">
                  <c:v>1.4166666666666667</c:v>
                </c:pt>
                <c:pt idx="18">
                  <c:v>1.5</c:v>
                </c:pt>
                <c:pt idx="19">
                  <c:v>1.5833333333333333</c:v>
                </c:pt>
                <c:pt idx="20">
                  <c:v>1.6666666666666667</c:v>
                </c:pt>
                <c:pt idx="21">
                  <c:v>1.75</c:v>
                </c:pt>
                <c:pt idx="22">
                  <c:v>1.8333333333333333</c:v>
                </c:pt>
                <c:pt idx="23">
                  <c:v>1.9166666666666667</c:v>
                </c:pt>
                <c:pt idx="24">
                  <c:v>2</c:v>
                </c:pt>
                <c:pt idx="25">
                  <c:v>2.0833333333333335</c:v>
                </c:pt>
                <c:pt idx="26">
                  <c:v>2.1666666666666665</c:v>
                </c:pt>
                <c:pt idx="27">
                  <c:v>2.25</c:v>
                </c:pt>
                <c:pt idx="28">
                  <c:v>2.3333333333333335</c:v>
                </c:pt>
                <c:pt idx="29">
                  <c:v>2.4166666666666665</c:v>
                </c:pt>
                <c:pt idx="30">
                  <c:v>2.5</c:v>
                </c:pt>
                <c:pt idx="31">
                  <c:v>2.5833333333333335</c:v>
                </c:pt>
                <c:pt idx="32">
                  <c:v>2.6666666666666665</c:v>
                </c:pt>
                <c:pt idx="33">
                  <c:v>2.75</c:v>
                </c:pt>
                <c:pt idx="34">
                  <c:v>2.8333333333333335</c:v>
                </c:pt>
                <c:pt idx="35">
                  <c:v>2.9166666666666665</c:v>
                </c:pt>
                <c:pt idx="36">
                  <c:v>3</c:v>
                </c:pt>
                <c:pt idx="37">
                  <c:v>3.0833333333333335</c:v>
                </c:pt>
                <c:pt idx="38">
                  <c:v>3.1666666666666665</c:v>
                </c:pt>
                <c:pt idx="39">
                  <c:v>3.25</c:v>
                </c:pt>
                <c:pt idx="40">
                  <c:v>3.3333333333333335</c:v>
                </c:pt>
                <c:pt idx="41">
                  <c:v>3.4166666666666665</c:v>
                </c:pt>
                <c:pt idx="42">
                  <c:v>3.5</c:v>
                </c:pt>
                <c:pt idx="43">
                  <c:v>3.5833333333333335</c:v>
                </c:pt>
                <c:pt idx="44">
                  <c:v>3.6666666666666665</c:v>
                </c:pt>
                <c:pt idx="45">
                  <c:v>3.75</c:v>
                </c:pt>
                <c:pt idx="46">
                  <c:v>3.8333333333333335</c:v>
                </c:pt>
                <c:pt idx="47">
                  <c:v>3.9166666666666665</c:v>
                </c:pt>
                <c:pt idx="48">
                  <c:v>4</c:v>
                </c:pt>
                <c:pt idx="49">
                  <c:v>4.083333333333333</c:v>
                </c:pt>
                <c:pt idx="50">
                  <c:v>4.166666666666667</c:v>
                </c:pt>
                <c:pt idx="51">
                  <c:v>4.25</c:v>
                </c:pt>
                <c:pt idx="52">
                  <c:v>4.333333333333333</c:v>
                </c:pt>
                <c:pt idx="53">
                  <c:v>4.416666666666667</c:v>
                </c:pt>
                <c:pt idx="54">
                  <c:v>4.5</c:v>
                </c:pt>
                <c:pt idx="55">
                  <c:v>4.583333333333333</c:v>
                </c:pt>
                <c:pt idx="56">
                  <c:v>4.666666666666667</c:v>
                </c:pt>
                <c:pt idx="57">
                  <c:v>4.75</c:v>
                </c:pt>
                <c:pt idx="58">
                  <c:v>4.833333333333333</c:v>
                </c:pt>
                <c:pt idx="59">
                  <c:v>4.916666666666667</c:v>
                </c:pt>
                <c:pt idx="60">
                  <c:v>5</c:v>
                </c:pt>
                <c:pt idx="61">
                  <c:v>5.083333333333333</c:v>
                </c:pt>
                <c:pt idx="62">
                  <c:v>5.166666666666667</c:v>
                </c:pt>
                <c:pt idx="63">
                  <c:v>5.25</c:v>
                </c:pt>
                <c:pt idx="64">
                  <c:v>5.333333333333333</c:v>
                </c:pt>
                <c:pt idx="65">
                  <c:v>5.416666666666667</c:v>
                </c:pt>
                <c:pt idx="66">
                  <c:v>5.5</c:v>
                </c:pt>
                <c:pt idx="67">
                  <c:v>5.583333333333333</c:v>
                </c:pt>
                <c:pt idx="68">
                  <c:v>5.666666666666667</c:v>
                </c:pt>
                <c:pt idx="69">
                  <c:v>5.75</c:v>
                </c:pt>
                <c:pt idx="70">
                  <c:v>5.833333333333333</c:v>
                </c:pt>
                <c:pt idx="71">
                  <c:v>5.916666666666667</c:v>
                </c:pt>
                <c:pt idx="72">
                  <c:v>6</c:v>
                </c:pt>
                <c:pt idx="73">
                  <c:v>6.083333333333333</c:v>
                </c:pt>
                <c:pt idx="74">
                  <c:v>6.166666666666667</c:v>
                </c:pt>
                <c:pt idx="75">
                  <c:v>6.25</c:v>
                </c:pt>
                <c:pt idx="76">
                  <c:v>6.333333333333333</c:v>
                </c:pt>
                <c:pt idx="77">
                  <c:v>6.416666666666667</c:v>
                </c:pt>
                <c:pt idx="78">
                  <c:v>6.5</c:v>
                </c:pt>
                <c:pt idx="79">
                  <c:v>6.583333333333333</c:v>
                </c:pt>
                <c:pt idx="80">
                  <c:v>6.666666666666667</c:v>
                </c:pt>
                <c:pt idx="81">
                  <c:v>6.75</c:v>
                </c:pt>
                <c:pt idx="82">
                  <c:v>6.833333333333333</c:v>
                </c:pt>
                <c:pt idx="83">
                  <c:v>6.916666666666667</c:v>
                </c:pt>
                <c:pt idx="84">
                  <c:v>7</c:v>
                </c:pt>
                <c:pt idx="85">
                  <c:v>7.083333333333333</c:v>
                </c:pt>
                <c:pt idx="86">
                  <c:v>7.166666666666667</c:v>
                </c:pt>
                <c:pt idx="87">
                  <c:v>7.25</c:v>
                </c:pt>
                <c:pt idx="88">
                  <c:v>7.333333333333333</c:v>
                </c:pt>
                <c:pt idx="89">
                  <c:v>7.416666666666667</c:v>
                </c:pt>
                <c:pt idx="90">
                  <c:v>7.5</c:v>
                </c:pt>
                <c:pt idx="91">
                  <c:v>7.583333333333333</c:v>
                </c:pt>
                <c:pt idx="92">
                  <c:v>7.666666666666667</c:v>
                </c:pt>
                <c:pt idx="93">
                  <c:v>7.75</c:v>
                </c:pt>
                <c:pt idx="94">
                  <c:v>7.833333333333333</c:v>
                </c:pt>
                <c:pt idx="95">
                  <c:v>7.916666666666667</c:v>
                </c:pt>
                <c:pt idx="96">
                  <c:v>8</c:v>
                </c:pt>
                <c:pt idx="97">
                  <c:v>8.0833333333333339</c:v>
                </c:pt>
                <c:pt idx="98">
                  <c:v>8.1666666666666661</c:v>
                </c:pt>
                <c:pt idx="99">
                  <c:v>8.25</c:v>
                </c:pt>
                <c:pt idx="100">
                  <c:v>8.3333333333333339</c:v>
                </c:pt>
                <c:pt idx="101">
                  <c:v>8.4166666666666661</c:v>
                </c:pt>
                <c:pt idx="102">
                  <c:v>8.5</c:v>
                </c:pt>
                <c:pt idx="103">
                  <c:v>8.5833333333333339</c:v>
                </c:pt>
                <c:pt idx="104">
                  <c:v>8.6666666666666661</c:v>
                </c:pt>
                <c:pt idx="105">
                  <c:v>8.75</c:v>
                </c:pt>
                <c:pt idx="106">
                  <c:v>8.8333333333333339</c:v>
                </c:pt>
                <c:pt idx="107">
                  <c:v>8.9166666666666661</c:v>
                </c:pt>
                <c:pt idx="108">
                  <c:v>9</c:v>
                </c:pt>
                <c:pt idx="109">
                  <c:v>9.0833333333333339</c:v>
                </c:pt>
                <c:pt idx="110">
                  <c:v>9.1666666666666661</c:v>
                </c:pt>
                <c:pt idx="111">
                  <c:v>9.25</c:v>
                </c:pt>
                <c:pt idx="112">
                  <c:v>9.3333333333333339</c:v>
                </c:pt>
                <c:pt idx="113">
                  <c:v>9.4166666666666661</c:v>
                </c:pt>
                <c:pt idx="114">
                  <c:v>9.5</c:v>
                </c:pt>
                <c:pt idx="115">
                  <c:v>9.5833333333333339</c:v>
                </c:pt>
                <c:pt idx="116">
                  <c:v>9.6666666666666661</c:v>
                </c:pt>
                <c:pt idx="117">
                  <c:v>9.75</c:v>
                </c:pt>
                <c:pt idx="118">
                  <c:v>9.8333333333333339</c:v>
                </c:pt>
                <c:pt idx="119">
                  <c:v>9.9166666666666661</c:v>
                </c:pt>
                <c:pt idx="120">
                  <c:v>10</c:v>
                </c:pt>
                <c:pt idx="121">
                  <c:v>10.083333333333334</c:v>
                </c:pt>
                <c:pt idx="122">
                  <c:v>10.166666666666666</c:v>
                </c:pt>
                <c:pt idx="123">
                  <c:v>10.25</c:v>
                </c:pt>
                <c:pt idx="124">
                  <c:v>10.333333333333334</c:v>
                </c:pt>
                <c:pt idx="125">
                  <c:v>10.416666666666666</c:v>
                </c:pt>
                <c:pt idx="126">
                  <c:v>10.5</c:v>
                </c:pt>
                <c:pt idx="127">
                  <c:v>10.583333333333334</c:v>
                </c:pt>
                <c:pt idx="128">
                  <c:v>10.666666666666666</c:v>
                </c:pt>
                <c:pt idx="129">
                  <c:v>10.75</c:v>
                </c:pt>
                <c:pt idx="130">
                  <c:v>10.833333333333334</c:v>
                </c:pt>
                <c:pt idx="131">
                  <c:v>10.916666666666666</c:v>
                </c:pt>
                <c:pt idx="132">
                  <c:v>11</c:v>
                </c:pt>
                <c:pt idx="133">
                  <c:v>11.083333333333334</c:v>
                </c:pt>
                <c:pt idx="134">
                  <c:v>11.166666666666666</c:v>
                </c:pt>
                <c:pt idx="135">
                  <c:v>11.25</c:v>
                </c:pt>
                <c:pt idx="136">
                  <c:v>11.333333333333334</c:v>
                </c:pt>
                <c:pt idx="137">
                  <c:v>11.416666666666666</c:v>
                </c:pt>
                <c:pt idx="138">
                  <c:v>11.5</c:v>
                </c:pt>
                <c:pt idx="139">
                  <c:v>11.583333333333334</c:v>
                </c:pt>
                <c:pt idx="140">
                  <c:v>11.666666666666666</c:v>
                </c:pt>
                <c:pt idx="141">
                  <c:v>11.75</c:v>
                </c:pt>
                <c:pt idx="142">
                  <c:v>11.833333333333334</c:v>
                </c:pt>
                <c:pt idx="143">
                  <c:v>11.916666666666666</c:v>
                </c:pt>
                <c:pt idx="144">
                  <c:v>12</c:v>
                </c:pt>
                <c:pt idx="145">
                  <c:v>12.083333333333334</c:v>
                </c:pt>
                <c:pt idx="146">
                  <c:v>12.166666666666666</c:v>
                </c:pt>
                <c:pt idx="147">
                  <c:v>12.25</c:v>
                </c:pt>
                <c:pt idx="148">
                  <c:v>12.333333333333334</c:v>
                </c:pt>
                <c:pt idx="149">
                  <c:v>12.416666666666666</c:v>
                </c:pt>
                <c:pt idx="150">
                  <c:v>12.5</c:v>
                </c:pt>
                <c:pt idx="151">
                  <c:v>12.583333333333334</c:v>
                </c:pt>
                <c:pt idx="152">
                  <c:v>12.666666666666666</c:v>
                </c:pt>
                <c:pt idx="153">
                  <c:v>12.75</c:v>
                </c:pt>
                <c:pt idx="154">
                  <c:v>12.833333333333334</c:v>
                </c:pt>
                <c:pt idx="155">
                  <c:v>12.916666666666666</c:v>
                </c:pt>
                <c:pt idx="156">
                  <c:v>13</c:v>
                </c:pt>
                <c:pt idx="157">
                  <c:v>13.083333333333334</c:v>
                </c:pt>
                <c:pt idx="158">
                  <c:v>13.166666666666666</c:v>
                </c:pt>
                <c:pt idx="159">
                  <c:v>13.25</c:v>
                </c:pt>
                <c:pt idx="160">
                  <c:v>13.333333333333334</c:v>
                </c:pt>
                <c:pt idx="161">
                  <c:v>13.416666666666666</c:v>
                </c:pt>
                <c:pt idx="162">
                  <c:v>13.5</c:v>
                </c:pt>
                <c:pt idx="163">
                  <c:v>13.583333333333334</c:v>
                </c:pt>
                <c:pt idx="164">
                  <c:v>13.666666666666666</c:v>
                </c:pt>
                <c:pt idx="165">
                  <c:v>13.75</c:v>
                </c:pt>
                <c:pt idx="166">
                  <c:v>13.833333333333334</c:v>
                </c:pt>
                <c:pt idx="167">
                  <c:v>13.916666666666666</c:v>
                </c:pt>
                <c:pt idx="168">
                  <c:v>14</c:v>
                </c:pt>
                <c:pt idx="169">
                  <c:v>14.083333333333334</c:v>
                </c:pt>
                <c:pt idx="170">
                  <c:v>14.166666666666666</c:v>
                </c:pt>
                <c:pt idx="171">
                  <c:v>14.25</c:v>
                </c:pt>
                <c:pt idx="172">
                  <c:v>14.333333333333334</c:v>
                </c:pt>
                <c:pt idx="173">
                  <c:v>14.416666666666666</c:v>
                </c:pt>
                <c:pt idx="174">
                  <c:v>14.5</c:v>
                </c:pt>
                <c:pt idx="175">
                  <c:v>14.583333333333334</c:v>
                </c:pt>
                <c:pt idx="176">
                  <c:v>14.666666666666666</c:v>
                </c:pt>
                <c:pt idx="177">
                  <c:v>14.75</c:v>
                </c:pt>
                <c:pt idx="178">
                  <c:v>14.833333333333334</c:v>
                </c:pt>
                <c:pt idx="179">
                  <c:v>14.916666666666666</c:v>
                </c:pt>
                <c:pt idx="180">
                  <c:v>15</c:v>
                </c:pt>
                <c:pt idx="181">
                  <c:v>15.083333333333334</c:v>
                </c:pt>
                <c:pt idx="182">
                  <c:v>15.166666666666666</c:v>
                </c:pt>
                <c:pt idx="183">
                  <c:v>15.25</c:v>
                </c:pt>
                <c:pt idx="184">
                  <c:v>15.333333333333334</c:v>
                </c:pt>
                <c:pt idx="185">
                  <c:v>15.416666666666666</c:v>
                </c:pt>
                <c:pt idx="186">
                  <c:v>15.5</c:v>
                </c:pt>
                <c:pt idx="187">
                  <c:v>15.583333333333334</c:v>
                </c:pt>
                <c:pt idx="188">
                  <c:v>15.666666666666666</c:v>
                </c:pt>
                <c:pt idx="189">
                  <c:v>15.75</c:v>
                </c:pt>
                <c:pt idx="190">
                  <c:v>15.833333333333334</c:v>
                </c:pt>
                <c:pt idx="191">
                  <c:v>15.916666666666666</c:v>
                </c:pt>
                <c:pt idx="192">
                  <c:v>16</c:v>
                </c:pt>
                <c:pt idx="193">
                  <c:v>16.083333333333332</c:v>
                </c:pt>
                <c:pt idx="194">
                  <c:v>16.166666666666668</c:v>
                </c:pt>
                <c:pt idx="195">
                  <c:v>16.25</c:v>
                </c:pt>
                <c:pt idx="196">
                  <c:v>16.333333333333332</c:v>
                </c:pt>
                <c:pt idx="197">
                  <c:v>16.416666666666668</c:v>
                </c:pt>
                <c:pt idx="198">
                  <c:v>16.5</c:v>
                </c:pt>
                <c:pt idx="199">
                  <c:v>16.583333333333332</c:v>
                </c:pt>
                <c:pt idx="200">
                  <c:v>16.666666666666668</c:v>
                </c:pt>
                <c:pt idx="201">
                  <c:v>16.75</c:v>
                </c:pt>
                <c:pt idx="202">
                  <c:v>16.833333333333332</c:v>
                </c:pt>
                <c:pt idx="203">
                  <c:v>16.916666666666668</c:v>
                </c:pt>
                <c:pt idx="204">
                  <c:v>17</c:v>
                </c:pt>
                <c:pt idx="205">
                  <c:v>17.083333333333332</c:v>
                </c:pt>
                <c:pt idx="206">
                  <c:v>17.166666666666668</c:v>
                </c:pt>
                <c:pt idx="207">
                  <c:v>17.25</c:v>
                </c:pt>
                <c:pt idx="208">
                  <c:v>17.333333333333332</c:v>
                </c:pt>
                <c:pt idx="209">
                  <c:v>17.416666666666668</c:v>
                </c:pt>
                <c:pt idx="210">
                  <c:v>17.5</c:v>
                </c:pt>
                <c:pt idx="211">
                  <c:v>17.583333333333332</c:v>
                </c:pt>
                <c:pt idx="212">
                  <c:v>17.666666666666668</c:v>
                </c:pt>
                <c:pt idx="213">
                  <c:v>17.75</c:v>
                </c:pt>
                <c:pt idx="214">
                  <c:v>17.833333333333332</c:v>
                </c:pt>
                <c:pt idx="215">
                  <c:v>17.916666666666668</c:v>
                </c:pt>
                <c:pt idx="216">
                  <c:v>18</c:v>
                </c:pt>
                <c:pt idx="217">
                  <c:v>18.083333333333332</c:v>
                </c:pt>
                <c:pt idx="218">
                  <c:v>18.166666666666668</c:v>
                </c:pt>
                <c:pt idx="219">
                  <c:v>18.25</c:v>
                </c:pt>
                <c:pt idx="220">
                  <c:v>18.333333333333332</c:v>
                </c:pt>
                <c:pt idx="221">
                  <c:v>18.416666666666668</c:v>
                </c:pt>
                <c:pt idx="222">
                  <c:v>18.5</c:v>
                </c:pt>
                <c:pt idx="223">
                  <c:v>18.583333333333332</c:v>
                </c:pt>
                <c:pt idx="224">
                  <c:v>18.666666666666668</c:v>
                </c:pt>
                <c:pt idx="225">
                  <c:v>18.75</c:v>
                </c:pt>
                <c:pt idx="226">
                  <c:v>18.833333333333332</c:v>
                </c:pt>
                <c:pt idx="227">
                  <c:v>18.916666666666668</c:v>
                </c:pt>
                <c:pt idx="228">
                  <c:v>19</c:v>
                </c:pt>
                <c:pt idx="229">
                  <c:v>19.083333333333332</c:v>
                </c:pt>
                <c:pt idx="230">
                  <c:v>19.166666666666668</c:v>
                </c:pt>
                <c:pt idx="231">
                  <c:v>19.25</c:v>
                </c:pt>
                <c:pt idx="232">
                  <c:v>19.333333333333332</c:v>
                </c:pt>
                <c:pt idx="233">
                  <c:v>19.416666666666668</c:v>
                </c:pt>
                <c:pt idx="234">
                  <c:v>19.5</c:v>
                </c:pt>
                <c:pt idx="235">
                  <c:v>19.583333333333332</c:v>
                </c:pt>
                <c:pt idx="236">
                  <c:v>19.666666666666668</c:v>
                </c:pt>
                <c:pt idx="237">
                  <c:v>19.75</c:v>
                </c:pt>
                <c:pt idx="238">
                  <c:v>19.833333333333332</c:v>
                </c:pt>
                <c:pt idx="239">
                  <c:v>19.916666666666668</c:v>
                </c:pt>
                <c:pt idx="240">
                  <c:v>20</c:v>
                </c:pt>
                <c:pt idx="241">
                  <c:v>20.083333333333332</c:v>
                </c:pt>
                <c:pt idx="242">
                  <c:v>20.166666666666668</c:v>
                </c:pt>
                <c:pt idx="243">
                  <c:v>20.25</c:v>
                </c:pt>
                <c:pt idx="244">
                  <c:v>20.333333333333332</c:v>
                </c:pt>
                <c:pt idx="245">
                  <c:v>20.416666666666668</c:v>
                </c:pt>
                <c:pt idx="246">
                  <c:v>20.5</c:v>
                </c:pt>
                <c:pt idx="247">
                  <c:v>20.583333333333332</c:v>
                </c:pt>
                <c:pt idx="248">
                  <c:v>20.666666666666668</c:v>
                </c:pt>
                <c:pt idx="249">
                  <c:v>20.75</c:v>
                </c:pt>
                <c:pt idx="250">
                  <c:v>20.833333333333332</c:v>
                </c:pt>
                <c:pt idx="251">
                  <c:v>20.916666666666668</c:v>
                </c:pt>
                <c:pt idx="252">
                  <c:v>21</c:v>
                </c:pt>
                <c:pt idx="253">
                  <c:v>21.083333333333332</c:v>
                </c:pt>
                <c:pt idx="254">
                  <c:v>21.166666666666668</c:v>
                </c:pt>
                <c:pt idx="255">
                  <c:v>21.25</c:v>
                </c:pt>
                <c:pt idx="256">
                  <c:v>21.333333333333332</c:v>
                </c:pt>
                <c:pt idx="257">
                  <c:v>21.416666666666668</c:v>
                </c:pt>
                <c:pt idx="258">
                  <c:v>21.5</c:v>
                </c:pt>
                <c:pt idx="259">
                  <c:v>21.583333333333332</c:v>
                </c:pt>
                <c:pt idx="260">
                  <c:v>21.666666666666668</c:v>
                </c:pt>
                <c:pt idx="261">
                  <c:v>21.75</c:v>
                </c:pt>
                <c:pt idx="262">
                  <c:v>21.833333333333332</c:v>
                </c:pt>
                <c:pt idx="263">
                  <c:v>21.916666666666668</c:v>
                </c:pt>
                <c:pt idx="264">
                  <c:v>22</c:v>
                </c:pt>
                <c:pt idx="265">
                  <c:v>22.083333333333332</c:v>
                </c:pt>
                <c:pt idx="266">
                  <c:v>22.166666666666668</c:v>
                </c:pt>
                <c:pt idx="267">
                  <c:v>22.25</c:v>
                </c:pt>
                <c:pt idx="268">
                  <c:v>22.333333333333332</c:v>
                </c:pt>
                <c:pt idx="269">
                  <c:v>22.416666666666668</c:v>
                </c:pt>
                <c:pt idx="270">
                  <c:v>22.5</c:v>
                </c:pt>
                <c:pt idx="271">
                  <c:v>22.583333333333332</c:v>
                </c:pt>
                <c:pt idx="272">
                  <c:v>22.666666666666668</c:v>
                </c:pt>
                <c:pt idx="273">
                  <c:v>22.75</c:v>
                </c:pt>
                <c:pt idx="274">
                  <c:v>22.833333333333332</c:v>
                </c:pt>
                <c:pt idx="275">
                  <c:v>22.916666666666668</c:v>
                </c:pt>
                <c:pt idx="276">
                  <c:v>23</c:v>
                </c:pt>
                <c:pt idx="277">
                  <c:v>23.083333333333332</c:v>
                </c:pt>
                <c:pt idx="278">
                  <c:v>23.166666666666668</c:v>
                </c:pt>
                <c:pt idx="279">
                  <c:v>23.25</c:v>
                </c:pt>
                <c:pt idx="280">
                  <c:v>23.333333333333332</c:v>
                </c:pt>
                <c:pt idx="281">
                  <c:v>23.416666666666668</c:v>
                </c:pt>
                <c:pt idx="282">
                  <c:v>23.5</c:v>
                </c:pt>
                <c:pt idx="283">
                  <c:v>23.583333333333332</c:v>
                </c:pt>
                <c:pt idx="284">
                  <c:v>23.666666666666668</c:v>
                </c:pt>
                <c:pt idx="285">
                  <c:v>23.75</c:v>
                </c:pt>
                <c:pt idx="286">
                  <c:v>23.833333333333332</c:v>
                </c:pt>
                <c:pt idx="287">
                  <c:v>23.916666666666668</c:v>
                </c:pt>
                <c:pt idx="288">
                  <c:v>24</c:v>
                </c:pt>
                <c:pt idx="289">
                  <c:v>24.083333333333332</c:v>
                </c:pt>
                <c:pt idx="290">
                  <c:v>24.166666666666668</c:v>
                </c:pt>
                <c:pt idx="291">
                  <c:v>24.25</c:v>
                </c:pt>
                <c:pt idx="292">
                  <c:v>24.333333333333332</c:v>
                </c:pt>
                <c:pt idx="293">
                  <c:v>24.416666666666668</c:v>
                </c:pt>
                <c:pt idx="294">
                  <c:v>24.5</c:v>
                </c:pt>
                <c:pt idx="295">
                  <c:v>24.583333333333332</c:v>
                </c:pt>
                <c:pt idx="296">
                  <c:v>24.666666666666668</c:v>
                </c:pt>
                <c:pt idx="297">
                  <c:v>24.75</c:v>
                </c:pt>
                <c:pt idx="298">
                  <c:v>24.833333333333332</c:v>
                </c:pt>
                <c:pt idx="299">
                  <c:v>24.916666666666668</c:v>
                </c:pt>
                <c:pt idx="300">
                  <c:v>25</c:v>
                </c:pt>
                <c:pt idx="301">
                  <c:v>25.083333333333332</c:v>
                </c:pt>
                <c:pt idx="302">
                  <c:v>25.166666666666668</c:v>
                </c:pt>
                <c:pt idx="303">
                  <c:v>25.25</c:v>
                </c:pt>
                <c:pt idx="304">
                  <c:v>25.333333333333332</c:v>
                </c:pt>
                <c:pt idx="305">
                  <c:v>25.416666666666668</c:v>
                </c:pt>
                <c:pt idx="306">
                  <c:v>25.5</c:v>
                </c:pt>
                <c:pt idx="307">
                  <c:v>25.583333333333332</c:v>
                </c:pt>
                <c:pt idx="308">
                  <c:v>25.666666666666668</c:v>
                </c:pt>
                <c:pt idx="309">
                  <c:v>25.75</c:v>
                </c:pt>
                <c:pt idx="310">
                  <c:v>25.833333333333332</c:v>
                </c:pt>
                <c:pt idx="311">
                  <c:v>25.916666666666668</c:v>
                </c:pt>
                <c:pt idx="312">
                  <c:v>26</c:v>
                </c:pt>
                <c:pt idx="313">
                  <c:v>26.083333333333332</c:v>
                </c:pt>
                <c:pt idx="314">
                  <c:v>26.166666666666668</c:v>
                </c:pt>
                <c:pt idx="315">
                  <c:v>26.25</c:v>
                </c:pt>
                <c:pt idx="316">
                  <c:v>26.333333333333332</c:v>
                </c:pt>
                <c:pt idx="317">
                  <c:v>26.416666666666668</c:v>
                </c:pt>
                <c:pt idx="318">
                  <c:v>26.5</c:v>
                </c:pt>
                <c:pt idx="319">
                  <c:v>26.583333333333332</c:v>
                </c:pt>
                <c:pt idx="320">
                  <c:v>26.666666666666668</c:v>
                </c:pt>
                <c:pt idx="321">
                  <c:v>26.75</c:v>
                </c:pt>
                <c:pt idx="322">
                  <c:v>26.833333333333332</c:v>
                </c:pt>
                <c:pt idx="323">
                  <c:v>26.916666666666668</c:v>
                </c:pt>
                <c:pt idx="324">
                  <c:v>27</c:v>
                </c:pt>
                <c:pt idx="325">
                  <c:v>27.083333333333332</c:v>
                </c:pt>
                <c:pt idx="326">
                  <c:v>27.166666666666668</c:v>
                </c:pt>
                <c:pt idx="327">
                  <c:v>27.25</c:v>
                </c:pt>
                <c:pt idx="328">
                  <c:v>27.333333333333332</c:v>
                </c:pt>
                <c:pt idx="329">
                  <c:v>27.416666666666668</c:v>
                </c:pt>
                <c:pt idx="330">
                  <c:v>27.5</c:v>
                </c:pt>
                <c:pt idx="331">
                  <c:v>27.583333333333332</c:v>
                </c:pt>
                <c:pt idx="332">
                  <c:v>27.666666666666668</c:v>
                </c:pt>
                <c:pt idx="333">
                  <c:v>27.75</c:v>
                </c:pt>
                <c:pt idx="334">
                  <c:v>27.833333333333332</c:v>
                </c:pt>
                <c:pt idx="335">
                  <c:v>27.916666666666668</c:v>
                </c:pt>
                <c:pt idx="336">
                  <c:v>28</c:v>
                </c:pt>
                <c:pt idx="337">
                  <c:v>28.083333333333332</c:v>
                </c:pt>
                <c:pt idx="338">
                  <c:v>28.166666666666668</c:v>
                </c:pt>
                <c:pt idx="339">
                  <c:v>28.25</c:v>
                </c:pt>
                <c:pt idx="340">
                  <c:v>28.333333333333332</c:v>
                </c:pt>
                <c:pt idx="341">
                  <c:v>28.416666666666668</c:v>
                </c:pt>
                <c:pt idx="342">
                  <c:v>28.5</c:v>
                </c:pt>
                <c:pt idx="343">
                  <c:v>28.583333333333332</c:v>
                </c:pt>
                <c:pt idx="344">
                  <c:v>28.666666666666668</c:v>
                </c:pt>
                <c:pt idx="345">
                  <c:v>28.75</c:v>
                </c:pt>
                <c:pt idx="346">
                  <c:v>28.833333333333332</c:v>
                </c:pt>
                <c:pt idx="347">
                  <c:v>28.916666666666668</c:v>
                </c:pt>
                <c:pt idx="348">
                  <c:v>29</c:v>
                </c:pt>
                <c:pt idx="349">
                  <c:v>29.083333333333332</c:v>
                </c:pt>
                <c:pt idx="350">
                  <c:v>29.166666666666668</c:v>
                </c:pt>
                <c:pt idx="351">
                  <c:v>29.25</c:v>
                </c:pt>
                <c:pt idx="352">
                  <c:v>29.333333333333332</c:v>
                </c:pt>
                <c:pt idx="353">
                  <c:v>29.416666666666668</c:v>
                </c:pt>
                <c:pt idx="354">
                  <c:v>29.5</c:v>
                </c:pt>
                <c:pt idx="355">
                  <c:v>29.583333333333332</c:v>
                </c:pt>
                <c:pt idx="356">
                  <c:v>29.666666666666668</c:v>
                </c:pt>
                <c:pt idx="357">
                  <c:v>29.75</c:v>
                </c:pt>
                <c:pt idx="358">
                  <c:v>29.833333333333332</c:v>
                </c:pt>
                <c:pt idx="359">
                  <c:v>29.916666666666668</c:v>
                </c:pt>
                <c:pt idx="360">
                  <c:v>30</c:v>
                </c:pt>
                <c:pt idx="361">
                  <c:v>30.083333333333332</c:v>
                </c:pt>
                <c:pt idx="362">
                  <c:v>30.166666666666668</c:v>
                </c:pt>
                <c:pt idx="363">
                  <c:v>30.25</c:v>
                </c:pt>
                <c:pt idx="364">
                  <c:v>30.333333333333332</c:v>
                </c:pt>
                <c:pt idx="365">
                  <c:v>30.416666666666668</c:v>
                </c:pt>
                <c:pt idx="366">
                  <c:v>30.5</c:v>
                </c:pt>
                <c:pt idx="367">
                  <c:v>30.583333333333332</c:v>
                </c:pt>
                <c:pt idx="368">
                  <c:v>30.666666666666668</c:v>
                </c:pt>
                <c:pt idx="369">
                  <c:v>30.75</c:v>
                </c:pt>
                <c:pt idx="370">
                  <c:v>30.833333333333332</c:v>
                </c:pt>
                <c:pt idx="371">
                  <c:v>30.916666666666668</c:v>
                </c:pt>
                <c:pt idx="372">
                  <c:v>31</c:v>
                </c:pt>
                <c:pt idx="373">
                  <c:v>31.083333333333332</c:v>
                </c:pt>
                <c:pt idx="374">
                  <c:v>31.166666666666668</c:v>
                </c:pt>
                <c:pt idx="375">
                  <c:v>31.25</c:v>
                </c:pt>
                <c:pt idx="376">
                  <c:v>31.333333333333332</c:v>
                </c:pt>
                <c:pt idx="377">
                  <c:v>31.416666666666668</c:v>
                </c:pt>
                <c:pt idx="378">
                  <c:v>31.5</c:v>
                </c:pt>
                <c:pt idx="379">
                  <c:v>31.583333333333332</c:v>
                </c:pt>
                <c:pt idx="380">
                  <c:v>31.666666666666668</c:v>
                </c:pt>
                <c:pt idx="381">
                  <c:v>31.75</c:v>
                </c:pt>
                <c:pt idx="382">
                  <c:v>31.833333333333332</c:v>
                </c:pt>
                <c:pt idx="383">
                  <c:v>31.916666666666668</c:v>
                </c:pt>
                <c:pt idx="384">
                  <c:v>32</c:v>
                </c:pt>
                <c:pt idx="385">
                  <c:v>32.083333333333336</c:v>
                </c:pt>
                <c:pt idx="386">
                  <c:v>32.166666666666664</c:v>
                </c:pt>
                <c:pt idx="387">
                  <c:v>32.25</c:v>
                </c:pt>
                <c:pt idx="388">
                  <c:v>32.333333333333336</c:v>
                </c:pt>
                <c:pt idx="389">
                  <c:v>32.416666666666664</c:v>
                </c:pt>
                <c:pt idx="390">
                  <c:v>32.5</c:v>
                </c:pt>
                <c:pt idx="391">
                  <c:v>32.583333333333336</c:v>
                </c:pt>
                <c:pt idx="392">
                  <c:v>32.666666666666664</c:v>
                </c:pt>
                <c:pt idx="393">
                  <c:v>32.75</c:v>
                </c:pt>
                <c:pt idx="394">
                  <c:v>32.833333333333336</c:v>
                </c:pt>
                <c:pt idx="395">
                  <c:v>32.916666666666664</c:v>
                </c:pt>
                <c:pt idx="396">
                  <c:v>33</c:v>
                </c:pt>
                <c:pt idx="397">
                  <c:v>33.083333333333336</c:v>
                </c:pt>
                <c:pt idx="398">
                  <c:v>33.166666666666664</c:v>
                </c:pt>
                <c:pt idx="399">
                  <c:v>33.25</c:v>
                </c:pt>
                <c:pt idx="400">
                  <c:v>33.333333333333336</c:v>
                </c:pt>
                <c:pt idx="401">
                  <c:v>33.416666666666664</c:v>
                </c:pt>
                <c:pt idx="402">
                  <c:v>33.5</c:v>
                </c:pt>
                <c:pt idx="403">
                  <c:v>33.583333333333336</c:v>
                </c:pt>
                <c:pt idx="404">
                  <c:v>33.666666666666664</c:v>
                </c:pt>
                <c:pt idx="405">
                  <c:v>33.75</c:v>
                </c:pt>
                <c:pt idx="406">
                  <c:v>33.833333333333336</c:v>
                </c:pt>
                <c:pt idx="407">
                  <c:v>33.916666666666664</c:v>
                </c:pt>
                <c:pt idx="408">
                  <c:v>34</c:v>
                </c:pt>
                <c:pt idx="409">
                  <c:v>34.083333333333336</c:v>
                </c:pt>
                <c:pt idx="410">
                  <c:v>34.166666666666664</c:v>
                </c:pt>
                <c:pt idx="411">
                  <c:v>34.25</c:v>
                </c:pt>
                <c:pt idx="412">
                  <c:v>34.333333333333336</c:v>
                </c:pt>
                <c:pt idx="413">
                  <c:v>34.416666666666664</c:v>
                </c:pt>
                <c:pt idx="414">
                  <c:v>34.5</c:v>
                </c:pt>
                <c:pt idx="415">
                  <c:v>34.583333333333336</c:v>
                </c:pt>
                <c:pt idx="416">
                  <c:v>34.666666666666664</c:v>
                </c:pt>
                <c:pt idx="417">
                  <c:v>34.75</c:v>
                </c:pt>
                <c:pt idx="418">
                  <c:v>34.833333333333336</c:v>
                </c:pt>
                <c:pt idx="419">
                  <c:v>34.916666666666664</c:v>
                </c:pt>
                <c:pt idx="420">
                  <c:v>35</c:v>
                </c:pt>
                <c:pt idx="421">
                  <c:v>35.083333333333336</c:v>
                </c:pt>
                <c:pt idx="422">
                  <c:v>35.166666666666664</c:v>
                </c:pt>
                <c:pt idx="423">
                  <c:v>35.25</c:v>
                </c:pt>
                <c:pt idx="424">
                  <c:v>35.333333333333336</c:v>
                </c:pt>
                <c:pt idx="425">
                  <c:v>35.416666666666664</c:v>
                </c:pt>
                <c:pt idx="426">
                  <c:v>35.5</c:v>
                </c:pt>
                <c:pt idx="427">
                  <c:v>35.583333333333336</c:v>
                </c:pt>
                <c:pt idx="428">
                  <c:v>35.666666666666664</c:v>
                </c:pt>
                <c:pt idx="429">
                  <c:v>35.75</c:v>
                </c:pt>
                <c:pt idx="430">
                  <c:v>35.833333333333336</c:v>
                </c:pt>
                <c:pt idx="431">
                  <c:v>35.916666666666664</c:v>
                </c:pt>
                <c:pt idx="432">
                  <c:v>36</c:v>
                </c:pt>
                <c:pt idx="433">
                  <c:v>36.083333333333336</c:v>
                </c:pt>
                <c:pt idx="434">
                  <c:v>36.166666666666664</c:v>
                </c:pt>
                <c:pt idx="435">
                  <c:v>36.25</c:v>
                </c:pt>
                <c:pt idx="436">
                  <c:v>36.333333333333336</c:v>
                </c:pt>
                <c:pt idx="437">
                  <c:v>36.416666666666664</c:v>
                </c:pt>
                <c:pt idx="438">
                  <c:v>36.5</c:v>
                </c:pt>
                <c:pt idx="439">
                  <c:v>36.583333333333336</c:v>
                </c:pt>
                <c:pt idx="440">
                  <c:v>36.666666666666664</c:v>
                </c:pt>
                <c:pt idx="441">
                  <c:v>36.75</c:v>
                </c:pt>
                <c:pt idx="442">
                  <c:v>36.833333333333336</c:v>
                </c:pt>
                <c:pt idx="443">
                  <c:v>36.916666666666664</c:v>
                </c:pt>
                <c:pt idx="444">
                  <c:v>37</c:v>
                </c:pt>
                <c:pt idx="445">
                  <c:v>37.083333333333336</c:v>
                </c:pt>
                <c:pt idx="446">
                  <c:v>37.166666666666664</c:v>
                </c:pt>
                <c:pt idx="447">
                  <c:v>37.25</c:v>
                </c:pt>
                <c:pt idx="448">
                  <c:v>37.333333333333336</c:v>
                </c:pt>
                <c:pt idx="449">
                  <c:v>37.416666666666664</c:v>
                </c:pt>
                <c:pt idx="450">
                  <c:v>37.5</c:v>
                </c:pt>
                <c:pt idx="451">
                  <c:v>37.583333333333336</c:v>
                </c:pt>
                <c:pt idx="452">
                  <c:v>37.666666666666664</c:v>
                </c:pt>
                <c:pt idx="453">
                  <c:v>37.75</c:v>
                </c:pt>
                <c:pt idx="454">
                  <c:v>37.833333333333336</c:v>
                </c:pt>
                <c:pt idx="455">
                  <c:v>37.916666666666664</c:v>
                </c:pt>
                <c:pt idx="456">
                  <c:v>38</c:v>
                </c:pt>
                <c:pt idx="457">
                  <c:v>38.083333333333336</c:v>
                </c:pt>
                <c:pt idx="458">
                  <c:v>38.166666666666664</c:v>
                </c:pt>
                <c:pt idx="459">
                  <c:v>38.25</c:v>
                </c:pt>
                <c:pt idx="460">
                  <c:v>38.333333333333336</c:v>
                </c:pt>
                <c:pt idx="461">
                  <c:v>38.416666666666664</c:v>
                </c:pt>
                <c:pt idx="462">
                  <c:v>38.5</c:v>
                </c:pt>
                <c:pt idx="463">
                  <c:v>38.583333333333336</c:v>
                </c:pt>
                <c:pt idx="464">
                  <c:v>38.666666666666664</c:v>
                </c:pt>
                <c:pt idx="465">
                  <c:v>38.75</c:v>
                </c:pt>
                <c:pt idx="466">
                  <c:v>38.833333333333336</c:v>
                </c:pt>
                <c:pt idx="467">
                  <c:v>38.916666666666664</c:v>
                </c:pt>
                <c:pt idx="468">
                  <c:v>39</c:v>
                </c:pt>
                <c:pt idx="469">
                  <c:v>39.083333333333336</c:v>
                </c:pt>
                <c:pt idx="470">
                  <c:v>39.166666666666664</c:v>
                </c:pt>
                <c:pt idx="471">
                  <c:v>39.25</c:v>
                </c:pt>
                <c:pt idx="472">
                  <c:v>39.333333333333336</c:v>
                </c:pt>
                <c:pt idx="473">
                  <c:v>39.416666666666664</c:v>
                </c:pt>
                <c:pt idx="474">
                  <c:v>39.5</c:v>
                </c:pt>
                <c:pt idx="475">
                  <c:v>39.583333333333336</c:v>
                </c:pt>
                <c:pt idx="476">
                  <c:v>39.666666666666664</c:v>
                </c:pt>
                <c:pt idx="477">
                  <c:v>39.75</c:v>
                </c:pt>
                <c:pt idx="478">
                  <c:v>39.833333333333336</c:v>
                </c:pt>
                <c:pt idx="479">
                  <c:v>39.916666666666664</c:v>
                </c:pt>
                <c:pt idx="480">
                  <c:v>40</c:v>
                </c:pt>
                <c:pt idx="481">
                  <c:v>40.083333333333336</c:v>
                </c:pt>
                <c:pt idx="482">
                  <c:v>40.166666666666664</c:v>
                </c:pt>
                <c:pt idx="483">
                  <c:v>40.25</c:v>
                </c:pt>
                <c:pt idx="484">
                  <c:v>40.333333333333336</c:v>
                </c:pt>
                <c:pt idx="485">
                  <c:v>40.416666666666664</c:v>
                </c:pt>
                <c:pt idx="486">
                  <c:v>40.5</c:v>
                </c:pt>
                <c:pt idx="487">
                  <c:v>40.583333333333336</c:v>
                </c:pt>
                <c:pt idx="488">
                  <c:v>40.666666666666664</c:v>
                </c:pt>
                <c:pt idx="489">
                  <c:v>40.75</c:v>
                </c:pt>
                <c:pt idx="490">
                  <c:v>40.833333333333336</c:v>
                </c:pt>
                <c:pt idx="491">
                  <c:v>40.916666666666664</c:v>
                </c:pt>
                <c:pt idx="492">
                  <c:v>41</c:v>
                </c:pt>
                <c:pt idx="493">
                  <c:v>41.083333333333336</c:v>
                </c:pt>
                <c:pt idx="494">
                  <c:v>41.166666666666664</c:v>
                </c:pt>
                <c:pt idx="495">
                  <c:v>41.25</c:v>
                </c:pt>
                <c:pt idx="496">
                  <c:v>41.333333333333336</c:v>
                </c:pt>
                <c:pt idx="497">
                  <c:v>41.416666666666664</c:v>
                </c:pt>
                <c:pt idx="498">
                  <c:v>41.5</c:v>
                </c:pt>
                <c:pt idx="499">
                  <c:v>41.583333333333336</c:v>
                </c:pt>
                <c:pt idx="500">
                  <c:v>41.666666666666664</c:v>
                </c:pt>
                <c:pt idx="501">
                  <c:v>41.75</c:v>
                </c:pt>
                <c:pt idx="502">
                  <c:v>41.833333333333336</c:v>
                </c:pt>
                <c:pt idx="503">
                  <c:v>41.916666666666664</c:v>
                </c:pt>
                <c:pt idx="504">
                  <c:v>42</c:v>
                </c:pt>
                <c:pt idx="505">
                  <c:v>42.083333333333336</c:v>
                </c:pt>
                <c:pt idx="506">
                  <c:v>42.166666666666664</c:v>
                </c:pt>
                <c:pt idx="507">
                  <c:v>42.25</c:v>
                </c:pt>
                <c:pt idx="508">
                  <c:v>42.333333333333336</c:v>
                </c:pt>
                <c:pt idx="509">
                  <c:v>42.416666666666664</c:v>
                </c:pt>
                <c:pt idx="510">
                  <c:v>42.5</c:v>
                </c:pt>
                <c:pt idx="511">
                  <c:v>42.583333333333336</c:v>
                </c:pt>
                <c:pt idx="512">
                  <c:v>42.666666666666664</c:v>
                </c:pt>
                <c:pt idx="513">
                  <c:v>42.75</c:v>
                </c:pt>
                <c:pt idx="514">
                  <c:v>42.833333333333336</c:v>
                </c:pt>
                <c:pt idx="515">
                  <c:v>42.916666666666664</c:v>
                </c:pt>
                <c:pt idx="516">
                  <c:v>43</c:v>
                </c:pt>
                <c:pt idx="517">
                  <c:v>43.083333333333336</c:v>
                </c:pt>
                <c:pt idx="518">
                  <c:v>43.166666666666664</c:v>
                </c:pt>
                <c:pt idx="519">
                  <c:v>43.25</c:v>
                </c:pt>
                <c:pt idx="520">
                  <c:v>43.333333333333336</c:v>
                </c:pt>
                <c:pt idx="521">
                  <c:v>43.416666666666664</c:v>
                </c:pt>
                <c:pt idx="522">
                  <c:v>43.5</c:v>
                </c:pt>
                <c:pt idx="523">
                  <c:v>43.583333333333336</c:v>
                </c:pt>
                <c:pt idx="524">
                  <c:v>43.666666666666664</c:v>
                </c:pt>
                <c:pt idx="525">
                  <c:v>43.75</c:v>
                </c:pt>
                <c:pt idx="526">
                  <c:v>43.833333333333336</c:v>
                </c:pt>
                <c:pt idx="527">
                  <c:v>43.916666666666664</c:v>
                </c:pt>
                <c:pt idx="528">
                  <c:v>44</c:v>
                </c:pt>
                <c:pt idx="529">
                  <c:v>44.083333333333336</c:v>
                </c:pt>
                <c:pt idx="530">
                  <c:v>44.166666666666664</c:v>
                </c:pt>
                <c:pt idx="531">
                  <c:v>44.25</c:v>
                </c:pt>
                <c:pt idx="532">
                  <c:v>44.333333333333336</c:v>
                </c:pt>
                <c:pt idx="533">
                  <c:v>44.416666666666664</c:v>
                </c:pt>
                <c:pt idx="534">
                  <c:v>44.5</c:v>
                </c:pt>
                <c:pt idx="535">
                  <c:v>44.583333333333336</c:v>
                </c:pt>
                <c:pt idx="536">
                  <c:v>44.666666666666664</c:v>
                </c:pt>
                <c:pt idx="537">
                  <c:v>44.75</c:v>
                </c:pt>
                <c:pt idx="538">
                  <c:v>44.833333333333336</c:v>
                </c:pt>
                <c:pt idx="539">
                  <c:v>44.916666666666664</c:v>
                </c:pt>
                <c:pt idx="540">
                  <c:v>45</c:v>
                </c:pt>
                <c:pt idx="541">
                  <c:v>45.083333333333336</c:v>
                </c:pt>
                <c:pt idx="542">
                  <c:v>45.166666666666664</c:v>
                </c:pt>
                <c:pt idx="543">
                  <c:v>45.25</c:v>
                </c:pt>
                <c:pt idx="544">
                  <c:v>45.333333333333336</c:v>
                </c:pt>
                <c:pt idx="545">
                  <c:v>45.416666666666664</c:v>
                </c:pt>
                <c:pt idx="546">
                  <c:v>45.5</c:v>
                </c:pt>
                <c:pt idx="547">
                  <c:v>45.583333333333336</c:v>
                </c:pt>
                <c:pt idx="548">
                  <c:v>45.666666666666664</c:v>
                </c:pt>
                <c:pt idx="549">
                  <c:v>45.75</c:v>
                </c:pt>
                <c:pt idx="550">
                  <c:v>45.833333333333336</c:v>
                </c:pt>
                <c:pt idx="551">
                  <c:v>45.916666666666664</c:v>
                </c:pt>
                <c:pt idx="552">
                  <c:v>46</c:v>
                </c:pt>
                <c:pt idx="553">
                  <c:v>46.083333333333336</c:v>
                </c:pt>
                <c:pt idx="554">
                  <c:v>46.166666666666664</c:v>
                </c:pt>
                <c:pt idx="555">
                  <c:v>46.25</c:v>
                </c:pt>
                <c:pt idx="556">
                  <c:v>46.333333333333336</c:v>
                </c:pt>
                <c:pt idx="557">
                  <c:v>46.416666666666664</c:v>
                </c:pt>
                <c:pt idx="558">
                  <c:v>46.5</c:v>
                </c:pt>
                <c:pt idx="559">
                  <c:v>46.583333333333336</c:v>
                </c:pt>
                <c:pt idx="560">
                  <c:v>46.666666666666664</c:v>
                </c:pt>
                <c:pt idx="561">
                  <c:v>46.75</c:v>
                </c:pt>
                <c:pt idx="562">
                  <c:v>46.833333333333336</c:v>
                </c:pt>
                <c:pt idx="563">
                  <c:v>46.916666666666664</c:v>
                </c:pt>
                <c:pt idx="564">
                  <c:v>47</c:v>
                </c:pt>
                <c:pt idx="565">
                  <c:v>47.083333333333336</c:v>
                </c:pt>
                <c:pt idx="566">
                  <c:v>47.166666666666664</c:v>
                </c:pt>
                <c:pt idx="567">
                  <c:v>47.25</c:v>
                </c:pt>
                <c:pt idx="568">
                  <c:v>47.333333333333336</c:v>
                </c:pt>
                <c:pt idx="569">
                  <c:v>47.416666666666664</c:v>
                </c:pt>
                <c:pt idx="570">
                  <c:v>47.5</c:v>
                </c:pt>
                <c:pt idx="571">
                  <c:v>47.583333333333336</c:v>
                </c:pt>
                <c:pt idx="572">
                  <c:v>47.666666666666664</c:v>
                </c:pt>
                <c:pt idx="573">
                  <c:v>47.75</c:v>
                </c:pt>
                <c:pt idx="574">
                  <c:v>47.833333333333336</c:v>
                </c:pt>
                <c:pt idx="575">
                  <c:v>47.916666666666664</c:v>
                </c:pt>
                <c:pt idx="576">
                  <c:v>48</c:v>
                </c:pt>
                <c:pt idx="577">
                  <c:v>48.083333333333336</c:v>
                </c:pt>
                <c:pt idx="578">
                  <c:v>48.166666666666664</c:v>
                </c:pt>
                <c:pt idx="579">
                  <c:v>48.25</c:v>
                </c:pt>
                <c:pt idx="580">
                  <c:v>48.333333333333336</c:v>
                </c:pt>
                <c:pt idx="581">
                  <c:v>48.416666666666664</c:v>
                </c:pt>
                <c:pt idx="582">
                  <c:v>48.5</c:v>
                </c:pt>
                <c:pt idx="583">
                  <c:v>48.583333333333336</c:v>
                </c:pt>
                <c:pt idx="584">
                  <c:v>48.666666666666664</c:v>
                </c:pt>
                <c:pt idx="585">
                  <c:v>48.75</c:v>
                </c:pt>
                <c:pt idx="586">
                  <c:v>48.833333333333336</c:v>
                </c:pt>
                <c:pt idx="587">
                  <c:v>48.916666666666664</c:v>
                </c:pt>
                <c:pt idx="588">
                  <c:v>49</c:v>
                </c:pt>
                <c:pt idx="589">
                  <c:v>49.083333333333336</c:v>
                </c:pt>
                <c:pt idx="590">
                  <c:v>49.166666666666664</c:v>
                </c:pt>
                <c:pt idx="591">
                  <c:v>49.25</c:v>
                </c:pt>
                <c:pt idx="592">
                  <c:v>49.333333333333336</c:v>
                </c:pt>
                <c:pt idx="593">
                  <c:v>49.416666666666664</c:v>
                </c:pt>
                <c:pt idx="594">
                  <c:v>49.5</c:v>
                </c:pt>
                <c:pt idx="595">
                  <c:v>49.583333333333336</c:v>
                </c:pt>
                <c:pt idx="596">
                  <c:v>49.666666666666664</c:v>
                </c:pt>
                <c:pt idx="597">
                  <c:v>49.75</c:v>
                </c:pt>
                <c:pt idx="598">
                  <c:v>49.833333333333336</c:v>
                </c:pt>
                <c:pt idx="599">
                  <c:v>49.916666666666664</c:v>
                </c:pt>
                <c:pt idx="600">
                  <c:v>50</c:v>
                </c:pt>
                <c:pt idx="601">
                  <c:v>50.083333333333336</c:v>
                </c:pt>
                <c:pt idx="602">
                  <c:v>50.166666666666664</c:v>
                </c:pt>
                <c:pt idx="603">
                  <c:v>50.25</c:v>
                </c:pt>
                <c:pt idx="604">
                  <c:v>50.333333333333336</c:v>
                </c:pt>
                <c:pt idx="605">
                  <c:v>50.416666666666664</c:v>
                </c:pt>
                <c:pt idx="606">
                  <c:v>50.5</c:v>
                </c:pt>
                <c:pt idx="607">
                  <c:v>50.583333333333336</c:v>
                </c:pt>
                <c:pt idx="608">
                  <c:v>50.666666666666664</c:v>
                </c:pt>
                <c:pt idx="609">
                  <c:v>50.75</c:v>
                </c:pt>
                <c:pt idx="610">
                  <c:v>50.833333333333336</c:v>
                </c:pt>
                <c:pt idx="611">
                  <c:v>50.916666666666664</c:v>
                </c:pt>
                <c:pt idx="612">
                  <c:v>51</c:v>
                </c:pt>
                <c:pt idx="613">
                  <c:v>51.083333333333336</c:v>
                </c:pt>
                <c:pt idx="614">
                  <c:v>51.166666666666664</c:v>
                </c:pt>
                <c:pt idx="615">
                  <c:v>51.25</c:v>
                </c:pt>
                <c:pt idx="616">
                  <c:v>51.333333333333336</c:v>
                </c:pt>
                <c:pt idx="617">
                  <c:v>51.416666666666664</c:v>
                </c:pt>
                <c:pt idx="618">
                  <c:v>51.5</c:v>
                </c:pt>
                <c:pt idx="619">
                  <c:v>51.583333333333336</c:v>
                </c:pt>
                <c:pt idx="620">
                  <c:v>51.666666666666664</c:v>
                </c:pt>
                <c:pt idx="621">
                  <c:v>51.75</c:v>
                </c:pt>
                <c:pt idx="622">
                  <c:v>51.833333333333336</c:v>
                </c:pt>
                <c:pt idx="623">
                  <c:v>51.916666666666664</c:v>
                </c:pt>
                <c:pt idx="624">
                  <c:v>52</c:v>
                </c:pt>
                <c:pt idx="625">
                  <c:v>52.083333333333336</c:v>
                </c:pt>
                <c:pt idx="626">
                  <c:v>52.166666666666664</c:v>
                </c:pt>
                <c:pt idx="627">
                  <c:v>52.25</c:v>
                </c:pt>
                <c:pt idx="628">
                  <c:v>52.333333333333336</c:v>
                </c:pt>
                <c:pt idx="629">
                  <c:v>52.416666666666664</c:v>
                </c:pt>
                <c:pt idx="630">
                  <c:v>52.5</c:v>
                </c:pt>
                <c:pt idx="631">
                  <c:v>52.583333333333336</c:v>
                </c:pt>
                <c:pt idx="632">
                  <c:v>52.666666666666664</c:v>
                </c:pt>
                <c:pt idx="633">
                  <c:v>52.75</c:v>
                </c:pt>
                <c:pt idx="634">
                  <c:v>52.833333333333336</c:v>
                </c:pt>
                <c:pt idx="635">
                  <c:v>52.916666666666664</c:v>
                </c:pt>
                <c:pt idx="636">
                  <c:v>53</c:v>
                </c:pt>
                <c:pt idx="637">
                  <c:v>53.083333333333336</c:v>
                </c:pt>
                <c:pt idx="638">
                  <c:v>53.166666666666664</c:v>
                </c:pt>
                <c:pt idx="639">
                  <c:v>53.25</c:v>
                </c:pt>
                <c:pt idx="640">
                  <c:v>53.333333333333336</c:v>
                </c:pt>
                <c:pt idx="641">
                  <c:v>53.416666666666664</c:v>
                </c:pt>
                <c:pt idx="642">
                  <c:v>53.5</c:v>
                </c:pt>
                <c:pt idx="643">
                  <c:v>53.583333333333336</c:v>
                </c:pt>
                <c:pt idx="644">
                  <c:v>53.666666666666664</c:v>
                </c:pt>
                <c:pt idx="645">
                  <c:v>53.75</c:v>
                </c:pt>
                <c:pt idx="646">
                  <c:v>53.833333333333336</c:v>
                </c:pt>
                <c:pt idx="647">
                  <c:v>53.916666666666664</c:v>
                </c:pt>
                <c:pt idx="648">
                  <c:v>54</c:v>
                </c:pt>
                <c:pt idx="649">
                  <c:v>54.083333333333336</c:v>
                </c:pt>
                <c:pt idx="650">
                  <c:v>54.166666666666664</c:v>
                </c:pt>
                <c:pt idx="651">
                  <c:v>54.25</c:v>
                </c:pt>
                <c:pt idx="652">
                  <c:v>54.333333333333336</c:v>
                </c:pt>
                <c:pt idx="653">
                  <c:v>54.416666666666664</c:v>
                </c:pt>
                <c:pt idx="654">
                  <c:v>54.5</c:v>
                </c:pt>
                <c:pt idx="655">
                  <c:v>54.583333333333336</c:v>
                </c:pt>
                <c:pt idx="656">
                  <c:v>54.666666666666664</c:v>
                </c:pt>
                <c:pt idx="657">
                  <c:v>54.75</c:v>
                </c:pt>
                <c:pt idx="658">
                  <c:v>54.833333333333336</c:v>
                </c:pt>
                <c:pt idx="659">
                  <c:v>54.916666666666664</c:v>
                </c:pt>
                <c:pt idx="660">
                  <c:v>55</c:v>
                </c:pt>
                <c:pt idx="661">
                  <c:v>55.083333333333336</c:v>
                </c:pt>
                <c:pt idx="662">
                  <c:v>55.166666666666664</c:v>
                </c:pt>
                <c:pt idx="663">
                  <c:v>55.25</c:v>
                </c:pt>
                <c:pt idx="664">
                  <c:v>55.333333333333336</c:v>
                </c:pt>
                <c:pt idx="665">
                  <c:v>55.416666666666664</c:v>
                </c:pt>
                <c:pt idx="666">
                  <c:v>55.5</c:v>
                </c:pt>
                <c:pt idx="667">
                  <c:v>55.583333333333336</c:v>
                </c:pt>
                <c:pt idx="668">
                  <c:v>55.666666666666664</c:v>
                </c:pt>
                <c:pt idx="669">
                  <c:v>55.75</c:v>
                </c:pt>
                <c:pt idx="670">
                  <c:v>55.833333333333336</c:v>
                </c:pt>
                <c:pt idx="671">
                  <c:v>55.916666666666664</c:v>
                </c:pt>
                <c:pt idx="672">
                  <c:v>56</c:v>
                </c:pt>
                <c:pt idx="673">
                  <c:v>56.083333333333336</c:v>
                </c:pt>
                <c:pt idx="674">
                  <c:v>56.166666666666664</c:v>
                </c:pt>
                <c:pt idx="675">
                  <c:v>56.25</c:v>
                </c:pt>
                <c:pt idx="676">
                  <c:v>56.333333333333336</c:v>
                </c:pt>
                <c:pt idx="677">
                  <c:v>56.416666666666664</c:v>
                </c:pt>
                <c:pt idx="678">
                  <c:v>56.5</c:v>
                </c:pt>
                <c:pt idx="679">
                  <c:v>56.583333333333336</c:v>
                </c:pt>
                <c:pt idx="680">
                  <c:v>56.666666666666664</c:v>
                </c:pt>
                <c:pt idx="681">
                  <c:v>56.75</c:v>
                </c:pt>
                <c:pt idx="682">
                  <c:v>56.833333333333336</c:v>
                </c:pt>
                <c:pt idx="683">
                  <c:v>56.916666666666664</c:v>
                </c:pt>
                <c:pt idx="684">
                  <c:v>57</c:v>
                </c:pt>
                <c:pt idx="685">
                  <c:v>57.083333333333336</c:v>
                </c:pt>
                <c:pt idx="686">
                  <c:v>57.166666666666664</c:v>
                </c:pt>
                <c:pt idx="687">
                  <c:v>57.25</c:v>
                </c:pt>
                <c:pt idx="688">
                  <c:v>57.333333333333336</c:v>
                </c:pt>
                <c:pt idx="689">
                  <c:v>57.416666666666664</c:v>
                </c:pt>
                <c:pt idx="690">
                  <c:v>57.5</c:v>
                </c:pt>
                <c:pt idx="691">
                  <c:v>57.583333333333336</c:v>
                </c:pt>
                <c:pt idx="692">
                  <c:v>57.666666666666664</c:v>
                </c:pt>
                <c:pt idx="693">
                  <c:v>57.75</c:v>
                </c:pt>
                <c:pt idx="694">
                  <c:v>57.833333333333336</c:v>
                </c:pt>
                <c:pt idx="695">
                  <c:v>57.916666666666664</c:v>
                </c:pt>
                <c:pt idx="696">
                  <c:v>58</c:v>
                </c:pt>
                <c:pt idx="697">
                  <c:v>58.083333333333336</c:v>
                </c:pt>
                <c:pt idx="698">
                  <c:v>58.166666666666664</c:v>
                </c:pt>
                <c:pt idx="699">
                  <c:v>58.25</c:v>
                </c:pt>
                <c:pt idx="700">
                  <c:v>58.333333333333336</c:v>
                </c:pt>
                <c:pt idx="701">
                  <c:v>58.416666666666664</c:v>
                </c:pt>
                <c:pt idx="702">
                  <c:v>58.5</c:v>
                </c:pt>
                <c:pt idx="703">
                  <c:v>58.583333333333336</c:v>
                </c:pt>
                <c:pt idx="704">
                  <c:v>58.666666666666664</c:v>
                </c:pt>
                <c:pt idx="705">
                  <c:v>58.75</c:v>
                </c:pt>
                <c:pt idx="706">
                  <c:v>58.833333333333336</c:v>
                </c:pt>
                <c:pt idx="707">
                  <c:v>58.916666666666664</c:v>
                </c:pt>
                <c:pt idx="708">
                  <c:v>59</c:v>
                </c:pt>
                <c:pt idx="709">
                  <c:v>59.083333333333336</c:v>
                </c:pt>
                <c:pt idx="710">
                  <c:v>59.166666666666664</c:v>
                </c:pt>
                <c:pt idx="711">
                  <c:v>59.25</c:v>
                </c:pt>
                <c:pt idx="712">
                  <c:v>59.333333333333336</c:v>
                </c:pt>
                <c:pt idx="713">
                  <c:v>59.416666666666664</c:v>
                </c:pt>
                <c:pt idx="714">
                  <c:v>59.5</c:v>
                </c:pt>
                <c:pt idx="715">
                  <c:v>59.583333333333336</c:v>
                </c:pt>
                <c:pt idx="716">
                  <c:v>59.666666666666664</c:v>
                </c:pt>
                <c:pt idx="717">
                  <c:v>59.75</c:v>
                </c:pt>
                <c:pt idx="718">
                  <c:v>59.833333333333336</c:v>
                </c:pt>
                <c:pt idx="719">
                  <c:v>59.916666666666664</c:v>
                </c:pt>
                <c:pt idx="720">
                  <c:v>60</c:v>
                </c:pt>
                <c:pt idx="721">
                  <c:v>60.083333333333336</c:v>
                </c:pt>
                <c:pt idx="722">
                  <c:v>60.166666666666664</c:v>
                </c:pt>
                <c:pt idx="723">
                  <c:v>60.25</c:v>
                </c:pt>
                <c:pt idx="724">
                  <c:v>60.333333333333336</c:v>
                </c:pt>
                <c:pt idx="725">
                  <c:v>60.416666666666664</c:v>
                </c:pt>
                <c:pt idx="726">
                  <c:v>60.5</c:v>
                </c:pt>
                <c:pt idx="727">
                  <c:v>60.583333333333336</c:v>
                </c:pt>
                <c:pt idx="728">
                  <c:v>60.666666666666664</c:v>
                </c:pt>
                <c:pt idx="729">
                  <c:v>60.75</c:v>
                </c:pt>
                <c:pt idx="730">
                  <c:v>60.833333333333336</c:v>
                </c:pt>
                <c:pt idx="731">
                  <c:v>60.916666666666664</c:v>
                </c:pt>
                <c:pt idx="732">
                  <c:v>61</c:v>
                </c:pt>
                <c:pt idx="733">
                  <c:v>61.083333333333336</c:v>
                </c:pt>
                <c:pt idx="734">
                  <c:v>61.166666666666664</c:v>
                </c:pt>
                <c:pt idx="735">
                  <c:v>61.25</c:v>
                </c:pt>
                <c:pt idx="736">
                  <c:v>61.333333333333336</c:v>
                </c:pt>
                <c:pt idx="737">
                  <c:v>61.416666666666664</c:v>
                </c:pt>
                <c:pt idx="738">
                  <c:v>61.5</c:v>
                </c:pt>
                <c:pt idx="739">
                  <c:v>61.583333333333336</c:v>
                </c:pt>
                <c:pt idx="740">
                  <c:v>61.666666666666664</c:v>
                </c:pt>
                <c:pt idx="741">
                  <c:v>61.75</c:v>
                </c:pt>
                <c:pt idx="742">
                  <c:v>61.833333333333336</c:v>
                </c:pt>
                <c:pt idx="743">
                  <c:v>61.916666666666664</c:v>
                </c:pt>
                <c:pt idx="744">
                  <c:v>62</c:v>
                </c:pt>
                <c:pt idx="745">
                  <c:v>62.083333333333336</c:v>
                </c:pt>
                <c:pt idx="746">
                  <c:v>62.166666666666664</c:v>
                </c:pt>
                <c:pt idx="747">
                  <c:v>62.25</c:v>
                </c:pt>
                <c:pt idx="748">
                  <c:v>62.333333333333336</c:v>
                </c:pt>
                <c:pt idx="749">
                  <c:v>62.416666666666664</c:v>
                </c:pt>
                <c:pt idx="750">
                  <c:v>62.5</c:v>
                </c:pt>
                <c:pt idx="751">
                  <c:v>62.583333333333336</c:v>
                </c:pt>
                <c:pt idx="752">
                  <c:v>62.666666666666664</c:v>
                </c:pt>
                <c:pt idx="753">
                  <c:v>62.75</c:v>
                </c:pt>
                <c:pt idx="754">
                  <c:v>62.833333333333336</c:v>
                </c:pt>
                <c:pt idx="755">
                  <c:v>62.916666666666664</c:v>
                </c:pt>
                <c:pt idx="756">
                  <c:v>63</c:v>
                </c:pt>
                <c:pt idx="757">
                  <c:v>63.083333333333336</c:v>
                </c:pt>
                <c:pt idx="758">
                  <c:v>63.166666666666664</c:v>
                </c:pt>
                <c:pt idx="759">
                  <c:v>63.25</c:v>
                </c:pt>
                <c:pt idx="760">
                  <c:v>63.333333333333336</c:v>
                </c:pt>
                <c:pt idx="761">
                  <c:v>63.416666666666664</c:v>
                </c:pt>
                <c:pt idx="762">
                  <c:v>63.5</c:v>
                </c:pt>
                <c:pt idx="763">
                  <c:v>63.583333333333336</c:v>
                </c:pt>
                <c:pt idx="764">
                  <c:v>63.666666666666664</c:v>
                </c:pt>
                <c:pt idx="765">
                  <c:v>63.75</c:v>
                </c:pt>
                <c:pt idx="766">
                  <c:v>63.833333333333336</c:v>
                </c:pt>
                <c:pt idx="767">
                  <c:v>63.916666666666664</c:v>
                </c:pt>
                <c:pt idx="768">
                  <c:v>64</c:v>
                </c:pt>
                <c:pt idx="769">
                  <c:v>64.083333333333329</c:v>
                </c:pt>
                <c:pt idx="770">
                  <c:v>64.166666666666671</c:v>
                </c:pt>
                <c:pt idx="771">
                  <c:v>64.25</c:v>
                </c:pt>
                <c:pt idx="772">
                  <c:v>64.333333333333329</c:v>
                </c:pt>
                <c:pt idx="773">
                  <c:v>64.416666666666671</c:v>
                </c:pt>
                <c:pt idx="774">
                  <c:v>64.5</c:v>
                </c:pt>
                <c:pt idx="775">
                  <c:v>64.583333333333329</c:v>
                </c:pt>
                <c:pt idx="776">
                  <c:v>64.666666666666671</c:v>
                </c:pt>
                <c:pt idx="777">
                  <c:v>64.75</c:v>
                </c:pt>
                <c:pt idx="778">
                  <c:v>64.833333333333329</c:v>
                </c:pt>
                <c:pt idx="779">
                  <c:v>64.916666666666671</c:v>
                </c:pt>
                <c:pt idx="780">
                  <c:v>65</c:v>
                </c:pt>
                <c:pt idx="781">
                  <c:v>65.083333333333329</c:v>
                </c:pt>
                <c:pt idx="782">
                  <c:v>65.166666666666671</c:v>
                </c:pt>
                <c:pt idx="783">
                  <c:v>65.25</c:v>
                </c:pt>
                <c:pt idx="784">
                  <c:v>65.333333333333329</c:v>
                </c:pt>
                <c:pt idx="785">
                  <c:v>65.416666666666671</c:v>
                </c:pt>
                <c:pt idx="786">
                  <c:v>65.5</c:v>
                </c:pt>
                <c:pt idx="787">
                  <c:v>65.583333333333329</c:v>
                </c:pt>
                <c:pt idx="788">
                  <c:v>65.666666666666671</c:v>
                </c:pt>
                <c:pt idx="789">
                  <c:v>65.75</c:v>
                </c:pt>
                <c:pt idx="790">
                  <c:v>65.833333333333329</c:v>
                </c:pt>
                <c:pt idx="791">
                  <c:v>65.916666666666671</c:v>
                </c:pt>
                <c:pt idx="792">
                  <c:v>66</c:v>
                </c:pt>
                <c:pt idx="793">
                  <c:v>66.083333333333329</c:v>
                </c:pt>
                <c:pt idx="794">
                  <c:v>66.166666666666671</c:v>
                </c:pt>
                <c:pt idx="795">
                  <c:v>66.25</c:v>
                </c:pt>
                <c:pt idx="796">
                  <c:v>66.333333333333329</c:v>
                </c:pt>
                <c:pt idx="797">
                  <c:v>66.416666666666671</c:v>
                </c:pt>
                <c:pt idx="798">
                  <c:v>66.5</c:v>
                </c:pt>
                <c:pt idx="799">
                  <c:v>66.583333333333329</c:v>
                </c:pt>
                <c:pt idx="800">
                  <c:v>66.666666666666671</c:v>
                </c:pt>
                <c:pt idx="801">
                  <c:v>66.75</c:v>
                </c:pt>
                <c:pt idx="802">
                  <c:v>66.833333333333329</c:v>
                </c:pt>
                <c:pt idx="803">
                  <c:v>66.916666666666671</c:v>
                </c:pt>
                <c:pt idx="804">
                  <c:v>67</c:v>
                </c:pt>
                <c:pt idx="805">
                  <c:v>67.083333333333329</c:v>
                </c:pt>
                <c:pt idx="806">
                  <c:v>67.166666666666671</c:v>
                </c:pt>
                <c:pt idx="807">
                  <c:v>67.25</c:v>
                </c:pt>
                <c:pt idx="808">
                  <c:v>67.333333333333329</c:v>
                </c:pt>
                <c:pt idx="809">
                  <c:v>67.416666666666671</c:v>
                </c:pt>
                <c:pt idx="810">
                  <c:v>67.5</c:v>
                </c:pt>
                <c:pt idx="811">
                  <c:v>67.583333333333329</c:v>
                </c:pt>
                <c:pt idx="812">
                  <c:v>67.666666666666671</c:v>
                </c:pt>
                <c:pt idx="813">
                  <c:v>67.75</c:v>
                </c:pt>
                <c:pt idx="814">
                  <c:v>67.833333333333329</c:v>
                </c:pt>
                <c:pt idx="815">
                  <c:v>67.916666666666671</c:v>
                </c:pt>
                <c:pt idx="816">
                  <c:v>68</c:v>
                </c:pt>
                <c:pt idx="817">
                  <c:v>68.083333333333329</c:v>
                </c:pt>
                <c:pt idx="818">
                  <c:v>68.166666666666671</c:v>
                </c:pt>
                <c:pt idx="819">
                  <c:v>68.25</c:v>
                </c:pt>
                <c:pt idx="820">
                  <c:v>68.333333333333329</c:v>
                </c:pt>
                <c:pt idx="821">
                  <c:v>68.416666666666671</c:v>
                </c:pt>
                <c:pt idx="822">
                  <c:v>68.5</c:v>
                </c:pt>
                <c:pt idx="823">
                  <c:v>68.583333333333329</c:v>
                </c:pt>
                <c:pt idx="824">
                  <c:v>68.666666666666671</c:v>
                </c:pt>
                <c:pt idx="825">
                  <c:v>68.75</c:v>
                </c:pt>
                <c:pt idx="826">
                  <c:v>68.833333333333329</c:v>
                </c:pt>
                <c:pt idx="827">
                  <c:v>68.916666666666671</c:v>
                </c:pt>
                <c:pt idx="828">
                  <c:v>69</c:v>
                </c:pt>
                <c:pt idx="829">
                  <c:v>69.083333333333329</c:v>
                </c:pt>
                <c:pt idx="830">
                  <c:v>69.166666666666671</c:v>
                </c:pt>
                <c:pt idx="831">
                  <c:v>69.25</c:v>
                </c:pt>
                <c:pt idx="832">
                  <c:v>69.333333333333329</c:v>
                </c:pt>
                <c:pt idx="833">
                  <c:v>69.416666666666671</c:v>
                </c:pt>
                <c:pt idx="834">
                  <c:v>69.5</c:v>
                </c:pt>
                <c:pt idx="835">
                  <c:v>69.583333333333329</c:v>
                </c:pt>
                <c:pt idx="836">
                  <c:v>69.666666666666671</c:v>
                </c:pt>
                <c:pt idx="837">
                  <c:v>69.75</c:v>
                </c:pt>
                <c:pt idx="838">
                  <c:v>69.833333333333329</c:v>
                </c:pt>
                <c:pt idx="839">
                  <c:v>69.916666666666671</c:v>
                </c:pt>
                <c:pt idx="840">
                  <c:v>70</c:v>
                </c:pt>
                <c:pt idx="841">
                  <c:v>70.083333333333329</c:v>
                </c:pt>
                <c:pt idx="842">
                  <c:v>70.166666666666671</c:v>
                </c:pt>
                <c:pt idx="843">
                  <c:v>70.25</c:v>
                </c:pt>
                <c:pt idx="844">
                  <c:v>70.333333333333329</c:v>
                </c:pt>
                <c:pt idx="845">
                  <c:v>70.416666666666671</c:v>
                </c:pt>
                <c:pt idx="846">
                  <c:v>70.5</c:v>
                </c:pt>
                <c:pt idx="847">
                  <c:v>70.583333333333329</c:v>
                </c:pt>
                <c:pt idx="848">
                  <c:v>70.666666666666671</c:v>
                </c:pt>
                <c:pt idx="849">
                  <c:v>70.75</c:v>
                </c:pt>
                <c:pt idx="850">
                  <c:v>70.833333333333329</c:v>
                </c:pt>
                <c:pt idx="851">
                  <c:v>70.916666666666671</c:v>
                </c:pt>
                <c:pt idx="852">
                  <c:v>71</c:v>
                </c:pt>
                <c:pt idx="853">
                  <c:v>71.083333333333329</c:v>
                </c:pt>
                <c:pt idx="854">
                  <c:v>71.166666666666671</c:v>
                </c:pt>
                <c:pt idx="855">
                  <c:v>71.25</c:v>
                </c:pt>
                <c:pt idx="856">
                  <c:v>71.333333333333329</c:v>
                </c:pt>
                <c:pt idx="857">
                  <c:v>71.416666666666671</c:v>
                </c:pt>
                <c:pt idx="858">
                  <c:v>71.5</c:v>
                </c:pt>
                <c:pt idx="859">
                  <c:v>71.583333333333329</c:v>
                </c:pt>
                <c:pt idx="860">
                  <c:v>71.666666666666671</c:v>
                </c:pt>
                <c:pt idx="861">
                  <c:v>71.75</c:v>
                </c:pt>
                <c:pt idx="862">
                  <c:v>71.833333333333329</c:v>
                </c:pt>
                <c:pt idx="863">
                  <c:v>71.916666666666671</c:v>
                </c:pt>
                <c:pt idx="864">
                  <c:v>72</c:v>
                </c:pt>
                <c:pt idx="865">
                  <c:v>72.083333333333329</c:v>
                </c:pt>
                <c:pt idx="866">
                  <c:v>72.166666666666671</c:v>
                </c:pt>
                <c:pt idx="867">
                  <c:v>72.25</c:v>
                </c:pt>
                <c:pt idx="868">
                  <c:v>72.333333333333329</c:v>
                </c:pt>
                <c:pt idx="869">
                  <c:v>72.416666666666671</c:v>
                </c:pt>
                <c:pt idx="870">
                  <c:v>72.5</c:v>
                </c:pt>
                <c:pt idx="871">
                  <c:v>72.583333333333329</c:v>
                </c:pt>
                <c:pt idx="872">
                  <c:v>72.666666666666671</c:v>
                </c:pt>
                <c:pt idx="873">
                  <c:v>72.75</c:v>
                </c:pt>
                <c:pt idx="874">
                  <c:v>72.833333333333329</c:v>
                </c:pt>
                <c:pt idx="875">
                  <c:v>72.916666666666671</c:v>
                </c:pt>
                <c:pt idx="876">
                  <c:v>73</c:v>
                </c:pt>
                <c:pt idx="877">
                  <c:v>73.083333333333329</c:v>
                </c:pt>
                <c:pt idx="878">
                  <c:v>73.166666666666671</c:v>
                </c:pt>
                <c:pt idx="879">
                  <c:v>73.25</c:v>
                </c:pt>
                <c:pt idx="880">
                  <c:v>73.333333333333329</c:v>
                </c:pt>
                <c:pt idx="881">
                  <c:v>73.416666666666671</c:v>
                </c:pt>
                <c:pt idx="882">
                  <c:v>73.5</c:v>
                </c:pt>
                <c:pt idx="883">
                  <c:v>73.583333333333329</c:v>
                </c:pt>
                <c:pt idx="884">
                  <c:v>73.666666666666671</c:v>
                </c:pt>
                <c:pt idx="885">
                  <c:v>73.75</c:v>
                </c:pt>
                <c:pt idx="886">
                  <c:v>73.833333333333329</c:v>
                </c:pt>
                <c:pt idx="887">
                  <c:v>73.916666666666671</c:v>
                </c:pt>
                <c:pt idx="888">
                  <c:v>74</c:v>
                </c:pt>
                <c:pt idx="889">
                  <c:v>74.083333333333329</c:v>
                </c:pt>
                <c:pt idx="890">
                  <c:v>74.166666666666671</c:v>
                </c:pt>
                <c:pt idx="891">
                  <c:v>74.25</c:v>
                </c:pt>
                <c:pt idx="892">
                  <c:v>74.333333333333329</c:v>
                </c:pt>
                <c:pt idx="893">
                  <c:v>74.416666666666671</c:v>
                </c:pt>
                <c:pt idx="894">
                  <c:v>74.5</c:v>
                </c:pt>
                <c:pt idx="895">
                  <c:v>74.583333333333329</c:v>
                </c:pt>
                <c:pt idx="896">
                  <c:v>74.666666666666671</c:v>
                </c:pt>
                <c:pt idx="897">
                  <c:v>74.75</c:v>
                </c:pt>
                <c:pt idx="898">
                  <c:v>74.833333333333329</c:v>
                </c:pt>
                <c:pt idx="899">
                  <c:v>74.916666666666671</c:v>
                </c:pt>
                <c:pt idx="900">
                  <c:v>75</c:v>
                </c:pt>
                <c:pt idx="901">
                  <c:v>75.083333333333329</c:v>
                </c:pt>
                <c:pt idx="902">
                  <c:v>75.166666666666671</c:v>
                </c:pt>
                <c:pt idx="903">
                  <c:v>75.25</c:v>
                </c:pt>
                <c:pt idx="904">
                  <c:v>75.333333333333329</c:v>
                </c:pt>
                <c:pt idx="905">
                  <c:v>75.416666666666671</c:v>
                </c:pt>
                <c:pt idx="906">
                  <c:v>75.5</c:v>
                </c:pt>
                <c:pt idx="907">
                  <c:v>75.583333333333329</c:v>
                </c:pt>
                <c:pt idx="908">
                  <c:v>75.666666666666671</c:v>
                </c:pt>
                <c:pt idx="909">
                  <c:v>75.75</c:v>
                </c:pt>
                <c:pt idx="910">
                  <c:v>75.833333333333329</c:v>
                </c:pt>
                <c:pt idx="911">
                  <c:v>75.916666666666671</c:v>
                </c:pt>
                <c:pt idx="912">
                  <c:v>76</c:v>
                </c:pt>
                <c:pt idx="913">
                  <c:v>76.083333333333329</c:v>
                </c:pt>
                <c:pt idx="914">
                  <c:v>76.166666666666671</c:v>
                </c:pt>
                <c:pt idx="915">
                  <c:v>76.25</c:v>
                </c:pt>
                <c:pt idx="916">
                  <c:v>76.333333333333329</c:v>
                </c:pt>
                <c:pt idx="917">
                  <c:v>76.416666666666671</c:v>
                </c:pt>
                <c:pt idx="918">
                  <c:v>76.5</c:v>
                </c:pt>
                <c:pt idx="919">
                  <c:v>76.583333333333329</c:v>
                </c:pt>
                <c:pt idx="920">
                  <c:v>76.666666666666671</c:v>
                </c:pt>
                <c:pt idx="921">
                  <c:v>76.75</c:v>
                </c:pt>
                <c:pt idx="922">
                  <c:v>76.833333333333329</c:v>
                </c:pt>
                <c:pt idx="923">
                  <c:v>76.916666666666671</c:v>
                </c:pt>
                <c:pt idx="924">
                  <c:v>77</c:v>
                </c:pt>
                <c:pt idx="925">
                  <c:v>77.083333333333329</c:v>
                </c:pt>
                <c:pt idx="926">
                  <c:v>77.166666666666671</c:v>
                </c:pt>
                <c:pt idx="927">
                  <c:v>77.25</c:v>
                </c:pt>
                <c:pt idx="928">
                  <c:v>77.333333333333329</c:v>
                </c:pt>
                <c:pt idx="929">
                  <c:v>77.416666666666671</c:v>
                </c:pt>
                <c:pt idx="930">
                  <c:v>77.5</c:v>
                </c:pt>
                <c:pt idx="931">
                  <c:v>77.583333333333329</c:v>
                </c:pt>
                <c:pt idx="932">
                  <c:v>77.666666666666671</c:v>
                </c:pt>
                <c:pt idx="933">
                  <c:v>77.75</c:v>
                </c:pt>
                <c:pt idx="934">
                  <c:v>77.833333333333329</c:v>
                </c:pt>
                <c:pt idx="935">
                  <c:v>77.916666666666671</c:v>
                </c:pt>
                <c:pt idx="936">
                  <c:v>78</c:v>
                </c:pt>
                <c:pt idx="937">
                  <c:v>78.083333333333329</c:v>
                </c:pt>
                <c:pt idx="938">
                  <c:v>78.166666666666671</c:v>
                </c:pt>
                <c:pt idx="939">
                  <c:v>78.25</c:v>
                </c:pt>
                <c:pt idx="940">
                  <c:v>78.333333333333329</c:v>
                </c:pt>
                <c:pt idx="941">
                  <c:v>78.416666666666671</c:v>
                </c:pt>
                <c:pt idx="942">
                  <c:v>78.5</c:v>
                </c:pt>
                <c:pt idx="943">
                  <c:v>78.583333333333329</c:v>
                </c:pt>
                <c:pt idx="944">
                  <c:v>78.666666666666671</c:v>
                </c:pt>
                <c:pt idx="945">
                  <c:v>78.75</c:v>
                </c:pt>
                <c:pt idx="946">
                  <c:v>78.833333333333329</c:v>
                </c:pt>
                <c:pt idx="947">
                  <c:v>78.916666666666671</c:v>
                </c:pt>
                <c:pt idx="948">
                  <c:v>79</c:v>
                </c:pt>
                <c:pt idx="949">
                  <c:v>79.083333333333329</c:v>
                </c:pt>
                <c:pt idx="950">
                  <c:v>79.166666666666671</c:v>
                </c:pt>
                <c:pt idx="951">
                  <c:v>79.25</c:v>
                </c:pt>
                <c:pt idx="952">
                  <c:v>79.333333333333329</c:v>
                </c:pt>
                <c:pt idx="953">
                  <c:v>79.416666666666671</c:v>
                </c:pt>
                <c:pt idx="954">
                  <c:v>79.5</c:v>
                </c:pt>
                <c:pt idx="955">
                  <c:v>79.583333333333329</c:v>
                </c:pt>
                <c:pt idx="956">
                  <c:v>79.666666666666671</c:v>
                </c:pt>
                <c:pt idx="957">
                  <c:v>79.75</c:v>
                </c:pt>
                <c:pt idx="958">
                  <c:v>79.833333333333329</c:v>
                </c:pt>
                <c:pt idx="959">
                  <c:v>79.916666666666671</c:v>
                </c:pt>
                <c:pt idx="960">
                  <c:v>80</c:v>
                </c:pt>
                <c:pt idx="961">
                  <c:v>80.083333333333329</c:v>
                </c:pt>
                <c:pt idx="962">
                  <c:v>80.166666666666671</c:v>
                </c:pt>
                <c:pt idx="963">
                  <c:v>80.25</c:v>
                </c:pt>
                <c:pt idx="964">
                  <c:v>80.333333333333329</c:v>
                </c:pt>
                <c:pt idx="965">
                  <c:v>80.416666666666671</c:v>
                </c:pt>
                <c:pt idx="966">
                  <c:v>80.5</c:v>
                </c:pt>
                <c:pt idx="967">
                  <c:v>80.583333333333329</c:v>
                </c:pt>
                <c:pt idx="968">
                  <c:v>80.666666666666671</c:v>
                </c:pt>
                <c:pt idx="969">
                  <c:v>80.75</c:v>
                </c:pt>
                <c:pt idx="970">
                  <c:v>80.833333333333329</c:v>
                </c:pt>
                <c:pt idx="971">
                  <c:v>80.916666666666671</c:v>
                </c:pt>
                <c:pt idx="972">
                  <c:v>81</c:v>
                </c:pt>
                <c:pt idx="973">
                  <c:v>81.083333333333329</c:v>
                </c:pt>
                <c:pt idx="974">
                  <c:v>81.166666666666671</c:v>
                </c:pt>
                <c:pt idx="975">
                  <c:v>81.25</c:v>
                </c:pt>
                <c:pt idx="976">
                  <c:v>81.333333333333329</c:v>
                </c:pt>
                <c:pt idx="977">
                  <c:v>81.416666666666671</c:v>
                </c:pt>
                <c:pt idx="978">
                  <c:v>81.5</c:v>
                </c:pt>
                <c:pt idx="979">
                  <c:v>81.583333333333329</c:v>
                </c:pt>
                <c:pt idx="980">
                  <c:v>81.666666666666671</c:v>
                </c:pt>
                <c:pt idx="981">
                  <c:v>81.75</c:v>
                </c:pt>
                <c:pt idx="982">
                  <c:v>81.833333333333329</c:v>
                </c:pt>
                <c:pt idx="983">
                  <c:v>81.916666666666671</c:v>
                </c:pt>
                <c:pt idx="984">
                  <c:v>82</c:v>
                </c:pt>
                <c:pt idx="985">
                  <c:v>82.083333333333329</c:v>
                </c:pt>
                <c:pt idx="986">
                  <c:v>82.166666666666671</c:v>
                </c:pt>
                <c:pt idx="987">
                  <c:v>82.25</c:v>
                </c:pt>
                <c:pt idx="988">
                  <c:v>82.333333333333329</c:v>
                </c:pt>
                <c:pt idx="989">
                  <c:v>82.416666666666671</c:v>
                </c:pt>
                <c:pt idx="990">
                  <c:v>82.5</c:v>
                </c:pt>
                <c:pt idx="991">
                  <c:v>82.583333333333329</c:v>
                </c:pt>
                <c:pt idx="992">
                  <c:v>82.666666666666671</c:v>
                </c:pt>
                <c:pt idx="993">
                  <c:v>82.75</c:v>
                </c:pt>
                <c:pt idx="994">
                  <c:v>82.833333333333329</c:v>
                </c:pt>
                <c:pt idx="995">
                  <c:v>82.916666666666671</c:v>
                </c:pt>
                <c:pt idx="996">
                  <c:v>83</c:v>
                </c:pt>
                <c:pt idx="997">
                  <c:v>83.083333333333329</c:v>
                </c:pt>
                <c:pt idx="998">
                  <c:v>83.166666666666671</c:v>
                </c:pt>
                <c:pt idx="999">
                  <c:v>83.25</c:v>
                </c:pt>
                <c:pt idx="1000">
                  <c:v>83.333333333333329</c:v>
                </c:pt>
                <c:pt idx="1001">
                  <c:v>83.416666666666671</c:v>
                </c:pt>
                <c:pt idx="1002">
                  <c:v>83.5</c:v>
                </c:pt>
                <c:pt idx="1003">
                  <c:v>83.583333333333329</c:v>
                </c:pt>
                <c:pt idx="1004">
                  <c:v>83.666666666666671</c:v>
                </c:pt>
                <c:pt idx="1005">
                  <c:v>83.75</c:v>
                </c:pt>
                <c:pt idx="1006">
                  <c:v>83.833333333333329</c:v>
                </c:pt>
                <c:pt idx="1007">
                  <c:v>83.916666666666671</c:v>
                </c:pt>
                <c:pt idx="1008">
                  <c:v>84</c:v>
                </c:pt>
                <c:pt idx="1009">
                  <c:v>84.083333333333329</c:v>
                </c:pt>
                <c:pt idx="1010">
                  <c:v>84.166666666666671</c:v>
                </c:pt>
                <c:pt idx="1011">
                  <c:v>84.25</c:v>
                </c:pt>
                <c:pt idx="1012">
                  <c:v>84.333333333333329</c:v>
                </c:pt>
                <c:pt idx="1013">
                  <c:v>84.416666666666671</c:v>
                </c:pt>
                <c:pt idx="1014">
                  <c:v>84.5</c:v>
                </c:pt>
                <c:pt idx="1015">
                  <c:v>84.583333333333329</c:v>
                </c:pt>
                <c:pt idx="1016">
                  <c:v>84.666666666666671</c:v>
                </c:pt>
                <c:pt idx="1017">
                  <c:v>84.75</c:v>
                </c:pt>
                <c:pt idx="1018">
                  <c:v>84.833333333333329</c:v>
                </c:pt>
                <c:pt idx="1019">
                  <c:v>84.916666666666671</c:v>
                </c:pt>
                <c:pt idx="1020">
                  <c:v>85</c:v>
                </c:pt>
                <c:pt idx="1021">
                  <c:v>85.083333333333329</c:v>
                </c:pt>
                <c:pt idx="1022">
                  <c:v>85.166666666666671</c:v>
                </c:pt>
                <c:pt idx="1023">
                  <c:v>85.25</c:v>
                </c:pt>
                <c:pt idx="1024">
                  <c:v>85.333333333333329</c:v>
                </c:pt>
                <c:pt idx="1025">
                  <c:v>85.416666666666671</c:v>
                </c:pt>
                <c:pt idx="1026">
                  <c:v>85.5</c:v>
                </c:pt>
                <c:pt idx="1027">
                  <c:v>85.583333333333329</c:v>
                </c:pt>
                <c:pt idx="1028">
                  <c:v>85.666666666666671</c:v>
                </c:pt>
                <c:pt idx="1029">
                  <c:v>85.75</c:v>
                </c:pt>
                <c:pt idx="1030">
                  <c:v>85.833333333333329</c:v>
                </c:pt>
                <c:pt idx="1031">
                  <c:v>85.916666666666671</c:v>
                </c:pt>
                <c:pt idx="1032">
                  <c:v>86</c:v>
                </c:pt>
                <c:pt idx="1033">
                  <c:v>86.083333333333329</c:v>
                </c:pt>
                <c:pt idx="1034">
                  <c:v>86.166666666666671</c:v>
                </c:pt>
                <c:pt idx="1035">
                  <c:v>86.25</c:v>
                </c:pt>
                <c:pt idx="1036">
                  <c:v>86.333333333333329</c:v>
                </c:pt>
                <c:pt idx="1037">
                  <c:v>86.416666666666671</c:v>
                </c:pt>
                <c:pt idx="1038">
                  <c:v>86.5</c:v>
                </c:pt>
                <c:pt idx="1039">
                  <c:v>86.583333333333329</c:v>
                </c:pt>
                <c:pt idx="1040">
                  <c:v>86.666666666666671</c:v>
                </c:pt>
                <c:pt idx="1041">
                  <c:v>86.75</c:v>
                </c:pt>
                <c:pt idx="1042">
                  <c:v>86.833333333333329</c:v>
                </c:pt>
                <c:pt idx="1043">
                  <c:v>86.916666666666671</c:v>
                </c:pt>
                <c:pt idx="1044">
                  <c:v>87</c:v>
                </c:pt>
                <c:pt idx="1045">
                  <c:v>87.083333333333329</c:v>
                </c:pt>
                <c:pt idx="1046">
                  <c:v>87.166666666666671</c:v>
                </c:pt>
                <c:pt idx="1047">
                  <c:v>87.25</c:v>
                </c:pt>
                <c:pt idx="1048">
                  <c:v>87.333333333333329</c:v>
                </c:pt>
                <c:pt idx="1049">
                  <c:v>87.416666666666671</c:v>
                </c:pt>
                <c:pt idx="1050">
                  <c:v>87.5</c:v>
                </c:pt>
                <c:pt idx="1051">
                  <c:v>87.583333333333329</c:v>
                </c:pt>
                <c:pt idx="1052">
                  <c:v>87.666666666666671</c:v>
                </c:pt>
                <c:pt idx="1053">
                  <c:v>87.75</c:v>
                </c:pt>
                <c:pt idx="1054">
                  <c:v>87.833333333333329</c:v>
                </c:pt>
                <c:pt idx="1055">
                  <c:v>87.916666666666671</c:v>
                </c:pt>
                <c:pt idx="1056">
                  <c:v>88</c:v>
                </c:pt>
                <c:pt idx="1057">
                  <c:v>88.083333333333329</c:v>
                </c:pt>
                <c:pt idx="1058">
                  <c:v>88.166666666666671</c:v>
                </c:pt>
                <c:pt idx="1059">
                  <c:v>88.25</c:v>
                </c:pt>
                <c:pt idx="1060">
                  <c:v>88.333333333333329</c:v>
                </c:pt>
                <c:pt idx="1061">
                  <c:v>88.416666666666671</c:v>
                </c:pt>
                <c:pt idx="1062">
                  <c:v>88.5</c:v>
                </c:pt>
                <c:pt idx="1063">
                  <c:v>88.583333333333329</c:v>
                </c:pt>
                <c:pt idx="1064">
                  <c:v>88.666666666666671</c:v>
                </c:pt>
                <c:pt idx="1065">
                  <c:v>88.75</c:v>
                </c:pt>
                <c:pt idx="1066">
                  <c:v>88.833333333333329</c:v>
                </c:pt>
                <c:pt idx="1067">
                  <c:v>88.916666666666671</c:v>
                </c:pt>
                <c:pt idx="1068">
                  <c:v>89</c:v>
                </c:pt>
                <c:pt idx="1069">
                  <c:v>89.083333333333329</c:v>
                </c:pt>
                <c:pt idx="1070">
                  <c:v>89.166666666666671</c:v>
                </c:pt>
                <c:pt idx="1071">
                  <c:v>89.25</c:v>
                </c:pt>
                <c:pt idx="1072">
                  <c:v>89.333333333333329</c:v>
                </c:pt>
                <c:pt idx="1073">
                  <c:v>89.416666666666671</c:v>
                </c:pt>
                <c:pt idx="1074">
                  <c:v>89.5</c:v>
                </c:pt>
                <c:pt idx="1075">
                  <c:v>89.583333333333329</c:v>
                </c:pt>
                <c:pt idx="1076">
                  <c:v>89.666666666666671</c:v>
                </c:pt>
                <c:pt idx="1077">
                  <c:v>89.75</c:v>
                </c:pt>
                <c:pt idx="1078">
                  <c:v>89.833333333333329</c:v>
                </c:pt>
                <c:pt idx="1079">
                  <c:v>89.916666666666671</c:v>
                </c:pt>
                <c:pt idx="1080">
                  <c:v>90</c:v>
                </c:pt>
                <c:pt idx="1081">
                  <c:v>90.083333333333329</c:v>
                </c:pt>
                <c:pt idx="1082">
                  <c:v>90.166666666666671</c:v>
                </c:pt>
                <c:pt idx="1083">
                  <c:v>90.25</c:v>
                </c:pt>
                <c:pt idx="1084">
                  <c:v>90.333333333333329</c:v>
                </c:pt>
                <c:pt idx="1085">
                  <c:v>90.416666666666671</c:v>
                </c:pt>
                <c:pt idx="1086">
                  <c:v>90.5</c:v>
                </c:pt>
                <c:pt idx="1087">
                  <c:v>90.583333333333329</c:v>
                </c:pt>
                <c:pt idx="1088">
                  <c:v>90.666666666666671</c:v>
                </c:pt>
                <c:pt idx="1089">
                  <c:v>90.75</c:v>
                </c:pt>
                <c:pt idx="1090">
                  <c:v>90.833333333333329</c:v>
                </c:pt>
                <c:pt idx="1091">
                  <c:v>90.916666666666671</c:v>
                </c:pt>
                <c:pt idx="1092">
                  <c:v>91</c:v>
                </c:pt>
                <c:pt idx="1093">
                  <c:v>91.083333333333329</c:v>
                </c:pt>
                <c:pt idx="1094">
                  <c:v>91.166666666666671</c:v>
                </c:pt>
                <c:pt idx="1095">
                  <c:v>91.25</c:v>
                </c:pt>
                <c:pt idx="1096">
                  <c:v>91.333333333333329</c:v>
                </c:pt>
                <c:pt idx="1097">
                  <c:v>91.416666666666671</c:v>
                </c:pt>
                <c:pt idx="1098">
                  <c:v>91.5</c:v>
                </c:pt>
                <c:pt idx="1099">
                  <c:v>91.583333333333329</c:v>
                </c:pt>
                <c:pt idx="1100">
                  <c:v>91.666666666666671</c:v>
                </c:pt>
                <c:pt idx="1101">
                  <c:v>91.75</c:v>
                </c:pt>
                <c:pt idx="1102">
                  <c:v>91.833333333333329</c:v>
                </c:pt>
                <c:pt idx="1103">
                  <c:v>91.916666666666671</c:v>
                </c:pt>
                <c:pt idx="1104">
                  <c:v>92</c:v>
                </c:pt>
                <c:pt idx="1105">
                  <c:v>92.083333333333329</c:v>
                </c:pt>
                <c:pt idx="1106">
                  <c:v>92.166666666666671</c:v>
                </c:pt>
                <c:pt idx="1107">
                  <c:v>92.25</c:v>
                </c:pt>
                <c:pt idx="1108">
                  <c:v>92.333333333333329</c:v>
                </c:pt>
                <c:pt idx="1109">
                  <c:v>92.416666666666671</c:v>
                </c:pt>
                <c:pt idx="1110">
                  <c:v>92.5</c:v>
                </c:pt>
                <c:pt idx="1111">
                  <c:v>92.583333333333329</c:v>
                </c:pt>
                <c:pt idx="1112">
                  <c:v>92.666666666666671</c:v>
                </c:pt>
                <c:pt idx="1113">
                  <c:v>92.75</c:v>
                </c:pt>
                <c:pt idx="1114">
                  <c:v>92.833333333333329</c:v>
                </c:pt>
                <c:pt idx="1115">
                  <c:v>92.916666666666671</c:v>
                </c:pt>
                <c:pt idx="1116">
                  <c:v>93</c:v>
                </c:pt>
                <c:pt idx="1117">
                  <c:v>93.083333333333329</c:v>
                </c:pt>
                <c:pt idx="1118">
                  <c:v>93.166666666666671</c:v>
                </c:pt>
                <c:pt idx="1119">
                  <c:v>93.25</c:v>
                </c:pt>
                <c:pt idx="1120">
                  <c:v>93.333333333333329</c:v>
                </c:pt>
                <c:pt idx="1121">
                  <c:v>93.416666666666671</c:v>
                </c:pt>
                <c:pt idx="1122">
                  <c:v>93.5</c:v>
                </c:pt>
                <c:pt idx="1123">
                  <c:v>93.583333333333329</c:v>
                </c:pt>
                <c:pt idx="1124">
                  <c:v>93.666666666666671</c:v>
                </c:pt>
                <c:pt idx="1125">
                  <c:v>93.75</c:v>
                </c:pt>
                <c:pt idx="1126">
                  <c:v>93.833333333333329</c:v>
                </c:pt>
                <c:pt idx="1127">
                  <c:v>93.916666666666671</c:v>
                </c:pt>
                <c:pt idx="1128">
                  <c:v>94</c:v>
                </c:pt>
                <c:pt idx="1129">
                  <c:v>94.083333333333329</c:v>
                </c:pt>
                <c:pt idx="1130">
                  <c:v>94.166666666666671</c:v>
                </c:pt>
                <c:pt idx="1131">
                  <c:v>94.25</c:v>
                </c:pt>
                <c:pt idx="1132">
                  <c:v>94.333333333333329</c:v>
                </c:pt>
                <c:pt idx="1133">
                  <c:v>94.416666666666671</c:v>
                </c:pt>
                <c:pt idx="1134">
                  <c:v>94.5</c:v>
                </c:pt>
                <c:pt idx="1135">
                  <c:v>94.583333333333329</c:v>
                </c:pt>
                <c:pt idx="1136">
                  <c:v>94.666666666666671</c:v>
                </c:pt>
                <c:pt idx="1137">
                  <c:v>94.75</c:v>
                </c:pt>
                <c:pt idx="1138">
                  <c:v>94.833333333333329</c:v>
                </c:pt>
                <c:pt idx="1139">
                  <c:v>94.916666666666671</c:v>
                </c:pt>
                <c:pt idx="1140">
                  <c:v>95</c:v>
                </c:pt>
                <c:pt idx="1141">
                  <c:v>95.083333333333329</c:v>
                </c:pt>
                <c:pt idx="1142">
                  <c:v>95.166666666666671</c:v>
                </c:pt>
                <c:pt idx="1143">
                  <c:v>95.25</c:v>
                </c:pt>
                <c:pt idx="1144">
                  <c:v>95.333333333333329</c:v>
                </c:pt>
                <c:pt idx="1145">
                  <c:v>95.416666666666671</c:v>
                </c:pt>
                <c:pt idx="1146">
                  <c:v>95.5</c:v>
                </c:pt>
                <c:pt idx="1147">
                  <c:v>95.583333333333329</c:v>
                </c:pt>
                <c:pt idx="1148">
                  <c:v>95.666666666666671</c:v>
                </c:pt>
                <c:pt idx="1149">
                  <c:v>95.75</c:v>
                </c:pt>
                <c:pt idx="1150">
                  <c:v>95.833333333333329</c:v>
                </c:pt>
                <c:pt idx="1151">
                  <c:v>95.916666666666671</c:v>
                </c:pt>
                <c:pt idx="1152">
                  <c:v>96</c:v>
                </c:pt>
                <c:pt idx="1153">
                  <c:v>96.083333333333329</c:v>
                </c:pt>
                <c:pt idx="1154">
                  <c:v>96.166666666666671</c:v>
                </c:pt>
                <c:pt idx="1155">
                  <c:v>96.25</c:v>
                </c:pt>
                <c:pt idx="1156">
                  <c:v>96.333333333333329</c:v>
                </c:pt>
                <c:pt idx="1157">
                  <c:v>96.416666666666671</c:v>
                </c:pt>
                <c:pt idx="1158">
                  <c:v>96.5</c:v>
                </c:pt>
                <c:pt idx="1159">
                  <c:v>96.583333333333329</c:v>
                </c:pt>
                <c:pt idx="1160">
                  <c:v>96.666666666666671</c:v>
                </c:pt>
                <c:pt idx="1161">
                  <c:v>96.75</c:v>
                </c:pt>
                <c:pt idx="1162">
                  <c:v>96.833333333333329</c:v>
                </c:pt>
                <c:pt idx="1163">
                  <c:v>96.916666666666671</c:v>
                </c:pt>
                <c:pt idx="1164">
                  <c:v>97</c:v>
                </c:pt>
                <c:pt idx="1165">
                  <c:v>97.083333333333329</c:v>
                </c:pt>
                <c:pt idx="1166">
                  <c:v>97.166666666666671</c:v>
                </c:pt>
                <c:pt idx="1167">
                  <c:v>97.25</c:v>
                </c:pt>
                <c:pt idx="1168">
                  <c:v>97.333333333333329</c:v>
                </c:pt>
                <c:pt idx="1169">
                  <c:v>97.416666666666671</c:v>
                </c:pt>
                <c:pt idx="1170">
                  <c:v>97.5</c:v>
                </c:pt>
                <c:pt idx="1171">
                  <c:v>97.583333333333329</c:v>
                </c:pt>
                <c:pt idx="1172">
                  <c:v>97.666666666666671</c:v>
                </c:pt>
                <c:pt idx="1173">
                  <c:v>97.75</c:v>
                </c:pt>
                <c:pt idx="1174">
                  <c:v>97.833333333333329</c:v>
                </c:pt>
                <c:pt idx="1175">
                  <c:v>97.916666666666671</c:v>
                </c:pt>
                <c:pt idx="1176">
                  <c:v>98</c:v>
                </c:pt>
              </c:numCache>
            </c:numRef>
          </c:cat>
          <c:val>
            <c:numRef>
              <c:f>データ!$H$4:$H$1180</c:f>
              <c:numCache>
                <c:formatCode>General</c:formatCode>
                <c:ptCount val="1177"/>
                <c:pt idx="0">
                  <c:v>24.3</c:v>
                </c:pt>
                <c:pt idx="1">
                  <c:v>24.6</c:v>
                </c:pt>
                <c:pt idx="2">
                  <c:v>25.2</c:v>
                </c:pt>
                <c:pt idx="3">
                  <c:v>28.6</c:v>
                </c:pt>
                <c:pt idx="4">
                  <c:v>33</c:v>
                </c:pt>
                <c:pt idx="5">
                  <c:v>35</c:v>
                </c:pt>
                <c:pt idx="6">
                  <c:v>35.299999999999997</c:v>
                </c:pt>
                <c:pt idx="7">
                  <c:v>35</c:v>
                </c:pt>
                <c:pt idx="8">
                  <c:v>34.799999999999997</c:v>
                </c:pt>
                <c:pt idx="9">
                  <c:v>34.799999999999997</c:v>
                </c:pt>
                <c:pt idx="10">
                  <c:v>34.799999999999997</c:v>
                </c:pt>
                <c:pt idx="11">
                  <c:v>34.9</c:v>
                </c:pt>
                <c:pt idx="12">
                  <c:v>34.9</c:v>
                </c:pt>
                <c:pt idx="13">
                  <c:v>34.9</c:v>
                </c:pt>
                <c:pt idx="14">
                  <c:v>34.9</c:v>
                </c:pt>
                <c:pt idx="15">
                  <c:v>35</c:v>
                </c:pt>
                <c:pt idx="16">
                  <c:v>35</c:v>
                </c:pt>
                <c:pt idx="17">
                  <c:v>35</c:v>
                </c:pt>
                <c:pt idx="18">
                  <c:v>35</c:v>
                </c:pt>
                <c:pt idx="19">
                  <c:v>35</c:v>
                </c:pt>
                <c:pt idx="20">
                  <c:v>34.9</c:v>
                </c:pt>
                <c:pt idx="21">
                  <c:v>34.799999999999997</c:v>
                </c:pt>
                <c:pt idx="22">
                  <c:v>34.9</c:v>
                </c:pt>
                <c:pt idx="23">
                  <c:v>35</c:v>
                </c:pt>
                <c:pt idx="24">
                  <c:v>35</c:v>
                </c:pt>
                <c:pt idx="25">
                  <c:v>35</c:v>
                </c:pt>
                <c:pt idx="26">
                  <c:v>35</c:v>
                </c:pt>
                <c:pt idx="27">
                  <c:v>35</c:v>
                </c:pt>
                <c:pt idx="28">
                  <c:v>35</c:v>
                </c:pt>
                <c:pt idx="29">
                  <c:v>35</c:v>
                </c:pt>
                <c:pt idx="30">
                  <c:v>35</c:v>
                </c:pt>
                <c:pt idx="31">
                  <c:v>35</c:v>
                </c:pt>
                <c:pt idx="32">
                  <c:v>35</c:v>
                </c:pt>
                <c:pt idx="33">
                  <c:v>35</c:v>
                </c:pt>
                <c:pt idx="34">
                  <c:v>35</c:v>
                </c:pt>
                <c:pt idx="35">
                  <c:v>34.9</c:v>
                </c:pt>
                <c:pt idx="36">
                  <c:v>35</c:v>
                </c:pt>
                <c:pt idx="37">
                  <c:v>35</c:v>
                </c:pt>
                <c:pt idx="38">
                  <c:v>35</c:v>
                </c:pt>
                <c:pt idx="39">
                  <c:v>34.9</c:v>
                </c:pt>
                <c:pt idx="40">
                  <c:v>34.9</c:v>
                </c:pt>
                <c:pt idx="41">
                  <c:v>34.9</c:v>
                </c:pt>
                <c:pt idx="42">
                  <c:v>35</c:v>
                </c:pt>
                <c:pt idx="43">
                  <c:v>35</c:v>
                </c:pt>
                <c:pt idx="44">
                  <c:v>35</c:v>
                </c:pt>
                <c:pt idx="45">
                  <c:v>34.9</c:v>
                </c:pt>
                <c:pt idx="46">
                  <c:v>34.9</c:v>
                </c:pt>
                <c:pt idx="47">
                  <c:v>34.9</c:v>
                </c:pt>
                <c:pt idx="48">
                  <c:v>34.9</c:v>
                </c:pt>
                <c:pt idx="49">
                  <c:v>34.9</c:v>
                </c:pt>
                <c:pt idx="50">
                  <c:v>34.9</c:v>
                </c:pt>
                <c:pt idx="51">
                  <c:v>34.9</c:v>
                </c:pt>
                <c:pt idx="52">
                  <c:v>34.9</c:v>
                </c:pt>
                <c:pt idx="53">
                  <c:v>34.9</c:v>
                </c:pt>
                <c:pt idx="54">
                  <c:v>34.9</c:v>
                </c:pt>
                <c:pt idx="55">
                  <c:v>34.9</c:v>
                </c:pt>
                <c:pt idx="56">
                  <c:v>34.9</c:v>
                </c:pt>
                <c:pt idx="57">
                  <c:v>34.9</c:v>
                </c:pt>
                <c:pt idx="58">
                  <c:v>35</c:v>
                </c:pt>
                <c:pt idx="59">
                  <c:v>35</c:v>
                </c:pt>
                <c:pt idx="60">
                  <c:v>35</c:v>
                </c:pt>
                <c:pt idx="61">
                  <c:v>35</c:v>
                </c:pt>
                <c:pt idx="62">
                  <c:v>35</c:v>
                </c:pt>
                <c:pt idx="63">
                  <c:v>35</c:v>
                </c:pt>
                <c:pt idx="64">
                  <c:v>35</c:v>
                </c:pt>
                <c:pt idx="65">
                  <c:v>35</c:v>
                </c:pt>
                <c:pt idx="66">
                  <c:v>35</c:v>
                </c:pt>
                <c:pt idx="67">
                  <c:v>35</c:v>
                </c:pt>
                <c:pt idx="68">
                  <c:v>35</c:v>
                </c:pt>
                <c:pt idx="69">
                  <c:v>35</c:v>
                </c:pt>
                <c:pt idx="70">
                  <c:v>35</c:v>
                </c:pt>
                <c:pt idx="71">
                  <c:v>35</c:v>
                </c:pt>
                <c:pt idx="72">
                  <c:v>35</c:v>
                </c:pt>
                <c:pt idx="73">
                  <c:v>35</c:v>
                </c:pt>
                <c:pt idx="74">
                  <c:v>35</c:v>
                </c:pt>
                <c:pt idx="75">
                  <c:v>35</c:v>
                </c:pt>
                <c:pt idx="76">
                  <c:v>35</c:v>
                </c:pt>
                <c:pt idx="77">
                  <c:v>35</c:v>
                </c:pt>
                <c:pt idx="78">
                  <c:v>35</c:v>
                </c:pt>
                <c:pt idx="79">
                  <c:v>35</c:v>
                </c:pt>
                <c:pt idx="80">
                  <c:v>35</c:v>
                </c:pt>
                <c:pt idx="81">
                  <c:v>35</c:v>
                </c:pt>
                <c:pt idx="82">
                  <c:v>35</c:v>
                </c:pt>
                <c:pt idx="83">
                  <c:v>35</c:v>
                </c:pt>
                <c:pt idx="84">
                  <c:v>35</c:v>
                </c:pt>
                <c:pt idx="85">
                  <c:v>35</c:v>
                </c:pt>
                <c:pt idx="86">
                  <c:v>35</c:v>
                </c:pt>
                <c:pt idx="87">
                  <c:v>35</c:v>
                </c:pt>
                <c:pt idx="88">
                  <c:v>35</c:v>
                </c:pt>
                <c:pt idx="89">
                  <c:v>35</c:v>
                </c:pt>
                <c:pt idx="90">
                  <c:v>35</c:v>
                </c:pt>
                <c:pt idx="91">
                  <c:v>35</c:v>
                </c:pt>
                <c:pt idx="92">
                  <c:v>35</c:v>
                </c:pt>
                <c:pt idx="93">
                  <c:v>35</c:v>
                </c:pt>
                <c:pt idx="94">
                  <c:v>35</c:v>
                </c:pt>
                <c:pt idx="95">
                  <c:v>35</c:v>
                </c:pt>
                <c:pt idx="96">
                  <c:v>35</c:v>
                </c:pt>
                <c:pt idx="97">
                  <c:v>35</c:v>
                </c:pt>
                <c:pt idx="98">
                  <c:v>35</c:v>
                </c:pt>
                <c:pt idx="99">
                  <c:v>35</c:v>
                </c:pt>
                <c:pt idx="100">
                  <c:v>35</c:v>
                </c:pt>
                <c:pt idx="101">
                  <c:v>35</c:v>
                </c:pt>
                <c:pt idx="102">
                  <c:v>35</c:v>
                </c:pt>
                <c:pt idx="103">
                  <c:v>35</c:v>
                </c:pt>
                <c:pt idx="104">
                  <c:v>35</c:v>
                </c:pt>
                <c:pt idx="105">
                  <c:v>35</c:v>
                </c:pt>
                <c:pt idx="106">
                  <c:v>35</c:v>
                </c:pt>
                <c:pt idx="107">
                  <c:v>35</c:v>
                </c:pt>
                <c:pt idx="108">
                  <c:v>35</c:v>
                </c:pt>
                <c:pt idx="109">
                  <c:v>35</c:v>
                </c:pt>
                <c:pt idx="110">
                  <c:v>35</c:v>
                </c:pt>
                <c:pt idx="111">
                  <c:v>35</c:v>
                </c:pt>
                <c:pt idx="112">
                  <c:v>35</c:v>
                </c:pt>
                <c:pt idx="113">
                  <c:v>35</c:v>
                </c:pt>
                <c:pt idx="114">
                  <c:v>35</c:v>
                </c:pt>
                <c:pt idx="115">
                  <c:v>35</c:v>
                </c:pt>
                <c:pt idx="116">
                  <c:v>35</c:v>
                </c:pt>
                <c:pt idx="117">
                  <c:v>35</c:v>
                </c:pt>
                <c:pt idx="118">
                  <c:v>35</c:v>
                </c:pt>
                <c:pt idx="119">
                  <c:v>35</c:v>
                </c:pt>
                <c:pt idx="120">
                  <c:v>35</c:v>
                </c:pt>
                <c:pt idx="121">
                  <c:v>35</c:v>
                </c:pt>
                <c:pt idx="122">
                  <c:v>35</c:v>
                </c:pt>
                <c:pt idx="123">
                  <c:v>35</c:v>
                </c:pt>
                <c:pt idx="124">
                  <c:v>35</c:v>
                </c:pt>
                <c:pt idx="125">
                  <c:v>35</c:v>
                </c:pt>
                <c:pt idx="126">
                  <c:v>35</c:v>
                </c:pt>
                <c:pt idx="127">
                  <c:v>35</c:v>
                </c:pt>
                <c:pt idx="128">
                  <c:v>35</c:v>
                </c:pt>
                <c:pt idx="129">
                  <c:v>35</c:v>
                </c:pt>
                <c:pt idx="130">
                  <c:v>35</c:v>
                </c:pt>
                <c:pt idx="131">
                  <c:v>35</c:v>
                </c:pt>
                <c:pt idx="132">
                  <c:v>35</c:v>
                </c:pt>
                <c:pt idx="133">
                  <c:v>35.1</c:v>
                </c:pt>
                <c:pt idx="134">
                  <c:v>35.1</c:v>
                </c:pt>
                <c:pt idx="135">
                  <c:v>35.1</c:v>
                </c:pt>
                <c:pt idx="136">
                  <c:v>35.1</c:v>
                </c:pt>
                <c:pt idx="137">
                  <c:v>35.1</c:v>
                </c:pt>
                <c:pt idx="138">
                  <c:v>35.1</c:v>
                </c:pt>
                <c:pt idx="139">
                  <c:v>35.1</c:v>
                </c:pt>
                <c:pt idx="140">
                  <c:v>35.1</c:v>
                </c:pt>
                <c:pt idx="141">
                  <c:v>35.1</c:v>
                </c:pt>
                <c:pt idx="142">
                  <c:v>35.1</c:v>
                </c:pt>
                <c:pt idx="143">
                  <c:v>35.1</c:v>
                </c:pt>
                <c:pt idx="144">
                  <c:v>35.1</c:v>
                </c:pt>
                <c:pt idx="145">
                  <c:v>35.1</c:v>
                </c:pt>
                <c:pt idx="146">
                  <c:v>35.1</c:v>
                </c:pt>
                <c:pt idx="147">
                  <c:v>35.1</c:v>
                </c:pt>
                <c:pt idx="148">
                  <c:v>35</c:v>
                </c:pt>
                <c:pt idx="149">
                  <c:v>35</c:v>
                </c:pt>
                <c:pt idx="150">
                  <c:v>35</c:v>
                </c:pt>
                <c:pt idx="151">
                  <c:v>35</c:v>
                </c:pt>
                <c:pt idx="152">
                  <c:v>35</c:v>
                </c:pt>
                <c:pt idx="153">
                  <c:v>35</c:v>
                </c:pt>
                <c:pt idx="154">
                  <c:v>35</c:v>
                </c:pt>
                <c:pt idx="155">
                  <c:v>35</c:v>
                </c:pt>
                <c:pt idx="156">
                  <c:v>35</c:v>
                </c:pt>
                <c:pt idx="157">
                  <c:v>35</c:v>
                </c:pt>
                <c:pt idx="158">
                  <c:v>35</c:v>
                </c:pt>
                <c:pt idx="159">
                  <c:v>35</c:v>
                </c:pt>
                <c:pt idx="160">
                  <c:v>35</c:v>
                </c:pt>
                <c:pt idx="161">
                  <c:v>35</c:v>
                </c:pt>
                <c:pt idx="162">
                  <c:v>35</c:v>
                </c:pt>
                <c:pt idx="163">
                  <c:v>35</c:v>
                </c:pt>
                <c:pt idx="164">
                  <c:v>35</c:v>
                </c:pt>
                <c:pt idx="165">
                  <c:v>35</c:v>
                </c:pt>
                <c:pt idx="166">
                  <c:v>35</c:v>
                </c:pt>
                <c:pt idx="167">
                  <c:v>35</c:v>
                </c:pt>
                <c:pt idx="168">
                  <c:v>34.799999999999997</c:v>
                </c:pt>
                <c:pt idx="169">
                  <c:v>34.799999999999997</c:v>
                </c:pt>
                <c:pt idx="170">
                  <c:v>34.799999999999997</c:v>
                </c:pt>
                <c:pt idx="171">
                  <c:v>34.799999999999997</c:v>
                </c:pt>
                <c:pt idx="172">
                  <c:v>34.799999999999997</c:v>
                </c:pt>
                <c:pt idx="173">
                  <c:v>34.799999999999997</c:v>
                </c:pt>
                <c:pt idx="174">
                  <c:v>34.799999999999997</c:v>
                </c:pt>
                <c:pt idx="175">
                  <c:v>34.799999999999997</c:v>
                </c:pt>
                <c:pt idx="176">
                  <c:v>34.799999999999997</c:v>
                </c:pt>
                <c:pt idx="177">
                  <c:v>34.799999999999997</c:v>
                </c:pt>
                <c:pt idx="178">
                  <c:v>34.799999999999997</c:v>
                </c:pt>
                <c:pt idx="179">
                  <c:v>34.799999999999997</c:v>
                </c:pt>
                <c:pt idx="180">
                  <c:v>34.799999999999997</c:v>
                </c:pt>
                <c:pt idx="181">
                  <c:v>34.799999999999997</c:v>
                </c:pt>
                <c:pt idx="182">
                  <c:v>34.799999999999997</c:v>
                </c:pt>
                <c:pt idx="183">
                  <c:v>34.799999999999997</c:v>
                </c:pt>
                <c:pt idx="184">
                  <c:v>34.799999999999997</c:v>
                </c:pt>
                <c:pt idx="185">
                  <c:v>34.799999999999997</c:v>
                </c:pt>
                <c:pt idx="186">
                  <c:v>34.799999999999997</c:v>
                </c:pt>
                <c:pt idx="187">
                  <c:v>34.799999999999997</c:v>
                </c:pt>
                <c:pt idx="188">
                  <c:v>34.799999999999997</c:v>
                </c:pt>
                <c:pt idx="189">
                  <c:v>34.799999999999997</c:v>
                </c:pt>
                <c:pt idx="190">
                  <c:v>34.799999999999997</c:v>
                </c:pt>
                <c:pt idx="191">
                  <c:v>34.799999999999997</c:v>
                </c:pt>
                <c:pt idx="192">
                  <c:v>34.799999999999997</c:v>
                </c:pt>
                <c:pt idx="193">
                  <c:v>34.799999999999997</c:v>
                </c:pt>
                <c:pt idx="194">
                  <c:v>34.799999999999997</c:v>
                </c:pt>
                <c:pt idx="195">
                  <c:v>34.799999999999997</c:v>
                </c:pt>
                <c:pt idx="196">
                  <c:v>34.799999999999997</c:v>
                </c:pt>
                <c:pt idx="197">
                  <c:v>34.799999999999997</c:v>
                </c:pt>
                <c:pt idx="198">
                  <c:v>34.799999999999997</c:v>
                </c:pt>
                <c:pt idx="199">
                  <c:v>34.799999999999997</c:v>
                </c:pt>
                <c:pt idx="200">
                  <c:v>34.799999999999997</c:v>
                </c:pt>
                <c:pt idx="201">
                  <c:v>34.799999999999997</c:v>
                </c:pt>
                <c:pt idx="202">
                  <c:v>34.799999999999997</c:v>
                </c:pt>
                <c:pt idx="203">
                  <c:v>34.799999999999997</c:v>
                </c:pt>
                <c:pt idx="204">
                  <c:v>34.799999999999997</c:v>
                </c:pt>
                <c:pt idx="205">
                  <c:v>34.799999999999997</c:v>
                </c:pt>
                <c:pt idx="206">
                  <c:v>34.799999999999997</c:v>
                </c:pt>
                <c:pt idx="207">
                  <c:v>34.799999999999997</c:v>
                </c:pt>
                <c:pt idx="208">
                  <c:v>34.799999999999997</c:v>
                </c:pt>
                <c:pt idx="209">
                  <c:v>34.799999999999997</c:v>
                </c:pt>
                <c:pt idx="210">
                  <c:v>34.799999999999997</c:v>
                </c:pt>
                <c:pt idx="211">
                  <c:v>34.799999999999997</c:v>
                </c:pt>
                <c:pt idx="212">
                  <c:v>34.799999999999997</c:v>
                </c:pt>
                <c:pt idx="213">
                  <c:v>34.799999999999997</c:v>
                </c:pt>
                <c:pt idx="214">
                  <c:v>34.799999999999997</c:v>
                </c:pt>
                <c:pt idx="215">
                  <c:v>34.799999999999997</c:v>
                </c:pt>
                <c:pt idx="216">
                  <c:v>34.799999999999997</c:v>
                </c:pt>
                <c:pt idx="217">
                  <c:v>34.799999999999997</c:v>
                </c:pt>
                <c:pt idx="218">
                  <c:v>34.799999999999997</c:v>
                </c:pt>
                <c:pt idx="219">
                  <c:v>34.799999999999997</c:v>
                </c:pt>
                <c:pt idx="220">
                  <c:v>34.799999999999997</c:v>
                </c:pt>
                <c:pt idx="221">
                  <c:v>34.799999999999997</c:v>
                </c:pt>
                <c:pt idx="222">
                  <c:v>34.799999999999997</c:v>
                </c:pt>
                <c:pt idx="223">
                  <c:v>34.799999999999997</c:v>
                </c:pt>
                <c:pt idx="224">
                  <c:v>34.799999999999997</c:v>
                </c:pt>
                <c:pt idx="225">
                  <c:v>34.799999999999997</c:v>
                </c:pt>
                <c:pt idx="226">
                  <c:v>34.799999999999997</c:v>
                </c:pt>
                <c:pt idx="227">
                  <c:v>34.9</c:v>
                </c:pt>
                <c:pt idx="228">
                  <c:v>34.9</c:v>
                </c:pt>
                <c:pt idx="229">
                  <c:v>34.9</c:v>
                </c:pt>
                <c:pt idx="230">
                  <c:v>34.9</c:v>
                </c:pt>
                <c:pt idx="231">
                  <c:v>34.799999999999997</c:v>
                </c:pt>
                <c:pt idx="232">
                  <c:v>34.799999999999997</c:v>
                </c:pt>
                <c:pt idx="233">
                  <c:v>34.799999999999997</c:v>
                </c:pt>
                <c:pt idx="234">
                  <c:v>34.799999999999997</c:v>
                </c:pt>
                <c:pt idx="235">
                  <c:v>34.799999999999997</c:v>
                </c:pt>
                <c:pt idx="236">
                  <c:v>34.799999999999997</c:v>
                </c:pt>
                <c:pt idx="237">
                  <c:v>34.799999999999997</c:v>
                </c:pt>
                <c:pt idx="238">
                  <c:v>34.799999999999997</c:v>
                </c:pt>
                <c:pt idx="239">
                  <c:v>34.799999999999997</c:v>
                </c:pt>
                <c:pt idx="240">
                  <c:v>34.799999999999997</c:v>
                </c:pt>
                <c:pt idx="241">
                  <c:v>34.799999999999997</c:v>
                </c:pt>
                <c:pt idx="242">
                  <c:v>34.799999999999997</c:v>
                </c:pt>
                <c:pt idx="243">
                  <c:v>34.799999999999997</c:v>
                </c:pt>
                <c:pt idx="244">
                  <c:v>34.799999999999997</c:v>
                </c:pt>
                <c:pt idx="245">
                  <c:v>34.799999999999997</c:v>
                </c:pt>
                <c:pt idx="246">
                  <c:v>34.799999999999997</c:v>
                </c:pt>
                <c:pt idx="247">
                  <c:v>34.799999999999997</c:v>
                </c:pt>
                <c:pt idx="248">
                  <c:v>34.799999999999997</c:v>
                </c:pt>
                <c:pt idx="249">
                  <c:v>34.799999999999997</c:v>
                </c:pt>
                <c:pt idx="250">
                  <c:v>34.799999999999997</c:v>
                </c:pt>
                <c:pt idx="251">
                  <c:v>34.799999999999997</c:v>
                </c:pt>
                <c:pt idx="252">
                  <c:v>34.799999999999997</c:v>
                </c:pt>
                <c:pt idx="253">
                  <c:v>34.799999999999997</c:v>
                </c:pt>
                <c:pt idx="254">
                  <c:v>34.799999999999997</c:v>
                </c:pt>
                <c:pt idx="255">
                  <c:v>34.799999999999997</c:v>
                </c:pt>
                <c:pt idx="256">
                  <c:v>34.799999999999997</c:v>
                </c:pt>
                <c:pt idx="257">
                  <c:v>34.799999999999997</c:v>
                </c:pt>
                <c:pt idx="258">
                  <c:v>34.799999999999997</c:v>
                </c:pt>
                <c:pt idx="259">
                  <c:v>34.799999999999997</c:v>
                </c:pt>
                <c:pt idx="260">
                  <c:v>34.799999999999997</c:v>
                </c:pt>
                <c:pt idx="261">
                  <c:v>34.799999999999997</c:v>
                </c:pt>
                <c:pt idx="262">
                  <c:v>34.799999999999997</c:v>
                </c:pt>
                <c:pt idx="263">
                  <c:v>34.799999999999997</c:v>
                </c:pt>
                <c:pt idx="264">
                  <c:v>34.799999999999997</c:v>
                </c:pt>
                <c:pt idx="265">
                  <c:v>34.799999999999997</c:v>
                </c:pt>
                <c:pt idx="266">
                  <c:v>34.799999999999997</c:v>
                </c:pt>
                <c:pt idx="267">
                  <c:v>34.799999999999997</c:v>
                </c:pt>
                <c:pt idx="268">
                  <c:v>34.799999999999997</c:v>
                </c:pt>
                <c:pt idx="269">
                  <c:v>34.799999999999997</c:v>
                </c:pt>
                <c:pt idx="270">
                  <c:v>34.799999999999997</c:v>
                </c:pt>
                <c:pt idx="271">
                  <c:v>34.799999999999997</c:v>
                </c:pt>
                <c:pt idx="272">
                  <c:v>34.799999999999997</c:v>
                </c:pt>
                <c:pt idx="273">
                  <c:v>34.799999999999997</c:v>
                </c:pt>
                <c:pt idx="274">
                  <c:v>34.799999999999997</c:v>
                </c:pt>
                <c:pt idx="275">
                  <c:v>34.799999999999997</c:v>
                </c:pt>
                <c:pt idx="276">
                  <c:v>34.799999999999997</c:v>
                </c:pt>
                <c:pt idx="277">
                  <c:v>34.799999999999997</c:v>
                </c:pt>
                <c:pt idx="278">
                  <c:v>34.9</c:v>
                </c:pt>
                <c:pt idx="279">
                  <c:v>34.9</c:v>
                </c:pt>
                <c:pt idx="280">
                  <c:v>34.9</c:v>
                </c:pt>
                <c:pt idx="281">
                  <c:v>34.9</c:v>
                </c:pt>
                <c:pt idx="282">
                  <c:v>34.9</c:v>
                </c:pt>
                <c:pt idx="283">
                  <c:v>34.799999999999997</c:v>
                </c:pt>
                <c:pt idx="284">
                  <c:v>34.799999999999997</c:v>
                </c:pt>
                <c:pt idx="285">
                  <c:v>34.799999999999997</c:v>
                </c:pt>
                <c:pt idx="286">
                  <c:v>34.799999999999997</c:v>
                </c:pt>
                <c:pt idx="287">
                  <c:v>34.799999999999997</c:v>
                </c:pt>
                <c:pt idx="288">
                  <c:v>34.799999999999997</c:v>
                </c:pt>
                <c:pt idx="289">
                  <c:v>34.9</c:v>
                </c:pt>
                <c:pt idx="290">
                  <c:v>34.9</c:v>
                </c:pt>
                <c:pt idx="291">
                  <c:v>34.9</c:v>
                </c:pt>
                <c:pt idx="292">
                  <c:v>34.9</c:v>
                </c:pt>
                <c:pt idx="293">
                  <c:v>34.9</c:v>
                </c:pt>
                <c:pt idx="294">
                  <c:v>34.9</c:v>
                </c:pt>
                <c:pt idx="295">
                  <c:v>34.9</c:v>
                </c:pt>
                <c:pt idx="296">
                  <c:v>34.799999999999997</c:v>
                </c:pt>
                <c:pt idx="297">
                  <c:v>34.799999999999997</c:v>
                </c:pt>
                <c:pt idx="298">
                  <c:v>34.799999999999997</c:v>
                </c:pt>
                <c:pt idx="299">
                  <c:v>34.799999999999997</c:v>
                </c:pt>
                <c:pt idx="300">
                  <c:v>34.799999999999997</c:v>
                </c:pt>
                <c:pt idx="301">
                  <c:v>34.799999999999997</c:v>
                </c:pt>
                <c:pt idx="302">
                  <c:v>34.9</c:v>
                </c:pt>
                <c:pt idx="303">
                  <c:v>34.9</c:v>
                </c:pt>
                <c:pt idx="304">
                  <c:v>34.9</c:v>
                </c:pt>
                <c:pt idx="305">
                  <c:v>34.9</c:v>
                </c:pt>
                <c:pt idx="306">
                  <c:v>34.799999999999997</c:v>
                </c:pt>
                <c:pt idx="307">
                  <c:v>34.799999999999997</c:v>
                </c:pt>
                <c:pt idx="308">
                  <c:v>34.799999999999997</c:v>
                </c:pt>
                <c:pt idx="309">
                  <c:v>34.799999999999997</c:v>
                </c:pt>
                <c:pt idx="310">
                  <c:v>34.799999999999997</c:v>
                </c:pt>
                <c:pt idx="311">
                  <c:v>34.799999999999997</c:v>
                </c:pt>
                <c:pt idx="312">
                  <c:v>34.799999999999997</c:v>
                </c:pt>
                <c:pt idx="313">
                  <c:v>34.9</c:v>
                </c:pt>
                <c:pt idx="314">
                  <c:v>34.9</c:v>
                </c:pt>
                <c:pt idx="315">
                  <c:v>34.9</c:v>
                </c:pt>
                <c:pt idx="316">
                  <c:v>34.9</c:v>
                </c:pt>
                <c:pt idx="317">
                  <c:v>34.9</c:v>
                </c:pt>
                <c:pt idx="318">
                  <c:v>34.799999999999997</c:v>
                </c:pt>
                <c:pt idx="319">
                  <c:v>34.799999999999997</c:v>
                </c:pt>
                <c:pt idx="320">
                  <c:v>34.799999999999997</c:v>
                </c:pt>
                <c:pt idx="321">
                  <c:v>34.799999999999997</c:v>
                </c:pt>
                <c:pt idx="322">
                  <c:v>34.799999999999997</c:v>
                </c:pt>
                <c:pt idx="323">
                  <c:v>34.799999999999997</c:v>
                </c:pt>
                <c:pt idx="324">
                  <c:v>34.799999999999997</c:v>
                </c:pt>
                <c:pt idx="325">
                  <c:v>34.799999999999997</c:v>
                </c:pt>
                <c:pt idx="326">
                  <c:v>34.799999999999997</c:v>
                </c:pt>
                <c:pt idx="327">
                  <c:v>34.9</c:v>
                </c:pt>
                <c:pt idx="328">
                  <c:v>34.9</c:v>
                </c:pt>
                <c:pt idx="329">
                  <c:v>34.9</c:v>
                </c:pt>
                <c:pt idx="330">
                  <c:v>34.9</c:v>
                </c:pt>
                <c:pt idx="331">
                  <c:v>34.9</c:v>
                </c:pt>
                <c:pt idx="332">
                  <c:v>34.9</c:v>
                </c:pt>
                <c:pt idx="333">
                  <c:v>34.9</c:v>
                </c:pt>
                <c:pt idx="334">
                  <c:v>34.9</c:v>
                </c:pt>
                <c:pt idx="335">
                  <c:v>34.9</c:v>
                </c:pt>
                <c:pt idx="336">
                  <c:v>34.9</c:v>
                </c:pt>
                <c:pt idx="337">
                  <c:v>34.9</c:v>
                </c:pt>
                <c:pt idx="338">
                  <c:v>34.799999999999997</c:v>
                </c:pt>
                <c:pt idx="339">
                  <c:v>34.799999999999997</c:v>
                </c:pt>
                <c:pt idx="340">
                  <c:v>34.799999999999997</c:v>
                </c:pt>
                <c:pt idx="341">
                  <c:v>34.799999999999997</c:v>
                </c:pt>
                <c:pt idx="342">
                  <c:v>34.799999999999997</c:v>
                </c:pt>
                <c:pt idx="343">
                  <c:v>34.799999999999997</c:v>
                </c:pt>
                <c:pt idx="344">
                  <c:v>34.799999999999997</c:v>
                </c:pt>
                <c:pt idx="345">
                  <c:v>34.9</c:v>
                </c:pt>
                <c:pt idx="346">
                  <c:v>34.9</c:v>
                </c:pt>
                <c:pt idx="347">
                  <c:v>34.9</c:v>
                </c:pt>
                <c:pt idx="348">
                  <c:v>34.9</c:v>
                </c:pt>
                <c:pt idx="349">
                  <c:v>34.9</c:v>
                </c:pt>
                <c:pt idx="350">
                  <c:v>34.9</c:v>
                </c:pt>
                <c:pt idx="351">
                  <c:v>34.9</c:v>
                </c:pt>
                <c:pt idx="352">
                  <c:v>34.9</c:v>
                </c:pt>
                <c:pt idx="353">
                  <c:v>34.9</c:v>
                </c:pt>
                <c:pt idx="354">
                  <c:v>34.9</c:v>
                </c:pt>
                <c:pt idx="355">
                  <c:v>34.9</c:v>
                </c:pt>
                <c:pt idx="356">
                  <c:v>34.9</c:v>
                </c:pt>
                <c:pt idx="357">
                  <c:v>34.9</c:v>
                </c:pt>
                <c:pt idx="358">
                  <c:v>34.9</c:v>
                </c:pt>
                <c:pt idx="359">
                  <c:v>34.9</c:v>
                </c:pt>
                <c:pt idx="360">
                  <c:v>34.799999999999997</c:v>
                </c:pt>
                <c:pt idx="361">
                  <c:v>34.799999999999997</c:v>
                </c:pt>
                <c:pt idx="362">
                  <c:v>34.799999999999997</c:v>
                </c:pt>
                <c:pt idx="363">
                  <c:v>34.799999999999997</c:v>
                </c:pt>
                <c:pt idx="364">
                  <c:v>34.799999999999997</c:v>
                </c:pt>
                <c:pt idx="365">
                  <c:v>34.799999999999997</c:v>
                </c:pt>
                <c:pt idx="366">
                  <c:v>34.799999999999997</c:v>
                </c:pt>
                <c:pt idx="367">
                  <c:v>34.9</c:v>
                </c:pt>
                <c:pt idx="368">
                  <c:v>34.9</c:v>
                </c:pt>
                <c:pt idx="369">
                  <c:v>34.9</c:v>
                </c:pt>
                <c:pt idx="370">
                  <c:v>34.9</c:v>
                </c:pt>
                <c:pt idx="371">
                  <c:v>34.799999999999997</c:v>
                </c:pt>
                <c:pt idx="372">
                  <c:v>34.799999999999997</c:v>
                </c:pt>
                <c:pt idx="373">
                  <c:v>34.799999999999997</c:v>
                </c:pt>
                <c:pt idx="374">
                  <c:v>34.799999999999997</c:v>
                </c:pt>
                <c:pt idx="375">
                  <c:v>34.799999999999997</c:v>
                </c:pt>
                <c:pt idx="376">
                  <c:v>34.9</c:v>
                </c:pt>
                <c:pt idx="377">
                  <c:v>34.9</c:v>
                </c:pt>
                <c:pt idx="378">
                  <c:v>34.9</c:v>
                </c:pt>
                <c:pt idx="379">
                  <c:v>34.9</c:v>
                </c:pt>
                <c:pt idx="380">
                  <c:v>34.9</c:v>
                </c:pt>
                <c:pt idx="381">
                  <c:v>34.9</c:v>
                </c:pt>
                <c:pt idx="382">
                  <c:v>34.9</c:v>
                </c:pt>
                <c:pt idx="383">
                  <c:v>34.9</c:v>
                </c:pt>
                <c:pt idx="384">
                  <c:v>34.9</c:v>
                </c:pt>
                <c:pt idx="385">
                  <c:v>34.9</c:v>
                </c:pt>
                <c:pt idx="386">
                  <c:v>34.9</c:v>
                </c:pt>
                <c:pt idx="387">
                  <c:v>34.9</c:v>
                </c:pt>
                <c:pt idx="388">
                  <c:v>34.9</c:v>
                </c:pt>
                <c:pt idx="389">
                  <c:v>34.9</c:v>
                </c:pt>
                <c:pt idx="390">
                  <c:v>34.9</c:v>
                </c:pt>
                <c:pt idx="391">
                  <c:v>34.9</c:v>
                </c:pt>
                <c:pt idx="392">
                  <c:v>34.9</c:v>
                </c:pt>
                <c:pt idx="393">
                  <c:v>34.9</c:v>
                </c:pt>
                <c:pt idx="394">
                  <c:v>34.9</c:v>
                </c:pt>
                <c:pt idx="395">
                  <c:v>34.9</c:v>
                </c:pt>
                <c:pt idx="396">
                  <c:v>34.9</c:v>
                </c:pt>
                <c:pt idx="397">
                  <c:v>34.9</c:v>
                </c:pt>
                <c:pt idx="398">
                  <c:v>34.9</c:v>
                </c:pt>
                <c:pt idx="399">
                  <c:v>34.9</c:v>
                </c:pt>
                <c:pt idx="400">
                  <c:v>34.9</c:v>
                </c:pt>
                <c:pt idx="401">
                  <c:v>34.9</c:v>
                </c:pt>
                <c:pt idx="402">
                  <c:v>34.799999999999997</c:v>
                </c:pt>
                <c:pt idx="403">
                  <c:v>34.799999999999997</c:v>
                </c:pt>
                <c:pt idx="404">
                  <c:v>34.799999999999997</c:v>
                </c:pt>
                <c:pt idx="405">
                  <c:v>34.9</c:v>
                </c:pt>
                <c:pt idx="406">
                  <c:v>34.9</c:v>
                </c:pt>
                <c:pt idx="407">
                  <c:v>34.9</c:v>
                </c:pt>
                <c:pt idx="408">
                  <c:v>34.9</c:v>
                </c:pt>
                <c:pt idx="409">
                  <c:v>34.9</c:v>
                </c:pt>
                <c:pt idx="410">
                  <c:v>34.9</c:v>
                </c:pt>
                <c:pt idx="411">
                  <c:v>34.9</c:v>
                </c:pt>
                <c:pt idx="412">
                  <c:v>34.9</c:v>
                </c:pt>
                <c:pt idx="413">
                  <c:v>34.9</c:v>
                </c:pt>
                <c:pt idx="414">
                  <c:v>34.9</c:v>
                </c:pt>
                <c:pt idx="415">
                  <c:v>34.9</c:v>
                </c:pt>
                <c:pt idx="416">
                  <c:v>34.9</c:v>
                </c:pt>
                <c:pt idx="417">
                  <c:v>34.9</c:v>
                </c:pt>
                <c:pt idx="418">
                  <c:v>34.9</c:v>
                </c:pt>
                <c:pt idx="419">
                  <c:v>34.9</c:v>
                </c:pt>
                <c:pt idx="420">
                  <c:v>34.9</c:v>
                </c:pt>
                <c:pt idx="421">
                  <c:v>34.9</c:v>
                </c:pt>
                <c:pt idx="422">
                  <c:v>34.9</c:v>
                </c:pt>
                <c:pt idx="423">
                  <c:v>34.9</c:v>
                </c:pt>
                <c:pt idx="424">
                  <c:v>34.9</c:v>
                </c:pt>
                <c:pt idx="425">
                  <c:v>34.9</c:v>
                </c:pt>
                <c:pt idx="426">
                  <c:v>34.9</c:v>
                </c:pt>
                <c:pt idx="427">
                  <c:v>34.9</c:v>
                </c:pt>
                <c:pt idx="428">
                  <c:v>34.9</c:v>
                </c:pt>
                <c:pt idx="429">
                  <c:v>34.9</c:v>
                </c:pt>
                <c:pt idx="430">
                  <c:v>34.9</c:v>
                </c:pt>
                <c:pt idx="431">
                  <c:v>34.9</c:v>
                </c:pt>
                <c:pt idx="432">
                  <c:v>34.9</c:v>
                </c:pt>
                <c:pt idx="433">
                  <c:v>34.9</c:v>
                </c:pt>
                <c:pt idx="434">
                  <c:v>34.9</c:v>
                </c:pt>
                <c:pt idx="435">
                  <c:v>34.9</c:v>
                </c:pt>
                <c:pt idx="436">
                  <c:v>34.9</c:v>
                </c:pt>
                <c:pt idx="437">
                  <c:v>34.9</c:v>
                </c:pt>
                <c:pt idx="438">
                  <c:v>34.9</c:v>
                </c:pt>
                <c:pt idx="439">
                  <c:v>34.9</c:v>
                </c:pt>
                <c:pt idx="440">
                  <c:v>34.9</c:v>
                </c:pt>
                <c:pt idx="441">
                  <c:v>34.9</c:v>
                </c:pt>
                <c:pt idx="442">
                  <c:v>34.9</c:v>
                </c:pt>
                <c:pt idx="443">
                  <c:v>34.9</c:v>
                </c:pt>
                <c:pt idx="444">
                  <c:v>34.9</c:v>
                </c:pt>
                <c:pt idx="445">
                  <c:v>34.9</c:v>
                </c:pt>
                <c:pt idx="446">
                  <c:v>34.9</c:v>
                </c:pt>
                <c:pt idx="447">
                  <c:v>34.9</c:v>
                </c:pt>
                <c:pt idx="448">
                  <c:v>34.9</c:v>
                </c:pt>
                <c:pt idx="449">
                  <c:v>34.9</c:v>
                </c:pt>
                <c:pt idx="450">
                  <c:v>34.9</c:v>
                </c:pt>
                <c:pt idx="451">
                  <c:v>34.9</c:v>
                </c:pt>
                <c:pt idx="452">
                  <c:v>34.9</c:v>
                </c:pt>
                <c:pt idx="453">
                  <c:v>34.9</c:v>
                </c:pt>
                <c:pt idx="454">
                  <c:v>34.9</c:v>
                </c:pt>
                <c:pt idx="455">
                  <c:v>34.9</c:v>
                </c:pt>
                <c:pt idx="456">
                  <c:v>34.9</c:v>
                </c:pt>
                <c:pt idx="457">
                  <c:v>34.9</c:v>
                </c:pt>
                <c:pt idx="458">
                  <c:v>34.9</c:v>
                </c:pt>
                <c:pt idx="459">
                  <c:v>34.9</c:v>
                </c:pt>
                <c:pt idx="460">
                  <c:v>34.9</c:v>
                </c:pt>
                <c:pt idx="461">
                  <c:v>34.9</c:v>
                </c:pt>
                <c:pt idx="462">
                  <c:v>34.9</c:v>
                </c:pt>
                <c:pt idx="463">
                  <c:v>34.9</c:v>
                </c:pt>
                <c:pt idx="464">
                  <c:v>34.9</c:v>
                </c:pt>
                <c:pt idx="465">
                  <c:v>34.9</c:v>
                </c:pt>
                <c:pt idx="466">
                  <c:v>34.9</c:v>
                </c:pt>
                <c:pt idx="467">
                  <c:v>34.9</c:v>
                </c:pt>
                <c:pt idx="468">
                  <c:v>34.700000000000003</c:v>
                </c:pt>
                <c:pt idx="469">
                  <c:v>34.5</c:v>
                </c:pt>
                <c:pt idx="470">
                  <c:v>34.5</c:v>
                </c:pt>
                <c:pt idx="471">
                  <c:v>34.4</c:v>
                </c:pt>
                <c:pt idx="472">
                  <c:v>34.299999999999997</c:v>
                </c:pt>
                <c:pt idx="473">
                  <c:v>34.299999999999997</c:v>
                </c:pt>
                <c:pt idx="474">
                  <c:v>34.299999999999997</c:v>
                </c:pt>
                <c:pt idx="475">
                  <c:v>34.299999999999997</c:v>
                </c:pt>
                <c:pt idx="476">
                  <c:v>34.299999999999997</c:v>
                </c:pt>
                <c:pt idx="477">
                  <c:v>34.4</c:v>
                </c:pt>
                <c:pt idx="478">
                  <c:v>34.4</c:v>
                </c:pt>
                <c:pt idx="479">
                  <c:v>34.4</c:v>
                </c:pt>
                <c:pt idx="480">
                  <c:v>34.4</c:v>
                </c:pt>
                <c:pt idx="481">
                  <c:v>34.299999999999997</c:v>
                </c:pt>
                <c:pt idx="482">
                  <c:v>34.299999999999997</c:v>
                </c:pt>
                <c:pt idx="483">
                  <c:v>34.299999999999997</c:v>
                </c:pt>
                <c:pt idx="484">
                  <c:v>34.299999999999997</c:v>
                </c:pt>
                <c:pt idx="485">
                  <c:v>34.299999999999997</c:v>
                </c:pt>
                <c:pt idx="486">
                  <c:v>34.4</c:v>
                </c:pt>
                <c:pt idx="487">
                  <c:v>34.4</c:v>
                </c:pt>
                <c:pt idx="488">
                  <c:v>34.4</c:v>
                </c:pt>
                <c:pt idx="489">
                  <c:v>34.4</c:v>
                </c:pt>
                <c:pt idx="490">
                  <c:v>34.299999999999997</c:v>
                </c:pt>
                <c:pt idx="491">
                  <c:v>34.299999999999997</c:v>
                </c:pt>
                <c:pt idx="492">
                  <c:v>34.299999999999997</c:v>
                </c:pt>
                <c:pt idx="493">
                  <c:v>34.200000000000003</c:v>
                </c:pt>
                <c:pt idx="494">
                  <c:v>34.299999999999997</c:v>
                </c:pt>
                <c:pt idx="495">
                  <c:v>34.299999999999997</c:v>
                </c:pt>
                <c:pt idx="496">
                  <c:v>34.299999999999997</c:v>
                </c:pt>
                <c:pt idx="497">
                  <c:v>34.299999999999997</c:v>
                </c:pt>
                <c:pt idx="498">
                  <c:v>34.4</c:v>
                </c:pt>
                <c:pt idx="499">
                  <c:v>34.4</c:v>
                </c:pt>
                <c:pt idx="500">
                  <c:v>34.4</c:v>
                </c:pt>
                <c:pt idx="501">
                  <c:v>34.4</c:v>
                </c:pt>
                <c:pt idx="502">
                  <c:v>34.299999999999997</c:v>
                </c:pt>
                <c:pt idx="503">
                  <c:v>34.299999999999997</c:v>
                </c:pt>
                <c:pt idx="504">
                  <c:v>34.299999999999997</c:v>
                </c:pt>
                <c:pt idx="505">
                  <c:v>34.299999999999997</c:v>
                </c:pt>
                <c:pt idx="506">
                  <c:v>34.299999999999997</c:v>
                </c:pt>
                <c:pt idx="507">
                  <c:v>34.4</c:v>
                </c:pt>
                <c:pt idx="508">
                  <c:v>34.4</c:v>
                </c:pt>
                <c:pt idx="509">
                  <c:v>34.4</c:v>
                </c:pt>
                <c:pt idx="510">
                  <c:v>34.4</c:v>
                </c:pt>
                <c:pt idx="511">
                  <c:v>34.4</c:v>
                </c:pt>
                <c:pt idx="512">
                  <c:v>34.299999999999997</c:v>
                </c:pt>
                <c:pt idx="513">
                  <c:v>34.299999999999997</c:v>
                </c:pt>
                <c:pt idx="514">
                  <c:v>34.299999999999997</c:v>
                </c:pt>
                <c:pt idx="515">
                  <c:v>34.299999999999997</c:v>
                </c:pt>
                <c:pt idx="516">
                  <c:v>34.299999999999997</c:v>
                </c:pt>
                <c:pt idx="517">
                  <c:v>34.4</c:v>
                </c:pt>
                <c:pt idx="518">
                  <c:v>34.4</c:v>
                </c:pt>
                <c:pt idx="519">
                  <c:v>34.4</c:v>
                </c:pt>
                <c:pt idx="520">
                  <c:v>34.4</c:v>
                </c:pt>
                <c:pt idx="521">
                  <c:v>34.4</c:v>
                </c:pt>
                <c:pt idx="522">
                  <c:v>34.4</c:v>
                </c:pt>
                <c:pt idx="523">
                  <c:v>34.299999999999997</c:v>
                </c:pt>
                <c:pt idx="524">
                  <c:v>34.299999999999997</c:v>
                </c:pt>
                <c:pt idx="525">
                  <c:v>34.4</c:v>
                </c:pt>
                <c:pt idx="526">
                  <c:v>34.4</c:v>
                </c:pt>
                <c:pt idx="527">
                  <c:v>34.4</c:v>
                </c:pt>
                <c:pt idx="528">
                  <c:v>34.4</c:v>
                </c:pt>
                <c:pt idx="529">
                  <c:v>34.4</c:v>
                </c:pt>
                <c:pt idx="530">
                  <c:v>34.4</c:v>
                </c:pt>
                <c:pt idx="531">
                  <c:v>34.4</c:v>
                </c:pt>
                <c:pt idx="532">
                  <c:v>34.4</c:v>
                </c:pt>
                <c:pt idx="533">
                  <c:v>34.299999999999997</c:v>
                </c:pt>
                <c:pt idx="534">
                  <c:v>34.299999999999997</c:v>
                </c:pt>
                <c:pt idx="535">
                  <c:v>34.299999999999997</c:v>
                </c:pt>
                <c:pt idx="536">
                  <c:v>34.299999999999997</c:v>
                </c:pt>
                <c:pt idx="537">
                  <c:v>34.4</c:v>
                </c:pt>
                <c:pt idx="538">
                  <c:v>34.4</c:v>
                </c:pt>
                <c:pt idx="539">
                  <c:v>34.4</c:v>
                </c:pt>
                <c:pt idx="540">
                  <c:v>34.4</c:v>
                </c:pt>
                <c:pt idx="541">
                  <c:v>34.4</c:v>
                </c:pt>
                <c:pt idx="542">
                  <c:v>34.4</c:v>
                </c:pt>
                <c:pt idx="543">
                  <c:v>34.4</c:v>
                </c:pt>
                <c:pt idx="544">
                  <c:v>34.4</c:v>
                </c:pt>
                <c:pt idx="545">
                  <c:v>34.4</c:v>
                </c:pt>
                <c:pt idx="546">
                  <c:v>34.4</c:v>
                </c:pt>
                <c:pt idx="547">
                  <c:v>34.4</c:v>
                </c:pt>
                <c:pt idx="548">
                  <c:v>34.4</c:v>
                </c:pt>
                <c:pt idx="549">
                  <c:v>34.5</c:v>
                </c:pt>
                <c:pt idx="550">
                  <c:v>34.5</c:v>
                </c:pt>
                <c:pt idx="551">
                  <c:v>34.5</c:v>
                </c:pt>
                <c:pt idx="552">
                  <c:v>34.5</c:v>
                </c:pt>
                <c:pt idx="553">
                  <c:v>34.4</c:v>
                </c:pt>
                <c:pt idx="554">
                  <c:v>34.4</c:v>
                </c:pt>
                <c:pt idx="555">
                  <c:v>34.4</c:v>
                </c:pt>
                <c:pt idx="556">
                  <c:v>34.4</c:v>
                </c:pt>
                <c:pt idx="557">
                  <c:v>34.4</c:v>
                </c:pt>
                <c:pt idx="558">
                  <c:v>34.5</c:v>
                </c:pt>
                <c:pt idx="559">
                  <c:v>34.5</c:v>
                </c:pt>
                <c:pt idx="560">
                  <c:v>34.5</c:v>
                </c:pt>
                <c:pt idx="561">
                  <c:v>34.4</c:v>
                </c:pt>
                <c:pt idx="562">
                  <c:v>34.4</c:v>
                </c:pt>
                <c:pt idx="563">
                  <c:v>34.4</c:v>
                </c:pt>
                <c:pt idx="564">
                  <c:v>34.4</c:v>
                </c:pt>
                <c:pt idx="565">
                  <c:v>34.4</c:v>
                </c:pt>
                <c:pt idx="566">
                  <c:v>34.5</c:v>
                </c:pt>
                <c:pt idx="567">
                  <c:v>34.5</c:v>
                </c:pt>
                <c:pt idx="568">
                  <c:v>34.5</c:v>
                </c:pt>
                <c:pt idx="569">
                  <c:v>34.5</c:v>
                </c:pt>
                <c:pt idx="570">
                  <c:v>34.5</c:v>
                </c:pt>
                <c:pt idx="571">
                  <c:v>34.5</c:v>
                </c:pt>
                <c:pt idx="572">
                  <c:v>34.5</c:v>
                </c:pt>
                <c:pt idx="573">
                  <c:v>34.5</c:v>
                </c:pt>
                <c:pt idx="574">
                  <c:v>34.5</c:v>
                </c:pt>
                <c:pt idx="575">
                  <c:v>34.5</c:v>
                </c:pt>
                <c:pt idx="576">
                  <c:v>34.5</c:v>
                </c:pt>
                <c:pt idx="577">
                  <c:v>34.5</c:v>
                </c:pt>
                <c:pt idx="578">
                  <c:v>34.4</c:v>
                </c:pt>
                <c:pt idx="579">
                  <c:v>34.4</c:v>
                </c:pt>
                <c:pt idx="580">
                  <c:v>34.4</c:v>
                </c:pt>
                <c:pt idx="581">
                  <c:v>34.4</c:v>
                </c:pt>
                <c:pt idx="582">
                  <c:v>34.4</c:v>
                </c:pt>
                <c:pt idx="583">
                  <c:v>34.4</c:v>
                </c:pt>
                <c:pt idx="584">
                  <c:v>34.299999999999997</c:v>
                </c:pt>
                <c:pt idx="585">
                  <c:v>34.299999999999997</c:v>
                </c:pt>
                <c:pt idx="586">
                  <c:v>34.299999999999997</c:v>
                </c:pt>
                <c:pt idx="587">
                  <c:v>34.299999999999997</c:v>
                </c:pt>
                <c:pt idx="588">
                  <c:v>34.299999999999997</c:v>
                </c:pt>
                <c:pt idx="589">
                  <c:v>34.4</c:v>
                </c:pt>
                <c:pt idx="590">
                  <c:v>34.4</c:v>
                </c:pt>
                <c:pt idx="591">
                  <c:v>34.4</c:v>
                </c:pt>
                <c:pt idx="592">
                  <c:v>34.4</c:v>
                </c:pt>
                <c:pt idx="593">
                  <c:v>34.5</c:v>
                </c:pt>
                <c:pt idx="594">
                  <c:v>34.5</c:v>
                </c:pt>
                <c:pt idx="595">
                  <c:v>34.5</c:v>
                </c:pt>
                <c:pt idx="596">
                  <c:v>34.5</c:v>
                </c:pt>
                <c:pt idx="597">
                  <c:v>34.5</c:v>
                </c:pt>
                <c:pt idx="598">
                  <c:v>34.5</c:v>
                </c:pt>
                <c:pt idx="599">
                  <c:v>34.5</c:v>
                </c:pt>
                <c:pt idx="600">
                  <c:v>34.5</c:v>
                </c:pt>
                <c:pt idx="601">
                  <c:v>34.5</c:v>
                </c:pt>
                <c:pt idx="602">
                  <c:v>34.5</c:v>
                </c:pt>
                <c:pt idx="603">
                  <c:v>34.5</c:v>
                </c:pt>
                <c:pt idx="604">
                  <c:v>34.5</c:v>
                </c:pt>
                <c:pt idx="605">
                  <c:v>34.4</c:v>
                </c:pt>
                <c:pt idx="606">
                  <c:v>34.4</c:v>
                </c:pt>
                <c:pt idx="607">
                  <c:v>34.4</c:v>
                </c:pt>
                <c:pt idx="608">
                  <c:v>34.4</c:v>
                </c:pt>
                <c:pt idx="609">
                  <c:v>34.4</c:v>
                </c:pt>
                <c:pt idx="610">
                  <c:v>34.4</c:v>
                </c:pt>
                <c:pt idx="611">
                  <c:v>34.4</c:v>
                </c:pt>
                <c:pt idx="612">
                  <c:v>34.4</c:v>
                </c:pt>
                <c:pt idx="613">
                  <c:v>34.4</c:v>
                </c:pt>
                <c:pt idx="614">
                  <c:v>34.4</c:v>
                </c:pt>
                <c:pt idx="615">
                  <c:v>34.4</c:v>
                </c:pt>
                <c:pt idx="616">
                  <c:v>34.4</c:v>
                </c:pt>
                <c:pt idx="617">
                  <c:v>34.4</c:v>
                </c:pt>
                <c:pt idx="618">
                  <c:v>34.4</c:v>
                </c:pt>
                <c:pt idx="619">
                  <c:v>34.4</c:v>
                </c:pt>
                <c:pt idx="620">
                  <c:v>34.4</c:v>
                </c:pt>
                <c:pt idx="621">
                  <c:v>34.4</c:v>
                </c:pt>
                <c:pt idx="622">
                  <c:v>34.4</c:v>
                </c:pt>
                <c:pt idx="623">
                  <c:v>34.4</c:v>
                </c:pt>
                <c:pt idx="624">
                  <c:v>34.4</c:v>
                </c:pt>
                <c:pt idx="625">
                  <c:v>34.4</c:v>
                </c:pt>
                <c:pt idx="626">
                  <c:v>34.5</c:v>
                </c:pt>
                <c:pt idx="627">
                  <c:v>34.5</c:v>
                </c:pt>
                <c:pt idx="628">
                  <c:v>34.5</c:v>
                </c:pt>
                <c:pt idx="629">
                  <c:v>34.5</c:v>
                </c:pt>
                <c:pt idx="630">
                  <c:v>34.5</c:v>
                </c:pt>
                <c:pt idx="631">
                  <c:v>34.6</c:v>
                </c:pt>
                <c:pt idx="632">
                  <c:v>34.6</c:v>
                </c:pt>
                <c:pt idx="633">
                  <c:v>34.6</c:v>
                </c:pt>
                <c:pt idx="634">
                  <c:v>34.6</c:v>
                </c:pt>
                <c:pt idx="635">
                  <c:v>34.6</c:v>
                </c:pt>
                <c:pt idx="636">
                  <c:v>34.6</c:v>
                </c:pt>
                <c:pt idx="637">
                  <c:v>34.6</c:v>
                </c:pt>
                <c:pt idx="638">
                  <c:v>34.6</c:v>
                </c:pt>
                <c:pt idx="639">
                  <c:v>34.6</c:v>
                </c:pt>
                <c:pt idx="640">
                  <c:v>34.6</c:v>
                </c:pt>
                <c:pt idx="641">
                  <c:v>34.6</c:v>
                </c:pt>
                <c:pt idx="642">
                  <c:v>34.6</c:v>
                </c:pt>
                <c:pt idx="643">
                  <c:v>34.6</c:v>
                </c:pt>
                <c:pt idx="644">
                  <c:v>34.6</c:v>
                </c:pt>
                <c:pt idx="645">
                  <c:v>34.6</c:v>
                </c:pt>
                <c:pt idx="646">
                  <c:v>34.6</c:v>
                </c:pt>
                <c:pt idx="647">
                  <c:v>34.6</c:v>
                </c:pt>
                <c:pt idx="648">
                  <c:v>34.6</c:v>
                </c:pt>
                <c:pt idx="649">
                  <c:v>34.6</c:v>
                </c:pt>
                <c:pt idx="650">
                  <c:v>34.6</c:v>
                </c:pt>
                <c:pt idx="651">
                  <c:v>34.6</c:v>
                </c:pt>
                <c:pt idx="652">
                  <c:v>34.6</c:v>
                </c:pt>
                <c:pt idx="653">
                  <c:v>34.6</c:v>
                </c:pt>
                <c:pt idx="654">
                  <c:v>34.6</c:v>
                </c:pt>
                <c:pt idx="655">
                  <c:v>34.6</c:v>
                </c:pt>
                <c:pt idx="656">
                  <c:v>34.6</c:v>
                </c:pt>
                <c:pt idx="657">
                  <c:v>34.6</c:v>
                </c:pt>
                <c:pt idx="658">
                  <c:v>34.6</c:v>
                </c:pt>
                <c:pt idx="659">
                  <c:v>34.6</c:v>
                </c:pt>
                <c:pt idx="660">
                  <c:v>34.6</c:v>
                </c:pt>
                <c:pt idx="661">
                  <c:v>34.6</c:v>
                </c:pt>
                <c:pt idx="662">
                  <c:v>34.6</c:v>
                </c:pt>
                <c:pt idx="663">
                  <c:v>34.6</c:v>
                </c:pt>
                <c:pt idx="664">
                  <c:v>34.6</c:v>
                </c:pt>
                <c:pt idx="665">
                  <c:v>34.6</c:v>
                </c:pt>
                <c:pt idx="666">
                  <c:v>34.6</c:v>
                </c:pt>
                <c:pt idx="667">
                  <c:v>34.700000000000003</c:v>
                </c:pt>
                <c:pt idx="668">
                  <c:v>34.700000000000003</c:v>
                </c:pt>
                <c:pt idx="669">
                  <c:v>34.700000000000003</c:v>
                </c:pt>
                <c:pt idx="670">
                  <c:v>34.700000000000003</c:v>
                </c:pt>
                <c:pt idx="671">
                  <c:v>34.700000000000003</c:v>
                </c:pt>
                <c:pt idx="672">
                  <c:v>34.700000000000003</c:v>
                </c:pt>
                <c:pt idx="673">
                  <c:v>34.700000000000003</c:v>
                </c:pt>
                <c:pt idx="674">
                  <c:v>34.700000000000003</c:v>
                </c:pt>
                <c:pt idx="675">
                  <c:v>34.700000000000003</c:v>
                </c:pt>
                <c:pt idx="676">
                  <c:v>34.700000000000003</c:v>
                </c:pt>
                <c:pt idx="677">
                  <c:v>34.700000000000003</c:v>
                </c:pt>
                <c:pt idx="678">
                  <c:v>34.700000000000003</c:v>
                </c:pt>
                <c:pt idx="679">
                  <c:v>34.700000000000003</c:v>
                </c:pt>
                <c:pt idx="680">
                  <c:v>34.700000000000003</c:v>
                </c:pt>
                <c:pt idx="681">
                  <c:v>34.700000000000003</c:v>
                </c:pt>
                <c:pt idx="682">
                  <c:v>34.700000000000003</c:v>
                </c:pt>
                <c:pt idx="683">
                  <c:v>34.700000000000003</c:v>
                </c:pt>
                <c:pt idx="684">
                  <c:v>34.700000000000003</c:v>
                </c:pt>
                <c:pt idx="685">
                  <c:v>34.700000000000003</c:v>
                </c:pt>
                <c:pt idx="686">
                  <c:v>34.700000000000003</c:v>
                </c:pt>
                <c:pt idx="687">
                  <c:v>34.700000000000003</c:v>
                </c:pt>
                <c:pt idx="688">
                  <c:v>34.700000000000003</c:v>
                </c:pt>
                <c:pt idx="689">
                  <c:v>34.700000000000003</c:v>
                </c:pt>
                <c:pt idx="690">
                  <c:v>34.700000000000003</c:v>
                </c:pt>
                <c:pt idx="691">
                  <c:v>34.700000000000003</c:v>
                </c:pt>
                <c:pt idx="692">
                  <c:v>34.700000000000003</c:v>
                </c:pt>
                <c:pt idx="693">
                  <c:v>34.700000000000003</c:v>
                </c:pt>
                <c:pt idx="694">
                  <c:v>34.799999999999997</c:v>
                </c:pt>
                <c:pt idx="695">
                  <c:v>34.799999999999997</c:v>
                </c:pt>
                <c:pt idx="696">
                  <c:v>34.799999999999997</c:v>
                </c:pt>
                <c:pt idx="697">
                  <c:v>34.799999999999997</c:v>
                </c:pt>
                <c:pt idx="698">
                  <c:v>34.799999999999997</c:v>
                </c:pt>
                <c:pt idx="699">
                  <c:v>34.799999999999997</c:v>
                </c:pt>
                <c:pt idx="700">
                  <c:v>34.799999999999997</c:v>
                </c:pt>
                <c:pt idx="701">
                  <c:v>34.799999999999997</c:v>
                </c:pt>
                <c:pt idx="702">
                  <c:v>34.799999999999997</c:v>
                </c:pt>
                <c:pt idx="703">
                  <c:v>34.799999999999997</c:v>
                </c:pt>
                <c:pt idx="704">
                  <c:v>34.799999999999997</c:v>
                </c:pt>
                <c:pt idx="705">
                  <c:v>34.799999999999997</c:v>
                </c:pt>
                <c:pt idx="706">
                  <c:v>34.799999999999997</c:v>
                </c:pt>
                <c:pt idx="707">
                  <c:v>34.799999999999997</c:v>
                </c:pt>
                <c:pt idx="708">
                  <c:v>34.799999999999997</c:v>
                </c:pt>
                <c:pt idx="709">
                  <c:v>34.799999999999997</c:v>
                </c:pt>
                <c:pt idx="710">
                  <c:v>34.799999999999997</c:v>
                </c:pt>
                <c:pt idx="711">
                  <c:v>34.799999999999997</c:v>
                </c:pt>
                <c:pt idx="712">
                  <c:v>34.799999999999997</c:v>
                </c:pt>
                <c:pt idx="713">
                  <c:v>34.799999999999997</c:v>
                </c:pt>
                <c:pt idx="714">
                  <c:v>34.799999999999997</c:v>
                </c:pt>
                <c:pt idx="715">
                  <c:v>34.799999999999997</c:v>
                </c:pt>
                <c:pt idx="716">
                  <c:v>34.799999999999997</c:v>
                </c:pt>
                <c:pt idx="717">
                  <c:v>34.799999999999997</c:v>
                </c:pt>
                <c:pt idx="718">
                  <c:v>34.9</c:v>
                </c:pt>
                <c:pt idx="719">
                  <c:v>34.9</c:v>
                </c:pt>
                <c:pt idx="720">
                  <c:v>34.9</c:v>
                </c:pt>
                <c:pt idx="721">
                  <c:v>34.9</c:v>
                </c:pt>
                <c:pt idx="722">
                  <c:v>34.9</c:v>
                </c:pt>
                <c:pt idx="723">
                  <c:v>34.9</c:v>
                </c:pt>
                <c:pt idx="724">
                  <c:v>34.9</c:v>
                </c:pt>
                <c:pt idx="725">
                  <c:v>34.9</c:v>
                </c:pt>
                <c:pt idx="726">
                  <c:v>34.9</c:v>
                </c:pt>
                <c:pt idx="727">
                  <c:v>34.9</c:v>
                </c:pt>
                <c:pt idx="728">
                  <c:v>34.9</c:v>
                </c:pt>
                <c:pt idx="729">
                  <c:v>34.9</c:v>
                </c:pt>
                <c:pt idx="730">
                  <c:v>34.9</c:v>
                </c:pt>
                <c:pt idx="731">
                  <c:v>34.9</c:v>
                </c:pt>
                <c:pt idx="732">
                  <c:v>34.9</c:v>
                </c:pt>
                <c:pt idx="733">
                  <c:v>34.9</c:v>
                </c:pt>
                <c:pt idx="734">
                  <c:v>34.9</c:v>
                </c:pt>
                <c:pt idx="735">
                  <c:v>34.9</c:v>
                </c:pt>
                <c:pt idx="736">
                  <c:v>34.9</c:v>
                </c:pt>
                <c:pt idx="737">
                  <c:v>34.9</c:v>
                </c:pt>
                <c:pt idx="738">
                  <c:v>34.9</c:v>
                </c:pt>
                <c:pt idx="739">
                  <c:v>34.9</c:v>
                </c:pt>
                <c:pt idx="740">
                  <c:v>34.9</c:v>
                </c:pt>
                <c:pt idx="741">
                  <c:v>34.9</c:v>
                </c:pt>
                <c:pt idx="742">
                  <c:v>34.9</c:v>
                </c:pt>
                <c:pt idx="743">
                  <c:v>34.9</c:v>
                </c:pt>
                <c:pt idx="744">
                  <c:v>34.9</c:v>
                </c:pt>
                <c:pt idx="745">
                  <c:v>34.9</c:v>
                </c:pt>
                <c:pt idx="746">
                  <c:v>34.9</c:v>
                </c:pt>
                <c:pt idx="747">
                  <c:v>34.9</c:v>
                </c:pt>
                <c:pt idx="748">
                  <c:v>34.9</c:v>
                </c:pt>
                <c:pt idx="749">
                  <c:v>34.9</c:v>
                </c:pt>
                <c:pt idx="750">
                  <c:v>34.9</c:v>
                </c:pt>
                <c:pt idx="751">
                  <c:v>34.9</c:v>
                </c:pt>
                <c:pt idx="752">
                  <c:v>34.9</c:v>
                </c:pt>
                <c:pt idx="753">
                  <c:v>34.9</c:v>
                </c:pt>
                <c:pt idx="754">
                  <c:v>34.9</c:v>
                </c:pt>
                <c:pt idx="755">
                  <c:v>34.9</c:v>
                </c:pt>
                <c:pt idx="756">
                  <c:v>34.9</c:v>
                </c:pt>
                <c:pt idx="757">
                  <c:v>34.9</c:v>
                </c:pt>
                <c:pt idx="758">
                  <c:v>34.9</c:v>
                </c:pt>
                <c:pt idx="759">
                  <c:v>34.9</c:v>
                </c:pt>
                <c:pt idx="760">
                  <c:v>34.9</c:v>
                </c:pt>
                <c:pt idx="761">
                  <c:v>34.9</c:v>
                </c:pt>
                <c:pt idx="762">
                  <c:v>34.9</c:v>
                </c:pt>
                <c:pt idx="763">
                  <c:v>34.9</c:v>
                </c:pt>
                <c:pt idx="764">
                  <c:v>34.9</c:v>
                </c:pt>
                <c:pt idx="765">
                  <c:v>34.9</c:v>
                </c:pt>
                <c:pt idx="766">
                  <c:v>34.9</c:v>
                </c:pt>
                <c:pt idx="767">
                  <c:v>34.9</c:v>
                </c:pt>
                <c:pt idx="768">
                  <c:v>34.9</c:v>
                </c:pt>
                <c:pt idx="769">
                  <c:v>34.9</c:v>
                </c:pt>
                <c:pt idx="770">
                  <c:v>34.9</c:v>
                </c:pt>
                <c:pt idx="771">
                  <c:v>34.9</c:v>
                </c:pt>
                <c:pt idx="772">
                  <c:v>34.9</c:v>
                </c:pt>
                <c:pt idx="773">
                  <c:v>34.9</c:v>
                </c:pt>
                <c:pt idx="774">
                  <c:v>34.9</c:v>
                </c:pt>
                <c:pt idx="775">
                  <c:v>34.9</c:v>
                </c:pt>
                <c:pt idx="776">
                  <c:v>34.9</c:v>
                </c:pt>
                <c:pt idx="777">
                  <c:v>34.9</c:v>
                </c:pt>
                <c:pt idx="778">
                  <c:v>34.9</c:v>
                </c:pt>
                <c:pt idx="779">
                  <c:v>34.9</c:v>
                </c:pt>
                <c:pt idx="780">
                  <c:v>34.9</c:v>
                </c:pt>
                <c:pt idx="781">
                  <c:v>34.9</c:v>
                </c:pt>
                <c:pt idx="782">
                  <c:v>34.9</c:v>
                </c:pt>
                <c:pt idx="783">
                  <c:v>34.9</c:v>
                </c:pt>
                <c:pt idx="784">
                  <c:v>34.9</c:v>
                </c:pt>
                <c:pt idx="785">
                  <c:v>34.9</c:v>
                </c:pt>
                <c:pt idx="786">
                  <c:v>34.9</c:v>
                </c:pt>
                <c:pt idx="787">
                  <c:v>34.9</c:v>
                </c:pt>
                <c:pt idx="788">
                  <c:v>34.9</c:v>
                </c:pt>
                <c:pt idx="789">
                  <c:v>34.9</c:v>
                </c:pt>
                <c:pt idx="790">
                  <c:v>34.9</c:v>
                </c:pt>
                <c:pt idx="791">
                  <c:v>34.9</c:v>
                </c:pt>
                <c:pt idx="792">
                  <c:v>34.9</c:v>
                </c:pt>
                <c:pt idx="793">
                  <c:v>34.9</c:v>
                </c:pt>
                <c:pt idx="794">
                  <c:v>34.9</c:v>
                </c:pt>
                <c:pt idx="795">
                  <c:v>34.9</c:v>
                </c:pt>
                <c:pt idx="796">
                  <c:v>34.9</c:v>
                </c:pt>
                <c:pt idx="797">
                  <c:v>34.9</c:v>
                </c:pt>
                <c:pt idx="798">
                  <c:v>34.9</c:v>
                </c:pt>
                <c:pt idx="799">
                  <c:v>34.9</c:v>
                </c:pt>
                <c:pt idx="800">
                  <c:v>34.9</c:v>
                </c:pt>
                <c:pt idx="801">
                  <c:v>34.9</c:v>
                </c:pt>
                <c:pt idx="802">
                  <c:v>34.9</c:v>
                </c:pt>
                <c:pt idx="803">
                  <c:v>34.9</c:v>
                </c:pt>
                <c:pt idx="804">
                  <c:v>34.9</c:v>
                </c:pt>
                <c:pt idx="805">
                  <c:v>34.9</c:v>
                </c:pt>
                <c:pt idx="806">
                  <c:v>34.9</c:v>
                </c:pt>
                <c:pt idx="807">
                  <c:v>34.9</c:v>
                </c:pt>
                <c:pt idx="808">
                  <c:v>34.9</c:v>
                </c:pt>
                <c:pt idx="809">
                  <c:v>34.9</c:v>
                </c:pt>
                <c:pt idx="810">
                  <c:v>34.9</c:v>
                </c:pt>
                <c:pt idx="811">
                  <c:v>34.9</c:v>
                </c:pt>
                <c:pt idx="812">
                  <c:v>34.9</c:v>
                </c:pt>
                <c:pt idx="813">
                  <c:v>34.9</c:v>
                </c:pt>
                <c:pt idx="814">
                  <c:v>34.9</c:v>
                </c:pt>
                <c:pt idx="815">
                  <c:v>34.9</c:v>
                </c:pt>
                <c:pt idx="816">
                  <c:v>34.9</c:v>
                </c:pt>
                <c:pt idx="817">
                  <c:v>34.9</c:v>
                </c:pt>
                <c:pt idx="818">
                  <c:v>34.9</c:v>
                </c:pt>
                <c:pt idx="819">
                  <c:v>34.9</c:v>
                </c:pt>
                <c:pt idx="820">
                  <c:v>34.9</c:v>
                </c:pt>
                <c:pt idx="821">
                  <c:v>34.9</c:v>
                </c:pt>
                <c:pt idx="822">
                  <c:v>34.9</c:v>
                </c:pt>
                <c:pt idx="823">
                  <c:v>34.9</c:v>
                </c:pt>
                <c:pt idx="824">
                  <c:v>34.9</c:v>
                </c:pt>
                <c:pt idx="825">
                  <c:v>34.9</c:v>
                </c:pt>
                <c:pt idx="826">
                  <c:v>34.9</c:v>
                </c:pt>
                <c:pt idx="827">
                  <c:v>34.9</c:v>
                </c:pt>
                <c:pt idx="828">
                  <c:v>34.9</c:v>
                </c:pt>
                <c:pt idx="829">
                  <c:v>34.9</c:v>
                </c:pt>
                <c:pt idx="830">
                  <c:v>34.9</c:v>
                </c:pt>
                <c:pt idx="831">
                  <c:v>34.9</c:v>
                </c:pt>
                <c:pt idx="832">
                  <c:v>34.9</c:v>
                </c:pt>
                <c:pt idx="833">
                  <c:v>34.9</c:v>
                </c:pt>
                <c:pt idx="834">
                  <c:v>34.9</c:v>
                </c:pt>
                <c:pt idx="835">
                  <c:v>34.9</c:v>
                </c:pt>
                <c:pt idx="836">
                  <c:v>34.9</c:v>
                </c:pt>
                <c:pt idx="837">
                  <c:v>34.9</c:v>
                </c:pt>
                <c:pt idx="838">
                  <c:v>34.9</c:v>
                </c:pt>
                <c:pt idx="839">
                  <c:v>34.9</c:v>
                </c:pt>
                <c:pt idx="840">
                  <c:v>34.9</c:v>
                </c:pt>
                <c:pt idx="841">
                  <c:v>34.9</c:v>
                </c:pt>
                <c:pt idx="842">
                  <c:v>34.9</c:v>
                </c:pt>
                <c:pt idx="843">
                  <c:v>34.9</c:v>
                </c:pt>
                <c:pt idx="844">
                  <c:v>34.9</c:v>
                </c:pt>
                <c:pt idx="845">
                  <c:v>34.9</c:v>
                </c:pt>
                <c:pt idx="846">
                  <c:v>34.9</c:v>
                </c:pt>
                <c:pt idx="847">
                  <c:v>34.9</c:v>
                </c:pt>
                <c:pt idx="848">
                  <c:v>34.9</c:v>
                </c:pt>
                <c:pt idx="849">
                  <c:v>34.9</c:v>
                </c:pt>
                <c:pt idx="850">
                  <c:v>34.9</c:v>
                </c:pt>
                <c:pt idx="851">
                  <c:v>34.9</c:v>
                </c:pt>
                <c:pt idx="852">
                  <c:v>34.9</c:v>
                </c:pt>
                <c:pt idx="853">
                  <c:v>34.9</c:v>
                </c:pt>
                <c:pt idx="854">
                  <c:v>34.9</c:v>
                </c:pt>
                <c:pt idx="855">
                  <c:v>34.9</c:v>
                </c:pt>
                <c:pt idx="856">
                  <c:v>34.9</c:v>
                </c:pt>
                <c:pt idx="857">
                  <c:v>34.9</c:v>
                </c:pt>
                <c:pt idx="858">
                  <c:v>34.9</c:v>
                </c:pt>
                <c:pt idx="859">
                  <c:v>34.9</c:v>
                </c:pt>
                <c:pt idx="860">
                  <c:v>34.9</c:v>
                </c:pt>
                <c:pt idx="861">
                  <c:v>34.9</c:v>
                </c:pt>
                <c:pt idx="862">
                  <c:v>34.9</c:v>
                </c:pt>
                <c:pt idx="863">
                  <c:v>34.9</c:v>
                </c:pt>
                <c:pt idx="864">
                  <c:v>34.9</c:v>
                </c:pt>
                <c:pt idx="865">
                  <c:v>34.9</c:v>
                </c:pt>
                <c:pt idx="866">
                  <c:v>34.9</c:v>
                </c:pt>
                <c:pt idx="867">
                  <c:v>34.9</c:v>
                </c:pt>
                <c:pt idx="868">
                  <c:v>34.9</c:v>
                </c:pt>
                <c:pt idx="869">
                  <c:v>34.9</c:v>
                </c:pt>
                <c:pt idx="870">
                  <c:v>34.9</c:v>
                </c:pt>
                <c:pt idx="871">
                  <c:v>34.9</c:v>
                </c:pt>
                <c:pt idx="872">
                  <c:v>34.9</c:v>
                </c:pt>
                <c:pt idx="873">
                  <c:v>34.9</c:v>
                </c:pt>
                <c:pt idx="874">
                  <c:v>34.9</c:v>
                </c:pt>
                <c:pt idx="875">
                  <c:v>34.9</c:v>
                </c:pt>
                <c:pt idx="876">
                  <c:v>34.9</c:v>
                </c:pt>
                <c:pt idx="877">
                  <c:v>34.9</c:v>
                </c:pt>
                <c:pt idx="878">
                  <c:v>34.9</c:v>
                </c:pt>
                <c:pt idx="879">
                  <c:v>34.9</c:v>
                </c:pt>
                <c:pt idx="880">
                  <c:v>34.9</c:v>
                </c:pt>
                <c:pt idx="881">
                  <c:v>34.9</c:v>
                </c:pt>
                <c:pt idx="882">
                  <c:v>34.9</c:v>
                </c:pt>
                <c:pt idx="883">
                  <c:v>34.9</c:v>
                </c:pt>
                <c:pt idx="884">
                  <c:v>34.9</c:v>
                </c:pt>
                <c:pt idx="885">
                  <c:v>34.9</c:v>
                </c:pt>
                <c:pt idx="886">
                  <c:v>34.9</c:v>
                </c:pt>
                <c:pt idx="887">
                  <c:v>34.9</c:v>
                </c:pt>
                <c:pt idx="888">
                  <c:v>34.9</c:v>
                </c:pt>
                <c:pt idx="889">
                  <c:v>34.9</c:v>
                </c:pt>
                <c:pt idx="890">
                  <c:v>34.9</c:v>
                </c:pt>
                <c:pt idx="891">
                  <c:v>34.9</c:v>
                </c:pt>
                <c:pt idx="892">
                  <c:v>34.9</c:v>
                </c:pt>
                <c:pt idx="893">
                  <c:v>34.9</c:v>
                </c:pt>
                <c:pt idx="894">
                  <c:v>34.9</c:v>
                </c:pt>
                <c:pt idx="895">
                  <c:v>34.9</c:v>
                </c:pt>
                <c:pt idx="896">
                  <c:v>34.9</c:v>
                </c:pt>
                <c:pt idx="897">
                  <c:v>34.9</c:v>
                </c:pt>
                <c:pt idx="898">
                  <c:v>34.9</c:v>
                </c:pt>
                <c:pt idx="899">
                  <c:v>34.9</c:v>
                </c:pt>
                <c:pt idx="900">
                  <c:v>34.9</c:v>
                </c:pt>
                <c:pt idx="901">
                  <c:v>34.9</c:v>
                </c:pt>
                <c:pt idx="902">
                  <c:v>34.9</c:v>
                </c:pt>
                <c:pt idx="903">
                  <c:v>34.9</c:v>
                </c:pt>
                <c:pt idx="904">
                  <c:v>34.9</c:v>
                </c:pt>
                <c:pt idx="905">
                  <c:v>34.9</c:v>
                </c:pt>
                <c:pt idx="906">
                  <c:v>34.9</c:v>
                </c:pt>
                <c:pt idx="907">
                  <c:v>34.9</c:v>
                </c:pt>
                <c:pt idx="908">
                  <c:v>34.9</c:v>
                </c:pt>
                <c:pt idx="909">
                  <c:v>34.9</c:v>
                </c:pt>
                <c:pt idx="910">
                  <c:v>34.9</c:v>
                </c:pt>
                <c:pt idx="911">
                  <c:v>34.9</c:v>
                </c:pt>
                <c:pt idx="912">
                  <c:v>34.9</c:v>
                </c:pt>
                <c:pt idx="913">
                  <c:v>34.9</c:v>
                </c:pt>
                <c:pt idx="914">
                  <c:v>34.9</c:v>
                </c:pt>
                <c:pt idx="915">
                  <c:v>34.9</c:v>
                </c:pt>
                <c:pt idx="916">
                  <c:v>34.9</c:v>
                </c:pt>
                <c:pt idx="917">
                  <c:v>34.9</c:v>
                </c:pt>
                <c:pt idx="918">
                  <c:v>34.9</c:v>
                </c:pt>
                <c:pt idx="919">
                  <c:v>34.9</c:v>
                </c:pt>
                <c:pt idx="920">
                  <c:v>34.9</c:v>
                </c:pt>
                <c:pt idx="921">
                  <c:v>34.9</c:v>
                </c:pt>
                <c:pt idx="922">
                  <c:v>34.9</c:v>
                </c:pt>
                <c:pt idx="923">
                  <c:v>34.9</c:v>
                </c:pt>
                <c:pt idx="924">
                  <c:v>34.9</c:v>
                </c:pt>
                <c:pt idx="925">
                  <c:v>34.9</c:v>
                </c:pt>
                <c:pt idx="926">
                  <c:v>34.9</c:v>
                </c:pt>
                <c:pt idx="927">
                  <c:v>34.9</c:v>
                </c:pt>
                <c:pt idx="928">
                  <c:v>34.9</c:v>
                </c:pt>
                <c:pt idx="929">
                  <c:v>34.9</c:v>
                </c:pt>
                <c:pt idx="930">
                  <c:v>34.9</c:v>
                </c:pt>
                <c:pt idx="931">
                  <c:v>34.9</c:v>
                </c:pt>
                <c:pt idx="932">
                  <c:v>34.9</c:v>
                </c:pt>
                <c:pt idx="933">
                  <c:v>34.9</c:v>
                </c:pt>
                <c:pt idx="934">
                  <c:v>34.9</c:v>
                </c:pt>
                <c:pt idx="935">
                  <c:v>34.9</c:v>
                </c:pt>
                <c:pt idx="936">
                  <c:v>34.9</c:v>
                </c:pt>
                <c:pt idx="937">
                  <c:v>34.9</c:v>
                </c:pt>
                <c:pt idx="938">
                  <c:v>34.9</c:v>
                </c:pt>
                <c:pt idx="939">
                  <c:v>34.9</c:v>
                </c:pt>
                <c:pt idx="940">
                  <c:v>34.9</c:v>
                </c:pt>
                <c:pt idx="941">
                  <c:v>34.9</c:v>
                </c:pt>
                <c:pt idx="942">
                  <c:v>34.9</c:v>
                </c:pt>
                <c:pt idx="943">
                  <c:v>34.9</c:v>
                </c:pt>
                <c:pt idx="944">
                  <c:v>34.9</c:v>
                </c:pt>
                <c:pt idx="945">
                  <c:v>34.9</c:v>
                </c:pt>
                <c:pt idx="946">
                  <c:v>34.9</c:v>
                </c:pt>
                <c:pt idx="947">
                  <c:v>34.9</c:v>
                </c:pt>
                <c:pt idx="948">
                  <c:v>34.9</c:v>
                </c:pt>
                <c:pt idx="949">
                  <c:v>34.9</c:v>
                </c:pt>
                <c:pt idx="950">
                  <c:v>34.9</c:v>
                </c:pt>
                <c:pt idx="951">
                  <c:v>34.9</c:v>
                </c:pt>
                <c:pt idx="952">
                  <c:v>34.9</c:v>
                </c:pt>
                <c:pt idx="953">
                  <c:v>34.9</c:v>
                </c:pt>
                <c:pt idx="954">
                  <c:v>34.9</c:v>
                </c:pt>
                <c:pt idx="955">
                  <c:v>34.9</c:v>
                </c:pt>
                <c:pt idx="956">
                  <c:v>34.9</c:v>
                </c:pt>
                <c:pt idx="957">
                  <c:v>34.9</c:v>
                </c:pt>
                <c:pt idx="958">
                  <c:v>34.9</c:v>
                </c:pt>
                <c:pt idx="959">
                  <c:v>34.9</c:v>
                </c:pt>
                <c:pt idx="960">
                  <c:v>34.9</c:v>
                </c:pt>
                <c:pt idx="961">
                  <c:v>34.9</c:v>
                </c:pt>
                <c:pt idx="962">
                  <c:v>34.9</c:v>
                </c:pt>
                <c:pt idx="963">
                  <c:v>34.9</c:v>
                </c:pt>
                <c:pt idx="964">
                  <c:v>34.9</c:v>
                </c:pt>
                <c:pt idx="965">
                  <c:v>34.9</c:v>
                </c:pt>
                <c:pt idx="966">
                  <c:v>34.9</c:v>
                </c:pt>
                <c:pt idx="967">
                  <c:v>34.9</c:v>
                </c:pt>
                <c:pt idx="968">
                  <c:v>34.9</c:v>
                </c:pt>
                <c:pt idx="969">
                  <c:v>34.9</c:v>
                </c:pt>
                <c:pt idx="970">
                  <c:v>34.9</c:v>
                </c:pt>
                <c:pt idx="971">
                  <c:v>34.9</c:v>
                </c:pt>
                <c:pt idx="972">
                  <c:v>34.9</c:v>
                </c:pt>
                <c:pt idx="973">
                  <c:v>34.9</c:v>
                </c:pt>
                <c:pt idx="974">
                  <c:v>34.9</c:v>
                </c:pt>
                <c:pt idx="975">
                  <c:v>34.9</c:v>
                </c:pt>
                <c:pt idx="976">
                  <c:v>34.9</c:v>
                </c:pt>
                <c:pt idx="977">
                  <c:v>34.9</c:v>
                </c:pt>
                <c:pt idx="978">
                  <c:v>34.9</c:v>
                </c:pt>
                <c:pt idx="979">
                  <c:v>34.9</c:v>
                </c:pt>
                <c:pt idx="980">
                  <c:v>34.9</c:v>
                </c:pt>
                <c:pt idx="981">
                  <c:v>34.9</c:v>
                </c:pt>
                <c:pt idx="982">
                  <c:v>34.9</c:v>
                </c:pt>
                <c:pt idx="983">
                  <c:v>34.9</c:v>
                </c:pt>
                <c:pt idx="984">
                  <c:v>34.9</c:v>
                </c:pt>
                <c:pt idx="985">
                  <c:v>34.9</c:v>
                </c:pt>
                <c:pt idx="986">
                  <c:v>34.9</c:v>
                </c:pt>
                <c:pt idx="987">
                  <c:v>34.9</c:v>
                </c:pt>
                <c:pt idx="988">
                  <c:v>34.9</c:v>
                </c:pt>
                <c:pt idx="989">
                  <c:v>34.9</c:v>
                </c:pt>
                <c:pt idx="990">
                  <c:v>34.9</c:v>
                </c:pt>
                <c:pt idx="991">
                  <c:v>34.9</c:v>
                </c:pt>
                <c:pt idx="992">
                  <c:v>34.9</c:v>
                </c:pt>
                <c:pt idx="993">
                  <c:v>34.9</c:v>
                </c:pt>
                <c:pt idx="994">
                  <c:v>34.9</c:v>
                </c:pt>
                <c:pt idx="995">
                  <c:v>34.9</c:v>
                </c:pt>
                <c:pt idx="996">
                  <c:v>34.9</c:v>
                </c:pt>
                <c:pt idx="997">
                  <c:v>34.9</c:v>
                </c:pt>
                <c:pt idx="998">
                  <c:v>34.9</c:v>
                </c:pt>
                <c:pt idx="999">
                  <c:v>34.9</c:v>
                </c:pt>
                <c:pt idx="1000">
                  <c:v>34.9</c:v>
                </c:pt>
                <c:pt idx="1001">
                  <c:v>34.9</c:v>
                </c:pt>
                <c:pt idx="1002">
                  <c:v>34.9</c:v>
                </c:pt>
                <c:pt idx="1003">
                  <c:v>34.9</c:v>
                </c:pt>
                <c:pt idx="1004">
                  <c:v>34.9</c:v>
                </c:pt>
                <c:pt idx="1005">
                  <c:v>34.9</c:v>
                </c:pt>
                <c:pt idx="1006">
                  <c:v>34.9</c:v>
                </c:pt>
                <c:pt idx="1007">
                  <c:v>34.9</c:v>
                </c:pt>
                <c:pt idx="1008">
                  <c:v>34.9</c:v>
                </c:pt>
                <c:pt idx="1009">
                  <c:v>34.9</c:v>
                </c:pt>
                <c:pt idx="1010">
                  <c:v>34.9</c:v>
                </c:pt>
                <c:pt idx="1011">
                  <c:v>34.9</c:v>
                </c:pt>
                <c:pt idx="1012">
                  <c:v>34.9</c:v>
                </c:pt>
                <c:pt idx="1013">
                  <c:v>34.9</c:v>
                </c:pt>
                <c:pt idx="1014">
                  <c:v>34.9</c:v>
                </c:pt>
                <c:pt idx="1015">
                  <c:v>34.9</c:v>
                </c:pt>
                <c:pt idx="1016">
                  <c:v>34.9</c:v>
                </c:pt>
                <c:pt idx="1017">
                  <c:v>34.9</c:v>
                </c:pt>
                <c:pt idx="1018">
                  <c:v>34.9</c:v>
                </c:pt>
                <c:pt idx="1019">
                  <c:v>34.9</c:v>
                </c:pt>
                <c:pt idx="1020">
                  <c:v>34.9</c:v>
                </c:pt>
                <c:pt idx="1021">
                  <c:v>34.9</c:v>
                </c:pt>
                <c:pt idx="1022">
                  <c:v>34.9</c:v>
                </c:pt>
                <c:pt idx="1023">
                  <c:v>34.9</c:v>
                </c:pt>
                <c:pt idx="1024">
                  <c:v>34.9</c:v>
                </c:pt>
                <c:pt idx="1025">
                  <c:v>34.9</c:v>
                </c:pt>
                <c:pt idx="1026">
                  <c:v>34.9</c:v>
                </c:pt>
                <c:pt idx="1027">
                  <c:v>34.9</c:v>
                </c:pt>
                <c:pt idx="1028">
                  <c:v>34.9</c:v>
                </c:pt>
                <c:pt idx="1029">
                  <c:v>34.9</c:v>
                </c:pt>
                <c:pt idx="1030">
                  <c:v>34.9</c:v>
                </c:pt>
                <c:pt idx="1031">
                  <c:v>34.9</c:v>
                </c:pt>
                <c:pt idx="1032">
                  <c:v>34.9</c:v>
                </c:pt>
                <c:pt idx="1033">
                  <c:v>34.9</c:v>
                </c:pt>
                <c:pt idx="1034">
                  <c:v>34.9</c:v>
                </c:pt>
                <c:pt idx="1035">
                  <c:v>34.9</c:v>
                </c:pt>
                <c:pt idx="1036">
                  <c:v>34.9</c:v>
                </c:pt>
                <c:pt idx="1037">
                  <c:v>34.9</c:v>
                </c:pt>
                <c:pt idx="1038">
                  <c:v>34.9</c:v>
                </c:pt>
                <c:pt idx="1039">
                  <c:v>34.9</c:v>
                </c:pt>
                <c:pt idx="1040">
                  <c:v>34.9</c:v>
                </c:pt>
                <c:pt idx="1041">
                  <c:v>34.9</c:v>
                </c:pt>
                <c:pt idx="1042">
                  <c:v>34.9</c:v>
                </c:pt>
                <c:pt idx="1043">
                  <c:v>34.9</c:v>
                </c:pt>
                <c:pt idx="1044">
                  <c:v>34.9</c:v>
                </c:pt>
                <c:pt idx="1045">
                  <c:v>34.9</c:v>
                </c:pt>
                <c:pt idx="1046">
                  <c:v>34.9</c:v>
                </c:pt>
                <c:pt idx="1047">
                  <c:v>34.9</c:v>
                </c:pt>
                <c:pt idx="1048">
                  <c:v>34.9</c:v>
                </c:pt>
                <c:pt idx="1049">
                  <c:v>34.9</c:v>
                </c:pt>
                <c:pt idx="1050">
                  <c:v>34.9</c:v>
                </c:pt>
                <c:pt idx="1051">
                  <c:v>34.9</c:v>
                </c:pt>
                <c:pt idx="1052">
                  <c:v>34.9</c:v>
                </c:pt>
                <c:pt idx="1053">
                  <c:v>34.9</c:v>
                </c:pt>
                <c:pt idx="1054">
                  <c:v>34.9</c:v>
                </c:pt>
                <c:pt idx="1055">
                  <c:v>34.9</c:v>
                </c:pt>
                <c:pt idx="1056">
                  <c:v>34.9</c:v>
                </c:pt>
                <c:pt idx="1057">
                  <c:v>34.9</c:v>
                </c:pt>
                <c:pt idx="1058">
                  <c:v>34.9</c:v>
                </c:pt>
                <c:pt idx="1059">
                  <c:v>34.9</c:v>
                </c:pt>
                <c:pt idx="1060">
                  <c:v>34.9</c:v>
                </c:pt>
                <c:pt idx="1061">
                  <c:v>34.9</c:v>
                </c:pt>
                <c:pt idx="1062">
                  <c:v>34.9</c:v>
                </c:pt>
                <c:pt idx="1063">
                  <c:v>34.9</c:v>
                </c:pt>
                <c:pt idx="1064">
                  <c:v>34.9</c:v>
                </c:pt>
                <c:pt idx="1065">
                  <c:v>34.9</c:v>
                </c:pt>
                <c:pt idx="1066">
                  <c:v>34.9</c:v>
                </c:pt>
                <c:pt idx="1067">
                  <c:v>34.9</c:v>
                </c:pt>
                <c:pt idx="1068">
                  <c:v>34.9</c:v>
                </c:pt>
                <c:pt idx="1069">
                  <c:v>34.9</c:v>
                </c:pt>
                <c:pt idx="1070">
                  <c:v>34.9</c:v>
                </c:pt>
                <c:pt idx="1071">
                  <c:v>34.9</c:v>
                </c:pt>
                <c:pt idx="1072">
                  <c:v>34.9</c:v>
                </c:pt>
                <c:pt idx="1073">
                  <c:v>34.9</c:v>
                </c:pt>
                <c:pt idx="1074">
                  <c:v>34.9</c:v>
                </c:pt>
                <c:pt idx="1075">
                  <c:v>34.9</c:v>
                </c:pt>
                <c:pt idx="1076">
                  <c:v>34.9</c:v>
                </c:pt>
                <c:pt idx="1077">
                  <c:v>34.9</c:v>
                </c:pt>
                <c:pt idx="1078">
                  <c:v>34.9</c:v>
                </c:pt>
                <c:pt idx="1079">
                  <c:v>34.9</c:v>
                </c:pt>
                <c:pt idx="1080">
                  <c:v>34.9</c:v>
                </c:pt>
                <c:pt idx="1081">
                  <c:v>34.9</c:v>
                </c:pt>
                <c:pt idx="1082">
                  <c:v>34.9</c:v>
                </c:pt>
                <c:pt idx="1083">
                  <c:v>34.9</c:v>
                </c:pt>
                <c:pt idx="1084">
                  <c:v>34.9</c:v>
                </c:pt>
                <c:pt idx="1085">
                  <c:v>34.9</c:v>
                </c:pt>
                <c:pt idx="1086">
                  <c:v>34.9</c:v>
                </c:pt>
                <c:pt idx="1087">
                  <c:v>34.9</c:v>
                </c:pt>
                <c:pt idx="1088">
                  <c:v>34.9</c:v>
                </c:pt>
                <c:pt idx="1089">
                  <c:v>34.9</c:v>
                </c:pt>
                <c:pt idx="1090">
                  <c:v>34.9</c:v>
                </c:pt>
                <c:pt idx="1091">
                  <c:v>34.9</c:v>
                </c:pt>
                <c:pt idx="1092">
                  <c:v>34.9</c:v>
                </c:pt>
                <c:pt idx="1093">
                  <c:v>34.9</c:v>
                </c:pt>
                <c:pt idx="1094">
                  <c:v>34.9</c:v>
                </c:pt>
                <c:pt idx="1095">
                  <c:v>34.9</c:v>
                </c:pt>
                <c:pt idx="1096">
                  <c:v>34.9</c:v>
                </c:pt>
                <c:pt idx="1097">
                  <c:v>34.9</c:v>
                </c:pt>
                <c:pt idx="1098">
                  <c:v>34.9</c:v>
                </c:pt>
                <c:pt idx="1099">
                  <c:v>34.9</c:v>
                </c:pt>
                <c:pt idx="1100">
                  <c:v>34.9</c:v>
                </c:pt>
                <c:pt idx="1101">
                  <c:v>34.9</c:v>
                </c:pt>
                <c:pt idx="1102">
                  <c:v>34.9</c:v>
                </c:pt>
                <c:pt idx="1103">
                  <c:v>34.9</c:v>
                </c:pt>
                <c:pt idx="1104">
                  <c:v>34.9</c:v>
                </c:pt>
                <c:pt idx="1105">
                  <c:v>34.9</c:v>
                </c:pt>
                <c:pt idx="1106">
                  <c:v>34.9</c:v>
                </c:pt>
                <c:pt idx="1107">
                  <c:v>34.9</c:v>
                </c:pt>
                <c:pt idx="1108">
                  <c:v>34.9</c:v>
                </c:pt>
                <c:pt idx="1109">
                  <c:v>34.9</c:v>
                </c:pt>
                <c:pt idx="1110">
                  <c:v>34.9</c:v>
                </c:pt>
                <c:pt idx="1111">
                  <c:v>34.9</c:v>
                </c:pt>
                <c:pt idx="1112">
                  <c:v>34.9</c:v>
                </c:pt>
                <c:pt idx="1113">
                  <c:v>34.9</c:v>
                </c:pt>
                <c:pt idx="1114">
                  <c:v>34.9</c:v>
                </c:pt>
                <c:pt idx="1115">
                  <c:v>34.9</c:v>
                </c:pt>
                <c:pt idx="1116">
                  <c:v>34.9</c:v>
                </c:pt>
                <c:pt idx="1117">
                  <c:v>34.9</c:v>
                </c:pt>
                <c:pt idx="1118">
                  <c:v>34.9</c:v>
                </c:pt>
                <c:pt idx="1119">
                  <c:v>34.9</c:v>
                </c:pt>
                <c:pt idx="1120">
                  <c:v>34.9</c:v>
                </c:pt>
                <c:pt idx="1121">
                  <c:v>34.9</c:v>
                </c:pt>
                <c:pt idx="1122">
                  <c:v>34.9</c:v>
                </c:pt>
                <c:pt idx="1123">
                  <c:v>34.9</c:v>
                </c:pt>
                <c:pt idx="1124">
                  <c:v>34.9</c:v>
                </c:pt>
                <c:pt idx="1125">
                  <c:v>34.9</c:v>
                </c:pt>
                <c:pt idx="1126">
                  <c:v>34.9</c:v>
                </c:pt>
                <c:pt idx="1127">
                  <c:v>34.9</c:v>
                </c:pt>
                <c:pt idx="1128">
                  <c:v>34.9</c:v>
                </c:pt>
                <c:pt idx="1129">
                  <c:v>34.9</c:v>
                </c:pt>
                <c:pt idx="1130">
                  <c:v>34.9</c:v>
                </c:pt>
                <c:pt idx="1131">
                  <c:v>34.9</c:v>
                </c:pt>
                <c:pt idx="1132">
                  <c:v>34.9</c:v>
                </c:pt>
                <c:pt idx="1133">
                  <c:v>34.9</c:v>
                </c:pt>
                <c:pt idx="1134">
                  <c:v>34.9</c:v>
                </c:pt>
                <c:pt idx="1135">
                  <c:v>34.9</c:v>
                </c:pt>
                <c:pt idx="1136">
                  <c:v>34.9</c:v>
                </c:pt>
                <c:pt idx="1137">
                  <c:v>34.9</c:v>
                </c:pt>
                <c:pt idx="1138">
                  <c:v>34.9</c:v>
                </c:pt>
                <c:pt idx="1139">
                  <c:v>34.9</c:v>
                </c:pt>
                <c:pt idx="1140">
                  <c:v>34.9</c:v>
                </c:pt>
                <c:pt idx="1141">
                  <c:v>34.9</c:v>
                </c:pt>
                <c:pt idx="1142">
                  <c:v>34.9</c:v>
                </c:pt>
                <c:pt idx="1143">
                  <c:v>34.9</c:v>
                </c:pt>
                <c:pt idx="1144">
                  <c:v>34.9</c:v>
                </c:pt>
                <c:pt idx="1145">
                  <c:v>34.9</c:v>
                </c:pt>
                <c:pt idx="1146">
                  <c:v>34.9</c:v>
                </c:pt>
                <c:pt idx="1147">
                  <c:v>34.9</c:v>
                </c:pt>
                <c:pt idx="1148">
                  <c:v>34.9</c:v>
                </c:pt>
                <c:pt idx="1149">
                  <c:v>34.9</c:v>
                </c:pt>
                <c:pt idx="1150">
                  <c:v>34.9</c:v>
                </c:pt>
                <c:pt idx="1151">
                  <c:v>35</c:v>
                </c:pt>
                <c:pt idx="1152">
                  <c:v>35</c:v>
                </c:pt>
                <c:pt idx="1153">
                  <c:v>35</c:v>
                </c:pt>
                <c:pt idx="1154">
                  <c:v>35</c:v>
                </c:pt>
                <c:pt idx="1155">
                  <c:v>35</c:v>
                </c:pt>
                <c:pt idx="1156">
                  <c:v>35</c:v>
                </c:pt>
                <c:pt idx="1157">
                  <c:v>35</c:v>
                </c:pt>
                <c:pt idx="1158">
                  <c:v>35</c:v>
                </c:pt>
                <c:pt idx="1159">
                  <c:v>35</c:v>
                </c:pt>
                <c:pt idx="1160">
                  <c:v>35</c:v>
                </c:pt>
                <c:pt idx="1161">
                  <c:v>35</c:v>
                </c:pt>
                <c:pt idx="1162">
                  <c:v>35</c:v>
                </c:pt>
                <c:pt idx="1163">
                  <c:v>35</c:v>
                </c:pt>
                <c:pt idx="1164">
                  <c:v>35</c:v>
                </c:pt>
                <c:pt idx="1165">
                  <c:v>35</c:v>
                </c:pt>
                <c:pt idx="1166">
                  <c:v>35</c:v>
                </c:pt>
                <c:pt idx="1167">
                  <c:v>35</c:v>
                </c:pt>
                <c:pt idx="1168">
                  <c:v>35</c:v>
                </c:pt>
                <c:pt idx="1169">
                  <c:v>35</c:v>
                </c:pt>
                <c:pt idx="1170">
                  <c:v>35</c:v>
                </c:pt>
                <c:pt idx="1171">
                  <c:v>35</c:v>
                </c:pt>
                <c:pt idx="1172">
                  <c:v>35</c:v>
                </c:pt>
                <c:pt idx="1173">
                  <c:v>35</c:v>
                </c:pt>
                <c:pt idx="1174">
                  <c:v>35</c:v>
                </c:pt>
                <c:pt idx="1175">
                  <c:v>35</c:v>
                </c:pt>
                <c:pt idx="1176">
                  <c:v>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749-4B1D-949A-04EFD5785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6669696"/>
        <c:axId val="56671232"/>
      </c:lineChart>
      <c:catAx>
        <c:axId val="56669696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low"/>
        <c:txPr>
          <a:bodyPr/>
          <a:lstStyle/>
          <a:p>
            <a:pPr>
              <a:defRPr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pPr>
            <a:endParaRPr lang="ja-JP"/>
          </a:p>
        </c:txPr>
        <c:crossAx val="56671232"/>
        <c:crossesAt val="-10"/>
        <c:auto val="1"/>
        <c:lblAlgn val="ctr"/>
        <c:lblOffset val="100"/>
        <c:tickLblSkip val="48"/>
        <c:tickMarkSkip val="48"/>
        <c:noMultiLvlLbl val="0"/>
      </c:catAx>
      <c:valAx>
        <c:axId val="56671232"/>
        <c:scaling>
          <c:orientation val="minMax"/>
          <c:max val="40"/>
          <c:min val="-5"/>
        </c:scaling>
        <c:delete val="0"/>
        <c:axPos val="l"/>
        <c:numFmt formatCode="General" sourceLinked="1"/>
        <c:majorTickMark val="in"/>
        <c:minorTickMark val="none"/>
        <c:tickLblPos val="nextTo"/>
        <c:txPr>
          <a:bodyPr/>
          <a:lstStyle/>
          <a:p>
            <a:pPr>
              <a:defRPr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pPr>
            <a:endParaRPr lang="ja-JP"/>
          </a:p>
        </c:txPr>
        <c:crossAx val="56669696"/>
        <c:crosses val="autoZero"/>
        <c:crossBetween val="midCat"/>
      </c:val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solidFill>
        <a:srgbClr val="FFFFFF">
          <a:lumMod val="75000"/>
        </a:srgbClr>
      </a:solidFill>
    </a:ln>
  </c:sp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5A-4F77-96CD-5062AB634054}"/>
              </c:ext>
            </c:extLst>
          </c:dPt>
          <c:dPt>
            <c:idx val="1"/>
            <c:invertIfNegative val="0"/>
            <c:bubble3D val="0"/>
            <c:spPr>
              <a:solidFill>
                <a:srgbClr val="D2DBFD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5A-4F77-96CD-5062AB634054}"/>
              </c:ext>
            </c:extLst>
          </c:dPt>
          <c:cat>
            <c:strRef>
              <c:f>Sheet1!$C$4:$D$4</c:f>
              <c:strCache>
                <c:ptCount val="2"/>
                <c:pt idx="0">
                  <c:v>従来</c:v>
                </c:pt>
                <c:pt idx="1">
                  <c:v>e-Cool</c:v>
                </c:pt>
              </c:strCache>
            </c:strRef>
          </c:cat>
          <c:val>
            <c:numRef>
              <c:f>Sheet1!$C$5:$D$5</c:f>
              <c:numCache>
                <c:formatCode>General</c:formatCode>
                <c:ptCount val="2"/>
                <c:pt idx="0">
                  <c:v>20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5A-4F77-96CD-5062AB6340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overlap val="-27"/>
        <c:axId val="397818304"/>
        <c:axId val="397817320"/>
      </c:barChart>
      <c:catAx>
        <c:axId val="397818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pPr>
            <a:endParaRPr lang="ja-JP"/>
          </a:p>
        </c:txPr>
        <c:crossAx val="397817320"/>
        <c:crosses val="autoZero"/>
        <c:auto val="0"/>
        <c:lblAlgn val="ctr"/>
        <c:lblOffset val="100"/>
        <c:noMultiLvlLbl val="0"/>
      </c:catAx>
      <c:valAx>
        <c:axId val="39781732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397818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ja-JP"/>
    </a:p>
  </c:txPr>
  <c:externalData r:id="rId4">
    <c:autoUpdate val="0"/>
  </c:externalData>
  <c:userShapes r:id="rId5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8967236467236469E-2"/>
          <c:y val="0.11493467975018778"/>
          <c:w val="0.90206552706552712"/>
          <c:h val="0.6527431561996779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D2DBFD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B87-45C0-A3ED-43FCBD0520E2}"/>
              </c:ext>
            </c:extLst>
          </c:dPt>
          <c:cat>
            <c:strRef>
              <c:f>Sheet1!$G$4:$H$4</c:f>
              <c:strCache>
                <c:ptCount val="2"/>
                <c:pt idx="0">
                  <c:v>従来</c:v>
                </c:pt>
                <c:pt idx="1">
                  <c:v>e-Cool</c:v>
                </c:pt>
              </c:strCache>
            </c:strRef>
          </c:cat>
          <c:val>
            <c:numRef>
              <c:f>Sheet1!$G$5:$H$5</c:f>
              <c:numCache>
                <c:formatCode>General</c:formatCode>
                <c:ptCount val="2"/>
                <c:pt idx="0">
                  <c:v>100</c:v>
                </c:pt>
                <c:pt idx="1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B87-45C0-A3ED-43FCBD0520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overlap val="-27"/>
        <c:axId val="635598656"/>
        <c:axId val="635596688"/>
      </c:barChart>
      <c:catAx>
        <c:axId val="635598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pPr>
            <a:endParaRPr lang="ja-JP"/>
          </a:p>
        </c:txPr>
        <c:crossAx val="635596688"/>
        <c:crosses val="autoZero"/>
        <c:auto val="1"/>
        <c:lblAlgn val="ctr"/>
        <c:lblOffset val="100"/>
        <c:noMultiLvlLbl val="0"/>
      </c:catAx>
      <c:valAx>
        <c:axId val="635596688"/>
        <c:scaling>
          <c:orientation val="minMax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35598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ja-JP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855456534028795E-2"/>
          <c:y val="0.10943104473356242"/>
          <c:w val="0.89628908693194242"/>
          <c:h val="0.6545958297137011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530-4EFA-AF62-65B66726841F}"/>
              </c:ext>
            </c:extLst>
          </c:dPt>
          <c:dPt>
            <c:idx val="1"/>
            <c:invertIfNegative val="0"/>
            <c:bubble3D val="0"/>
            <c:spPr>
              <a:solidFill>
                <a:srgbClr val="D2DBFD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530-4EFA-AF62-65B66726841F}"/>
              </c:ext>
            </c:extLst>
          </c:dPt>
          <c:cat>
            <c:strRef>
              <c:f>Sheet1!$J$4:$K$4</c:f>
              <c:strCache>
                <c:ptCount val="2"/>
                <c:pt idx="0">
                  <c:v>従来</c:v>
                </c:pt>
                <c:pt idx="1">
                  <c:v>e-Cool</c:v>
                </c:pt>
              </c:strCache>
            </c:strRef>
          </c:cat>
          <c:val>
            <c:numRef>
              <c:f>Sheet1!$J$5:$K$5</c:f>
              <c:numCache>
                <c:formatCode>General</c:formatCode>
                <c:ptCount val="2"/>
                <c:pt idx="0">
                  <c:v>200</c:v>
                </c:pt>
                <c:pt idx="1">
                  <c:v>1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530-4EFA-AF62-65B6672684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overlap val="-27"/>
        <c:axId val="472371264"/>
        <c:axId val="472374872"/>
      </c:barChart>
      <c:catAx>
        <c:axId val="472371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900" b="0" i="0" u="none" strike="noStrike" kern="1200" baseline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pPr>
            <a:endParaRPr lang="ja-JP"/>
          </a:p>
        </c:txPr>
        <c:crossAx val="472374872"/>
        <c:crosses val="autoZero"/>
        <c:auto val="1"/>
        <c:lblAlgn val="ctr"/>
        <c:lblOffset val="100"/>
        <c:noMultiLvlLbl val="0"/>
      </c:catAx>
      <c:valAx>
        <c:axId val="472374872"/>
        <c:scaling>
          <c:orientation val="minMax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72371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ja-JP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329</cdr:x>
      <cdr:y>0.70456</cdr:y>
    </cdr:from>
    <cdr:to>
      <cdr:x>0.97452</cdr:x>
      <cdr:y>0.80087</cdr:y>
    </cdr:to>
    <cdr:sp macro="" textlink="">
      <cdr:nvSpPr>
        <cdr:cNvPr id="2" name="正方形/長方形 1"/>
        <cdr:cNvSpPr xmlns:a="http://schemas.openxmlformats.org/drawingml/2006/main"/>
      </cdr:nvSpPr>
      <cdr:spPr>
        <a:xfrm xmlns:a="http://schemas.openxmlformats.org/drawingml/2006/main">
          <a:off x="383101" y="1416431"/>
          <a:ext cx="6622918" cy="193627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2">
            <a:lumMod val="75000"/>
            <a:alpha val="20000"/>
          </a:schemeClr>
        </a:solidFill>
        <a:ln xmlns:a="http://schemas.openxmlformats.org/drawingml/2006/main" w="3175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ja-JP" altLang="en-US"/>
        </a:p>
      </cdr:txBody>
    </cdr:sp>
  </cdr:relSizeAnchor>
  <cdr:relSizeAnchor xmlns:cdr="http://schemas.openxmlformats.org/drawingml/2006/chartDrawing">
    <cdr:from>
      <cdr:x>0.07268</cdr:x>
      <cdr:y>0.06323</cdr:y>
    </cdr:from>
    <cdr:to>
      <cdr:x>0.19205</cdr:x>
      <cdr:y>0.26638</cdr:y>
    </cdr:to>
    <cdr:sp macro="" textlink="">
      <cdr:nvSpPr>
        <cdr:cNvPr id="3" name="テキスト ボックス 2"/>
        <cdr:cNvSpPr txBox="1"/>
      </cdr:nvSpPr>
      <cdr:spPr>
        <a:xfrm xmlns:a="http://schemas.openxmlformats.org/drawingml/2006/main">
          <a:off x="556729" y="284582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ja-JP" altLang="en-US" sz="1100" dirty="0"/>
        </a:p>
      </cdr:txBody>
    </cdr:sp>
  </cdr:relSizeAnchor>
  <cdr:relSizeAnchor xmlns:cdr="http://schemas.openxmlformats.org/drawingml/2006/chartDrawing">
    <cdr:from>
      <cdr:x>0.07203</cdr:x>
      <cdr:y>0.22662</cdr:y>
    </cdr:from>
    <cdr:to>
      <cdr:x>0.4301</cdr:x>
      <cdr:y>0.3363</cdr:y>
    </cdr:to>
    <cdr:sp macro="" textlink="">
      <cdr:nvSpPr>
        <cdr:cNvPr id="4" name="テキスト ボックス 30"/>
        <cdr:cNvSpPr txBox="1"/>
      </cdr:nvSpPr>
      <cdr:spPr>
        <a:xfrm xmlns:a="http://schemas.openxmlformats.org/drawingml/2006/main">
          <a:off x="517832" y="540530"/>
          <a:ext cx="2574254" cy="26161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ja-JP"/>
          </a:defPPr>
          <a:lvl1pPr algn="l" rtl="0" fontAlgn="base">
            <a:spcBef>
              <a:spcPct val="0"/>
            </a:spcBef>
            <a:spcAft>
              <a:spcPct val="0"/>
            </a:spcAft>
            <a:defRPr kumimoji="1" kern="1200">
              <a:solidFill>
                <a:schemeClr val="tx2"/>
              </a:solidFill>
              <a:latin typeface="HG丸ｺﾞｼｯｸM-PRO" pitchFamily="50" charset="-128"/>
              <a:ea typeface="ＭＳ Ｐゴシック" charset="-128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umimoji="1" kern="1200">
              <a:solidFill>
                <a:schemeClr val="tx2"/>
              </a:solidFill>
              <a:latin typeface="HG丸ｺﾞｼｯｸM-PRO" pitchFamily="50" charset="-128"/>
              <a:ea typeface="ＭＳ Ｐゴシック" charset="-128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umimoji="1" kern="1200">
              <a:solidFill>
                <a:schemeClr val="tx2"/>
              </a:solidFill>
              <a:latin typeface="HG丸ｺﾞｼｯｸM-PRO" pitchFamily="50" charset="-128"/>
              <a:ea typeface="ＭＳ Ｐゴシック" charset="-128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umimoji="1" kern="1200">
              <a:solidFill>
                <a:schemeClr val="tx2"/>
              </a:solidFill>
              <a:latin typeface="HG丸ｺﾞｼｯｸM-PRO" pitchFamily="50" charset="-128"/>
              <a:ea typeface="ＭＳ Ｐゴシック" charset="-128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umimoji="1" kern="1200">
              <a:solidFill>
                <a:schemeClr val="tx2"/>
              </a:solidFill>
              <a:latin typeface="HG丸ｺﾞｼｯｸM-PRO" pitchFamily="50" charset="-128"/>
              <a:ea typeface="ＭＳ Ｐゴシック" charset="-128"/>
              <a:cs typeface="+mn-cs"/>
            </a:defRPr>
          </a:lvl5pPr>
          <a:lvl6pPr marL="2286000" algn="l" defTabSz="914400" rtl="0" eaLnBrk="1" latinLnBrk="0" hangingPunct="1">
            <a:defRPr kumimoji="1" kern="1200">
              <a:solidFill>
                <a:schemeClr val="tx2"/>
              </a:solidFill>
              <a:latin typeface="HG丸ｺﾞｼｯｸM-PRO" pitchFamily="50" charset="-128"/>
              <a:ea typeface="ＭＳ Ｐゴシック" charset="-128"/>
              <a:cs typeface="+mn-cs"/>
            </a:defRPr>
          </a:lvl6pPr>
          <a:lvl7pPr marL="2743200" algn="l" defTabSz="914400" rtl="0" eaLnBrk="1" latinLnBrk="0" hangingPunct="1">
            <a:defRPr kumimoji="1" kern="1200">
              <a:solidFill>
                <a:schemeClr val="tx2"/>
              </a:solidFill>
              <a:latin typeface="HG丸ｺﾞｼｯｸM-PRO" pitchFamily="50" charset="-128"/>
              <a:ea typeface="ＭＳ Ｐゴシック" charset="-128"/>
              <a:cs typeface="+mn-cs"/>
            </a:defRPr>
          </a:lvl7pPr>
          <a:lvl8pPr marL="3200400" algn="l" defTabSz="914400" rtl="0" eaLnBrk="1" latinLnBrk="0" hangingPunct="1">
            <a:defRPr kumimoji="1" kern="1200">
              <a:solidFill>
                <a:schemeClr val="tx2"/>
              </a:solidFill>
              <a:latin typeface="HG丸ｺﾞｼｯｸM-PRO" pitchFamily="50" charset="-128"/>
              <a:ea typeface="ＭＳ Ｐゴシック" charset="-128"/>
              <a:cs typeface="+mn-cs"/>
            </a:defRPr>
          </a:lvl8pPr>
          <a:lvl9pPr marL="3657600" algn="l" defTabSz="914400" rtl="0" eaLnBrk="1" latinLnBrk="0" hangingPunct="1">
            <a:defRPr kumimoji="1" kern="1200">
              <a:solidFill>
                <a:schemeClr val="tx2"/>
              </a:solidFill>
              <a:latin typeface="HG丸ｺﾞｼｯｸM-PRO" pitchFamily="50" charset="-128"/>
              <a:ea typeface="ＭＳ Ｐゴシック" charset="-128"/>
              <a:cs typeface="+mn-cs"/>
            </a:defRPr>
          </a:lvl9pPr>
        </a:lstStyle>
        <a:p xmlns:a="http://schemas.openxmlformats.org/drawingml/2006/main">
          <a:pPr marL="179388" indent="-179388">
            <a:defRPr/>
          </a:pPr>
          <a:r>
            <a:rPr lang="ja-JP" altLang="en-US" sz="1000" dirty="0">
              <a:solidFill>
                <a:srgbClr val="000000"/>
              </a:solidFill>
              <a:latin typeface="+mn-ea"/>
              <a:ea typeface="+mn-ea"/>
            </a:rPr>
            <a:t>▼</a:t>
          </a:r>
          <a:r>
            <a:rPr lang="en-US" altLang="ja-JP" sz="10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rPr>
            <a:t>Refrigerant: Ice pack</a:t>
          </a:r>
          <a:r>
            <a:rPr lang="ja-JP" altLang="en-US" sz="10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rPr>
            <a:t> </a:t>
          </a:r>
          <a:r>
            <a:rPr lang="en-US" altLang="ja-JP" sz="10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rPr>
            <a:t>10kg</a:t>
          </a:r>
          <a:r>
            <a:rPr lang="ja-JP" altLang="en-US" sz="1100" dirty="0">
              <a:solidFill>
                <a:srgbClr val="000000"/>
              </a:solidFill>
              <a:latin typeface="+mn-ea"/>
              <a:ea typeface="+mn-ea"/>
            </a:rPr>
            <a:t>　</a:t>
          </a:r>
          <a:endParaRPr lang="en-US" altLang="ja-JP" sz="1100" dirty="0">
            <a:solidFill>
              <a:srgbClr val="000000"/>
            </a:solidFill>
            <a:latin typeface="+mn-ea"/>
            <a:ea typeface="+mn-ea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5322</cdr:x>
      <cdr:y>0.31601</cdr:y>
    </cdr:from>
    <cdr:to>
      <cdr:x>0.63611</cdr:x>
      <cdr:y>0.51452</cdr:y>
    </cdr:to>
    <cdr:cxnSp macro="">
      <cdr:nvCxnSpPr>
        <cdr:cNvPr id="5" name="直線コネクタ 4">
          <a:extLst xmlns:a="http://schemas.openxmlformats.org/drawingml/2006/main">
            <a:ext uri="{FF2B5EF4-FFF2-40B4-BE49-F238E27FC236}">
              <a16:creationId xmlns:a16="http://schemas.microsoft.com/office/drawing/2014/main" id="{DD027E22-7575-ADE5-092F-E55DE826F1EE}"/>
            </a:ext>
          </a:extLst>
        </cdr:cNvPr>
        <cdr:cNvCxnSpPr/>
      </cdr:nvCxnSpPr>
      <cdr:spPr bwMode="auto">
        <a:xfrm xmlns:a="http://schemas.openxmlformats.org/drawingml/2006/main">
          <a:off x="928848" y="392662"/>
          <a:ext cx="743917" cy="246650"/>
        </a:xfrm>
        <a:prstGeom xmlns:a="http://schemas.openxmlformats.org/drawingml/2006/main" prst="line">
          <a:avLst/>
        </a:prstGeom>
        <a:solidFill xmlns:a="http://schemas.openxmlformats.org/drawingml/2006/main">
          <a:schemeClr val="hlink"/>
        </a:solidFill>
        <a:ln xmlns:a="http://schemas.openxmlformats.org/drawingml/2006/main">
          <a:solidFill>
            <a:schemeClr val="tx1"/>
          </a:solidFill>
          <a:prstDash val="dash"/>
          <a:headEnd type="none" w="med" len="med"/>
          <a:tailEnd type="none" w="med" len="med"/>
        </a:ln>
        <a:effectLst xmlns:a="http://schemas.openxmlformats.org/drawingml/2006/main"/>
        <a:extLst xmlns:a="http://schemas.openxmlformats.org/drawingml/2006/main"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cdr:spPr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9575" cy="496888"/>
          </a:xfrm>
          <a:prstGeom prst="rect">
            <a:avLst/>
          </a:prstGeom>
          <a:noFill/>
          <a:ln>
            <a:noFill/>
          </a:ln>
        </p:spPr>
        <p:txBody>
          <a:bodyPr vert="horz" wrap="square" lIns="88284" tIns="44143" rIns="88284" bIns="44143" numCol="1" anchor="t" anchorCtr="0" compatLnSpc="1">
            <a:prstTxWarp prst="textNoShape">
              <a:avLst/>
            </a:prstTxWarp>
          </a:bodyPr>
          <a:lstStyle>
            <a:lvl1pPr algn="l" defTabSz="882556" eaLnBrk="1" hangingPunct="1">
              <a:spcAft>
                <a:spcPct val="0"/>
              </a:spcAft>
              <a:buClrTx/>
              <a:buFontTx/>
              <a:buNone/>
              <a:defRPr sz="1200">
                <a:latin typeface="HG丸ｺﾞｼｯｸM-PRO" pitchFamily="50" charset="-128"/>
                <a:ea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6038" y="0"/>
            <a:ext cx="2949575" cy="496888"/>
          </a:xfrm>
          <a:prstGeom prst="rect">
            <a:avLst/>
          </a:prstGeom>
          <a:noFill/>
          <a:ln>
            <a:noFill/>
          </a:ln>
        </p:spPr>
        <p:txBody>
          <a:bodyPr vert="horz" wrap="square" lIns="88284" tIns="44143" rIns="88284" bIns="44143" numCol="1" anchor="t" anchorCtr="0" compatLnSpc="1">
            <a:prstTxWarp prst="textNoShape">
              <a:avLst/>
            </a:prstTxWarp>
          </a:bodyPr>
          <a:lstStyle>
            <a:lvl1pPr algn="r" defTabSz="882556" eaLnBrk="1" hangingPunct="1">
              <a:spcAft>
                <a:spcPct val="0"/>
              </a:spcAft>
              <a:buClrTx/>
              <a:buFontTx/>
              <a:buNone/>
              <a:defRPr sz="1200">
                <a:latin typeface="HG丸ｺﾞｼｯｸM-PRO" pitchFamily="50" charset="-128"/>
                <a:ea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40863"/>
            <a:ext cx="2949575" cy="496887"/>
          </a:xfrm>
          <a:prstGeom prst="rect">
            <a:avLst/>
          </a:prstGeom>
          <a:noFill/>
          <a:ln>
            <a:noFill/>
          </a:ln>
        </p:spPr>
        <p:txBody>
          <a:bodyPr vert="horz" wrap="square" lIns="88284" tIns="44143" rIns="88284" bIns="44143" numCol="1" anchor="b" anchorCtr="0" compatLnSpc="1">
            <a:prstTxWarp prst="textNoShape">
              <a:avLst/>
            </a:prstTxWarp>
          </a:bodyPr>
          <a:lstStyle>
            <a:lvl1pPr algn="l" defTabSz="882556" eaLnBrk="1" hangingPunct="1">
              <a:spcAft>
                <a:spcPct val="0"/>
              </a:spcAft>
              <a:buClrTx/>
              <a:buFontTx/>
              <a:buNone/>
              <a:defRPr sz="1200">
                <a:latin typeface="HG丸ｺﾞｼｯｸM-PRO" pitchFamily="50" charset="-128"/>
                <a:ea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35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6038" y="9440863"/>
            <a:ext cx="2949575" cy="496887"/>
          </a:xfrm>
          <a:prstGeom prst="rect">
            <a:avLst/>
          </a:prstGeom>
          <a:noFill/>
          <a:ln>
            <a:noFill/>
          </a:ln>
        </p:spPr>
        <p:txBody>
          <a:bodyPr vert="horz" wrap="square" lIns="88284" tIns="44143" rIns="88284" bIns="44143" numCol="1" anchor="b" anchorCtr="0" compatLnSpc="1">
            <a:prstTxWarp prst="textNoShape">
              <a:avLst/>
            </a:prstTxWarp>
          </a:bodyPr>
          <a:lstStyle>
            <a:lvl1pPr algn="r" defTabSz="882556" eaLnBrk="1" hangingPunct="1">
              <a:spcAft>
                <a:spcPct val="0"/>
              </a:spcAft>
              <a:buClrTx/>
              <a:buFontTx/>
              <a:buNone/>
              <a:defRPr sz="1200"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1pPr>
          </a:lstStyle>
          <a:p>
            <a:pPr>
              <a:defRPr/>
            </a:pPr>
            <a:fld id="{186CDC1F-289E-4B64-8242-EF306E4B154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9575" cy="496888"/>
          </a:xfrm>
          <a:prstGeom prst="rect">
            <a:avLst/>
          </a:prstGeom>
          <a:noFill/>
          <a:ln>
            <a:noFill/>
          </a:ln>
        </p:spPr>
        <p:txBody>
          <a:bodyPr vert="horz" wrap="square" lIns="95656" tIns="47829" rIns="95656" bIns="47829" numCol="1" anchor="t" anchorCtr="0" compatLnSpc="1">
            <a:prstTxWarp prst="textNoShape">
              <a:avLst/>
            </a:prstTxWarp>
          </a:bodyPr>
          <a:lstStyle>
            <a:lvl1pPr algn="l" defTabSz="957160" eaLnBrk="1" hangingPunct="1">
              <a:spcAft>
                <a:spcPct val="0"/>
              </a:spcAft>
              <a:buClrTx/>
              <a:buFontTx/>
              <a:buNone/>
              <a:defRPr sz="1300">
                <a:solidFill>
                  <a:schemeClr val="tx1"/>
                </a:solidFill>
                <a:latin typeface="HGPｺﾞｼｯｸM" panose="020B0600000000000000" pitchFamily="50" charset="-128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49575" cy="496888"/>
          </a:xfrm>
          <a:prstGeom prst="rect">
            <a:avLst/>
          </a:prstGeom>
          <a:noFill/>
          <a:ln>
            <a:noFill/>
          </a:ln>
        </p:spPr>
        <p:txBody>
          <a:bodyPr vert="horz" wrap="square" lIns="95656" tIns="47829" rIns="95656" bIns="47829" numCol="1" anchor="t" anchorCtr="0" compatLnSpc="1">
            <a:prstTxWarp prst="textNoShape">
              <a:avLst/>
            </a:prstTxWarp>
          </a:bodyPr>
          <a:lstStyle>
            <a:lvl1pPr algn="r" defTabSz="957160" eaLnBrk="1" hangingPunct="1">
              <a:spcAft>
                <a:spcPct val="0"/>
              </a:spcAft>
              <a:buClrTx/>
              <a:buFontTx/>
              <a:buNone/>
              <a:defRPr sz="1300">
                <a:solidFill>
                  <a:schemeClr val="tx1"/>
                </a:solidFill>
                <a:latin typeface="HGPｺﾞｼｯｸM" panose="020B0600000000000000" pitchFamily="50" charset="-128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01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9775" y="746125"/>
            <a:ext cx="5327650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6"/>
            <a:ext cx="5446712" cy="4471988"/>
          </a:xfrm>
          <a:prstGeom prst="rect">
            <a:avLst/>
          </a:prstGeom>
          <a:noFill/>
          <a:ln>
            <a:noFill/>
          </a:ln>
        </p:spPr>
        <p:txBody>
          <a:bodyPr vert="horz" wrap="square" lIns="95656" tIns="47829" rIns="95656" bIns="4782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noProof="0" dirty="0"/>
              <a:t>マスタ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4 </a:t>
            </a:r>
            <a:r>
              <a:rPr lang="ja-JP" altLang="en-US" noProof="0" dirty="0"/>
              <a:t>レベル</a:t>
            </a:r>
          </a:p>
          <a:p>
            <a:pPr lvl="4"/>
            <a:r>
              <a:rPr lang="ja-JP" altLang="en-US" noProof="0" dirty="0"/>
              <a:t>第 </a:t>
            </a:r>
            <a:r>
              <a:rPr lang="en-US" altLang="ja-JP" noProof="0" dirty="0"/>
              <a:t>5 </a:t>
            </a:r>
            <a:r>
              <a:rPr lang="ja-JP" altLang="en-US" noProof="0" dirty="0"/>
              <a:t>レベル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0863"/>
            <a:ext cx="2949575" cy="496887"/>
          </a:xfrm>
          <a:prstGeom prst="rect">
            <a:avLst/>
          </a:prstGeom>
          <a:noFill/>
          <a:ln>
            <a:noFill/>
          </a:ln>
        </p:spPr>
        <p:txBody>
          <a:bodyPr vert="horz" wrap="square" lIns="95656" tIns="47829" rIns="95656" bIns="47829" numCol="1" anchor="b" anchorCtr="0" compatLnSpc="1">
            <a:prstTxWarp prst="textNoShape">
              <a:avLst/>
            </a:prstTxWarp>
          </a:bodyPr>
          <a:lstStyle>
            <a:lvl1pPr algn="l" defTabSz="957160" eaLnBrk="1" hangingPunct="1">
              <a:spcAft>
                <a:spcPct val="0"/>
              </a:spcAft>
              <a:buClrTx/>
              <a:buFontTx/>
              <a:buNone/>
              <a:defRPr sz="1300">
                <a:solidFill>
                  <a:schemeClr val="tx1"/>
                </a:solidFill>
                <a:latin typeface="HGPｺﾞｼｯｸM" panose="020B0600000000000000" pitchFamily="50" charset="-128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40863"/>
            <a:ext cx="2949575" cy="496887"/>
          </a:xfrm>
          <a:prstGeom prst="rect">
            <a:avLst/>
          </a:prstGeom>
          <a:noFill/>
          <a:ln>
            <a:noFill/>
          </a:ln>
        </p:spPr>
        <p:txBody>
          <a:bodyPr vert="horz" wrap="square" lIns="95656" tIns="47829" rIns="95656" bIns="47829" numCol="1" anchor="b" anchorCtr="0" compatLnSpc="1">
            <a:prstTxWarp prst="textNoShape">
              <a:avLst/>
            </a:prstTxWarp>
          </a:bodyPr>
          <a:lstStyle>
            <a:lvl1pPr algn="r" defTabSz="957160" eaLnBrk="1" hangingPunct="1">
              <a:spcAft>
                <a:spcPct val="0"/>
              </a:spcAft>
              <a:buClrTx/>
              <a:buFontTx/>
              <a:buNone/>
              <a:defRPr sz="1300">
                <a:solidFill>
                  <a:schemeClr val="tx1"/>
                </a:solidFill>
                <a:latin typeface="HGPｺﾞｼｯｸM" panose="020B0600000000000000" pitchFamily="50" charset="-128"/>
                <a:ea typeface="ＭＳ Ｐゴシック" panose="020B0600070205080204" pitchFamily="50" charset="-128"/>
              </a:defRPr>
            </a:lvl1pPr>
          </a:lstStyle>
          <a:p>
            <a:pPr>
              <a:defRPr/>
            </a:pPr>
            <a:fld id="{19A2C044-D11B-4A18-8338-0601EE288210}" type="slidenum">
              <a:rPr lang="en-US" altLang="ja-JP" smtClean="0"/>
              <a:pPr>
                <a:defRPr/>
              </a:pPr>
              <a:t>‹#›</a:t>
            </a:fld>
            <a:endParaRPr lang="en-US" altLang="ja-JP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GPｺﾞｼｯｸM" panose="020B0600000000000000" pitchFamily="50" charset="-128"/>
        <a:ea typeface="ＭＳ Ｐ明朝" pitchFamily="18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GPｺﾞｼｯｸM" panose="020B0600000000000000" pitchFamily="50" charset="-128"/>
        <a:ea typeface="ＭＳ Ｐ明朝" pitchFamily="18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GPｺﾞｼｯｸM" panose="020B0600000000000000" pitchFamily="50" charset="-128"/>
        <a:ea typeface="ＭＳ Ｐ明朝" pitchFamily="18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GPｺﾞｼｯｸM" panose="020B0600000000000000" pitchFamily="50" charset="-128"/>
        <a:ea typeface="ＭＳ Ｐ明朝" pitchFamily="18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GPｺﾞｼｯｸM" panose="020B0600000000000000" pitchFamily="50" charset="-128"/>
        <a:ea typeface="ＭＳ Ｐ明朝" pitchFamily="18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9A2C044-D11B-4A18-8338-0601EE288210}" type="slidenum">
              <a:rPr lang="en-US" altLang="ja-JP" smtClean="0"/>
              <a:pPr>
                <a:defRPr/>
              </a:pPr>
              <a:t>0</a:t>
            </a:fld>
            <a:endParaRPr lang="en-US" altLang="ja-JP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38188" y="746125"/>
            <a:ext cx="5329237" cy="3725863"/>
          </a:xfrm>
          <a:ln/>
        </p:spPr>
      </p:sp>
      <p:sp>
        <p:nvSpPr>
          <p:cNvPr id="10243" name="ノート プレースホルダー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ja-JP"/>
          </a:p>
        </p:txBody>
      </p:sp>
      <p:sp>
        <p:nvSpPr>
          <p:cNvPr id="10244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44462"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1pPr>
            <a:lvl2pPr marL="739696" indent="-284133" defTabSz="944462"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2pPr>
            <a:lvl3pPr marL="1141291" indent="-226989" defTabSz="944462"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3pPr>
            <a:lvl4pPr marL="1598441" indent="-226989" defTabSz="944462"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4pPr>
            <a:lvl5pPr marL="2055592" indent="-226989" defTabSz="944462"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5pPr>
            <a:lvl6pPr marL="2512743" indent="-226989" defTabSz="944462" eaLnBrk="0" fontAlgn="base" hangingPunct="0">
              <a:spcBef>
                <a:spcPct val="0"/>
              </a:spcBef>
              <a:spcAft>
                <a:spcPct val="0"/>
              </a:spcAft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6pPr>
            <a:lvl7pPr marL="2969895" indent="-226989" defTabSz="944462" eaLnBrk="0" fontAlgn="base" hangingPunct="0">
              <a:spcBef>
                <a:spcPct val="0"/>
              </a:spcBef>
              <a:spcAft>
                <a:spcPct val="0"/>
              </a:spcAft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7pPr>
            <a:lvl8pPr marL="3427046" indent="-226989" defTabSz="944462" eaLnBrk="0" fontAlgn="base" hangingPunct="0">
              <a:spcBef>
                <a:spcPct val="0"/>
              </a:spcBef>
              <a:spcAft>
                <a:spcPct val="0"/>
              </a:spcAft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8pPr>
            <a:lvl9pPr marL="3884196" indent="-226989" defTabSz="944462" eaLnBrk="0" fontAlgn="base" hangingPunct="0">
              <a:spcBef>
                <a:spcPct val="0"/>
              </a:spcBef>
              <a:spcAft>
                <a:spcPct val="0"/>
              </a:spcAft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9pPr>
          </a:lstStyle>
          <a:p>
            <a:pPr>
              <a:defRPr/>
            </a:pPr>
            <a:fld id="{43CDB411-66B3-47D8-B495-60A456FF10FE}" type="slidenum">
              <a:rPr kumimoji="0" lang="de-DE" altLang="ja-JP" sz="1200" b="0">
                <a:solidFill>
                  <a:srgbClr val="000000"/>
                </a:solidFill>
                <a:latin typeface="Arial" panose="020B0604020202020204" pitchFamily="34" charset="0"/>
                <a:ea typeface="平成角ゴシック W5"/>
                <a:cs typeface="平成角ゴシック W5"/>
              </a:rPr>
              <a:pPr>
                <a:defRPr/>
              </a:pPr>
              <a:t>6</a:t>
            </a:fld>
            <a:endParaRPr kumimoji="0" lang="de-DE" altLang="ja-JP" sz="1200" b="0">
              <a:solidFill>
                <a:srgbClr val="000000"/>
              </a:solidFill>
              <a:latin typeface="Arial" panose="020B0604020202020204" pitchFamily="34" charset="0"/>
              <a:ea typeface="平成角ゴシック W5"/>
              <a:cs typeface="平成角ゴシック W5"/>
            </a:endParaRPr>
          </a:p>
        </p:txBody>
      </p:sp>
      <p:sp>
        <p:nvSpPr>
          <p:cNvPr id="10245" name="フッター プレースホルダー 1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57160"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1pPr>
            <a:lvl2pPr marL="742870" indent="-285719" defTabSz="957160"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2pPr>
            <a:lvl3pPr marL="1142877" indent="-228576" defTabSz="957160"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3pPr>
            <a:lvl4pPr marL="1600028" indent="-228576" defTabSz="957160"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4pPr>
            <a:lvl5pPr marL="2057179" indent="-228576" defTabSz="957160"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5pPr>
            <a:lvl6pPr marL="2514330" indent="-228576" defTabSz="957160" eaLnBrk="0" fontAlgn="base" hangingPunct="0">
              <a:spcBef>
                <a:spcPct val="0"/>
              </a:spcBef>
              <a:spcAft>
                <a:spcPct val="0"/>
              </a:spcAft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6pPr>
            <a:lvl7pPr marL="2971482" indent="-228576" defTabSz="957160" eaLnBrk="0" fontAlgn="base" hangingPunct="0">
              <a:spcBef>
                <a:spcPct val="0"/>
              </a:spcBef>
              <a:spcAft>
                <a:spcPct val="0"/>
              </a:spcAft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7pPr>
            <a:lvl8pPr marL="3428632" indent="-228576" defTabSz="957160" eaLnBrk="0" fontAlgn="base" hangingPunct="0">
              <a:spcBef>
                <a:spcPct val="0"/>
              </a:spcBef>
              <a:spcAft>
                <a:spcPct val="0"/>
              </a:spcAft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8pPr>
            <a:lvl9pPr marL="3885783" indent="-228576" defTabSz="957160" eaLnBrk="0" fontAlgn="base" hangingPunct="0">
              <a:spcBef>
                <a:spcPct val="0"/>
              </a:spcBef>
              <a:spcAft>
                <a:spcPct val="0"/>
              </a:spcAft>
              <a:defRPr kumimoji="1" sz="2300" b="1">
                <a:solidFill>
                  <a:schemeClr val="bg1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9pPr>
          </a:lstStyle>
          <a:p>
            <a:pPr>
              <a:defRPr/>
            </a:pPr>
            <a:endParaRPr lang="en-US" altLang="ja-JP" sz="1300" b="0">
              <a:solidFill>
                <a:srgbClr val="000000"/>
              </a:solidFill>
              <a:latin typeface="Arial" panose="020B0604020202020204" pitchFamily="34" charset="0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547159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9A2C044-D11B-4A18-8338-0601EE288210}" type="slidenum">
              <a:rPr lang="en-US" altLang="ja-JP" smtClean="0"/>
              <a:pPr>
                <a:defRPr/>
              </a:pPr>
              <a:t>15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846239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9A2C044-D11B-4A18-8338-0601EE288210}" type="slidenum">
              <a:rPr lang="en-US" altLang="ja-JP" smtClean="0"/>
              <a:pPr>
                <a:defRPr/>
              </a:pPr>
              <a:t>19</a:t>
            </a:fld>
            <a:endParaRPr lang="en-US" altLang="ja-JP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"/>
          <p:cNvSpPr>
            <a:spLocks noChangeShapeType="1"/>
          </p:cNvSpPr>
          <p:nvPr userDrawn="1"/>
        </p:nvSpPr>
        <p:spPr bwMode="gray">
          <a:xfrm flipH="1">
            <a:off x="231775" y="4016375"/>
            <a:ext cx="3575050" cy="0"/>
          </a:xfrm>
          <a:prstGeom prst="line">
            <a:avLst/>
          </a:prstGeom>
          <a:noFill/>
          <a:ln w="9525">
            <a:solidFill>
              <a:srgbClr val="DDDDDD"/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>
              <a:defRPr/>
            </a:pPr>
            <a:endParaRPr lang="ja-JP" altLang="en-US"/>
          </a:p>
        </p:txBody>
      </p:sp>
      <p:sp>
        <p:nvSpPr>
          <p:cNvPr id="5" name="Text Box 6"/>
          <p:cNvSpPr txBox="1">
            <a:spLocks noChangeArrowheads="1"/>
          </p:cNvSpPr>
          <p:nvPr userDrawn="1"/>
        </p:nvSpPr>
        <p:spPr bwMode="gray">
          <a:xfrm>
            <a:off x="3838575" y="4605338"/>
            <a:ext cx="5461000" cy="2571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algn="r" defTabSz="925513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 defTabSz="925513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 defTabSz="925513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 defTabSz="925513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 defTabSz="925513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defTabSz="925513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defTabSz="925513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defTabSz="925513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defTabSz="925513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algn="l">
              <a:spcAft>
                <a:spcPct val="0"/>
              </a:spcAft>
              <a:buClrTx/>
              <a:buFontTx/>
              <a:buNone/>
              <a:defRPr/>
            </a:pPr>
            <a:endParaRPr kumimoji="0" lang="ja-JP" altLang="ja-JP" sz="1700">
              <a:latin typeface="HG丸ｺﾞｼｯｸM-PRO" panose="020F0600000000000000" pitchFamily="50" charset="-128"/>
              <a:ea typeface="HG丸ｺﾞｼｯｸM-PRO" panose="020F0600000000000000" pitchFamily="50" charset="-128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gray">
          <a:xfrm>
            <a:off x="49213" y="36513"/>
            <a:ext cx="523875" cy="7188200"/>
          </a:xfrm>
          <a:prstGeom prst="rect">
            <a:avLst/>
          </a:prstGeom>
          <a:solidFill>
            <a:srgbClr val="DDDDDD"/>
          </a:solidFill>
          <a:ln w="9525">
            <a:solidFill>
              <a:srgbClr val="D2DBFD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algn="l">
              <a:defRPr/>
            </a:pPr>
            <a:endParaRPr lang="ja-JP" altLang="en-US" sz="900"/>
          </a:p>
        </p:txBody>
      </p:sp>
      <p:grpSp>
        <p:nvGrpSpPr>
          <p:cNvPr id="8" name="Group 36"/>
          <p:cNvGrpSpPr>
            <a:grpSpLocks/>
          </p:cNvGrpSpPr>
          <p:nvPr userDrawn="1"/>
        </p:nvGrpSpPr>
        <p:grpSpPr bwMode="auto">
          <a:xfrm>
            <a:off x="3716338" y="36513"/>
            <a:ext cx="6661150" cy="4341812"/>
            <a:chOff x="2394" y="87"/>
            <a:chExt cx="4081" cy="2660"/>
          </a:xfrm>
        </p:grpSpPr>
        <p:sp>
          <p:nvSpPr>
            <p:cNvPr id="9" name="Rectangle 2"/>
            <p:cNvSpPr>
              <a:spLocks noChangeArrowheads="1"/>
            </p:cNvSpPr>
            <p:nvPr userDrawn="1"/>
          </p:nvSpPr>
          <p:spPr bwMode="gray">
            <a:xfrm>
              <a:off x="2394" y="87"/>
              <a:ext cx="4081" cy="2660"/>
            </a:xfrm>
            <a:prstGeom prst="rect">
              <a:avLst/>
            </a:prstGeom>
            <a:solidFill>
              <a:srgbClr val="1A547D"/>
            </a:solidFill>
            <a:ln>
              <a:noFill/>
            </a:ln>
          </p:spPr>
          <p:txBody>
            <a:bodyPr wrap="none" anchor="ctr"/>
            <a:lstStyle>
              <a:lvl1pPr algn="r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1pPr>
              <a:lvl2pPr marL="742950" indent="-285750" algn="r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2pPr>
              <a:lvl3pPr marL="1143000" indent="-228600" algn="r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3pPr>
              <a:lvl4pPr marL="1600200" indent="-228600" algn="r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4pPr>
              <a:lvl5pPr marL="2057400" indent="-228600" algn="r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9pPr>
            </a:lstStyle>
            <a:p>
              <a:pPr algn="l">
                <a:defRPr/>
              </a:pPr>
              <a:endParaRPr lang="ja-JP" altLang="en-US" sz="900"/>
            </a:p>
          </p:txBody>
        </p:sp>
        <p:sp>
          <p:nvSpPr>
            <p:cNvPr id="10" name="Rectangle 33"/>
            <p:cNvSpPr>
              <a:spLocks noChangeArrowheads="1"/>
            </p:cNvSpPr>
            <p:nvPr userDrawn="1"/>
          </p:nvSpPr>
          <p:spPr bwMode="gray">
            <a:xfrm>
              <a:off x="4909" y="87"/>
              <a:ext cx="1566" cy="2660"/>
            </a:xfrm>
            <a:prstGeom prst="rect">
              <a:avLst/>
            </a:prstGeom>
            <a:solidFill>
              <a:srgbClr val="5EA8DD"/>
            </a:solidFill>
            <a:ln>
              <a:noFill/>
            </a:ln>
          </p:spPr>
          <p:txBody>
            <a:bodyPr wrap="none" lIns="0" tIns="0" rIns="0" bIns="0" anchor="ctr"/>
            <a:lstStyle>
              <a:lvl1pPr algn="r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1pPr>
              <a:lvl2pPr marL="742950" indent="-285750" algn="r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2pPr>
              <a:lvl3pPr marL="1143000" indent="-228600" algn="r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3pPr>
              <a:lvl4pPr marL="1600200" indent="-228600" algn="r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4pPr>
              <a:lvl5pPr marL="2057400" indent="-228600" algn="r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9pPr>
            </a:lstStyle>
            <a:p>
              <a:pPr algn="l">
                <a:defRPr/>
              </a:pPr>
              <a:endParaRPr lang="ja-JP" altLang="en-US" sz="900"/>
            </a:p>
          </p:txBody>
        </p:sp>
        <p:pic>
          <p:nvPicPr>
            <p:cNvPr id="11" name="Picture 13" descr="ロゴマーク青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6030" y="2341"/>
              <a:ext cx="415" cy="3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Text Box 22"/>
            <p:cNvSpPr txBox="1">
              <a:spLocks noChangeArrowheads="1"/>
            </p:cNvSpPr>
            <p:nvPr userDrawn="1"/>
          </p:nvSpPr>
          <p:spPr bwMode="gray">
            <a:xfrm>
              <a:off x="5413" y="2546"/>
              <a:ext cx="622" cy="9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algn="r" defTabSz="1054100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1pPr>
              <a:lvl2pPr marL="742950" indent="-285750" algn="r" defTabSz="1054100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2pPr>
              <a:lvl3pPr marL="1143000" indent="-228600" algn="r" defTabSz="1054100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3pPr>
              <a:lvl4pPr marL="1600200" indent="-228600" algn="r" defTabSz="1054100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4pPr>
              <a:lvl5pPr marL="2057400" indent="-228600" algn="r" defTabSz="1054100"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5pPr>
              <a:lvl6pPr marL="2514600" indent="-228600" algn="r" defTabSz="1054100" eaLnBrk="0" fontAlgn="base" hangingPunct="0">
                <a:spcBef>
                  <a:spcPct val="0"/>
                </a:spcBef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6pPr>
              <a:lvl7pPr marL="2971800" indent="-228600" algn="r" defTabSz="1054100" eaLnBrk="0" fontAlgn="base" hangingPunct="0">
                <a:spcBef>
                  <a:spcPct val="0"/>
                </a:spcBef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7pPr>
              <a:lvl8pPr marL="3429000" indent="-228600" algn="r" defTabSz="1054100" eaLnBrk="0" fontAlgn="base" hangingPunct="0">
                <a:spcBef>
                  <a:spcPct val="0"/>
                </a:spcBef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8pPr>
              <a:lvl9pPr marL="3886200" indent="-228600" algn="r" defTabSz="1054100" eaLnBrk="0" fontAlgn="base" hangingPunct="0">
                <a:spcBef>
                  <a:spcPct val="0"/>
                </a:spcBef>
                <a:spcAft>
                  <a:spcPct val="10000"/>
                </a:spcAft>
                <a:buClr>
                  <a:srgbClr val="DDDDDD"/>
                </a:buClr>
                <a:buFont typeface="Wingdings" panose="05000000000000000000" pitchFamily="2" charset="2"/>
                <a:defRPr kumimoji="1" sz="1400">
                  <a:solidFill>
                    <a:srgbClr val="24246E"/>
                  </a:solidFill>
                  <a:latin typeface="HGPｺﾞｼｯｸM" panose="020B0600000000000000" pitchFamily="50" charset="-128"/>
                  <a:ea typeface="HGPｺﾞｼｯｸM" panose="020B0600000000000000" pitchFamily="50" charset="-128"/>
                </a:defRPr>
              </a:lvl9pPr>
            </a:lstStyle>
            <a:p>
              <a:pPr algn="l">
                <a:spcAft>
                  <a:spcPct val="0"/>
                </a:spcAft>
                <a:buClrTx/>
                <a:buFontTx/>
                <a:buNone/>
                <a:defRPr/>
              </a:pPr>
              <a:r>
                <a:rPr kumimoji="0" lang="ja-JP" altLang="en-US" sz="1000">
                  <a:solidFill>
                    <a:schemeClr val="bg1"/>
                  </a:solidFill>
                  <a:latin typeface="HG丸ｺﾞｼｯｸM-PRO" panose="020F0600000000000000" pitchFamily="50" charset="-128"/>
                  <a:ea typeface="HG丸ｺﾞｼｯｸM-PRO" panose="020F0600000000000000" pitchFamily="50" charset="-128"/>
                </a:rPr>
                <a:t>物流から価値を。</a:t>
              </a:r>
            </a:p>
          </p:txBody>
        </p:sp>
      </p:grpSp>
      <p:sp>
        <p:nvSpPr>
          <p:cNvPr id="13" name="Text Box 85"/>
          <p:cNvSpPr txBox="1">
            <a:spLocks noChangeArrowheads="1"/>
          </p:cNvSpPr>
          <p:nvPr userDrawn="1"/>
        </p:nvSpPr>
        <p:spPr bwMode="gray">
          <a:xfrm>
            <a:off x="4797192" y="6611727"/>
            <a:ext cx="5544784" cy="612986"/>
          </a:xfrm>
          <a:prstGeom prst="rect">
            <a:avLst/>
          </a:prstGeom>
          <a:noFill/>
          <a:ln>
            <a:noFill/>
          </a:ln>
        </p:spPr>
        <p:txBody>
          <a:bodyPr wrap="none" lIns="88898" tIns="44449" rIns="88898" bIns="44449" anchor="b">
            <a:spAutoFit/>
          </a:bodyPr>
          <a:lstStyle>
            <a:lvl1pPr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algn="l"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1000" b="1" u="sng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NFIDENTIAL</a:t>
            </a:r>
          </a:p>
          <a:p>
            <a:pPr algn="l">
              <a:spcAft>
                <a:spcPct val="0"/>
              </a:spcAft>
              <a:buClrTx/>
              <a:buFontTx/>
              <a:buNone/>
              <a:defRPr/>
            </a:pP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文書は、三井倉庫グループが著作権その他の権利を有する営業秘密（含むサプライヤー等第三者が権利を有するもの）です。</a:t>
            </a:r>
          </a:p>
          <a:p>
            <a:pPr algn="l">
              <a:spcAft>
                <a:spcPct val="0"/>
              </a:spcAft>
              <a:buClrTx/>
              <a:buFontTx/>
              <a:buNone/>
              <a:defRPr/>
            </a:pP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弊社の許可なく複製し利用すること、また漏洩することは「著作権法」「不正競争防止法」によって禁じられております。</a:t>
            </a:r>
            <a:endParaRPr lang="ja-JP" altLang="en-US" sz="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l">
              <a:spcAft>
                <a:spcPct val="0"/>
              </a:spcAft>
              <a:buClrTx/>
              <a:buFontTx/>
              <a:buNone/>
              <a:defRPr/>
            </a:pP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資料内の社名・製品名は各社の登録商標です。</a:t>
            </a:r>
          </a:p>
        </p:txBody>
      </p:sp>
      <p:sp>
        <p:nvSpPr>
          <p:cNvPr id="69636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16338" y="5548313"/>
            <a:ext cx="3380822" cy="307777"/>
          </a:xfrm>
        </p:spPr>
        <p:txBody>
          <a:bodyPr wrap="none" lIns="88150" tIns="0" rIns="88150" bIns="0"/>
          <a:lstStyle>
            <a:lvl1pPr>
              <a:buFont typeface="Wingdings" pitchFamily="2" charset="2"/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ja-JP" altLang="en-US"/>
              <a:t>マスタ サブタイトルの書式設定</a:t>
            </a:r>
          </a:p>
        </p:txBody>
      </p:sp>
      <p:sp>
        <p:nvSpPr>
          <p:cNvPr id="69637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3716338" y="5021263"/>
            <a:ext cx="6661150" cy="500062"/>
          </a:xfrm>
        </p:spPr>
        <p:txBody>
          <a:bodyPr lIns="84832" rIns="84832" anchor="t"/>
          <a:lstStyle>
            <a:lvl1pPr>
              <a:tabLst>
                <a:tab pos="547688" algn="l"/>
              </a:tabLst>
              <a:defRPr sz="2300">
                <a:solidFill>
                  <a:srgbClr val="000000"/>
                </a:solidFill>
              </a:defRPr>
            </a:lvl1pPr>
          </a:lstStyle>
          <a:p>
            <a:r>
              <a:rPr lang="ja-JP" altLang="en-US" dirty="0"/>
              <a:t>マスタ タイトルの書式設定</a:t>
            </a:r>
          </a:p>
        </p:txBody>
      </p:sp>
      <p:sp>
        <p:nvSpPr>
          <p:cNvPr id="14" name="Text Box 20"/>
          <p:cNvSpPr txBox="1">
            <a:spLocks noChangeArrowheads="1"/>
          </p:cNvSpPr>
          <p:nvPr userDrawn="1"/>
        </p:nvSpPr>
        <p:spPr bwMode="gray">
          <a:xfrm>
            <a:off x="546698" y="7101554"/>
            <a:ext cx="2326467" cy="133242"/>
          </a:xfrm>
          <a:prstGeom prst="rect">
            <a:avLst/>
          </a:prstGeom>
          <a:noFill/>
          <a:ln>
            <a:noFill/>
          </a:ln>
        </p:spPr>
        <p:txBody>
          <a:bodyPr wrap="none" lIns="79118" tIns="0" rIns="88074" bIns="0">
            <a:spAutoFit/>
          </a:bodyPr>
          <a:lstStyle>
            <a:lvl1pPr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marL="0" marR="0" lvl="0" indent="0" algn="l" defTabSz="91625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DDDDDD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ja-JP" sz="866" b="0" i="0" u="none" strike="noStrike" kern="1200" cap="none" spc="0" normalizeH="0" baseline="0" noProof="0" dirty="0">
                <a:ln>
                  <a:noFill/>
                </a:ln>
                <a:solidFill>
                  <a:srgbClr val="24246E"/>
                </a:solidFill>
                <a:effectLst/>
                <a:uLnTx/>
                <a:uFillTx/>
                <a:latin typeface="Arial" pitchFamily="34" charset="0"/>
                <a:ea typeface="Arial Unicode MS" panose="020B0604020202020204" pitchFamily="50" charset="-128"/>
                <a:cs typeface="Arial" pitchFamily="34" charset="0"/>
              </a:rPr>
              <a:t>Ⓒ MITSUI-SOKO EXPRESS Co., Ltd. 2022</a:t>
            </a:r>
          </a:p>
        </p:txBody>
      </p:sp>
      <p:sp>
        <p:nvSpPr>
          <p:cNvPr id="15" name="Text Box 11"/>
          <p:cNvSpPr txBox="1">
            <a:spLocks noChangeArrowheads="1"/>
          </p:cNvSpPr>
          <p:nvPr userDrawn="1"/>
        </p:nvSpPr>
        <p:spPr bwMode="auto">
          <a:xfrm rot="16200000">
            <a:off x="-526715" y="6337999"/>
            <a:ext cx="1465766" cy="22245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43497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87312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30810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174625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2034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6606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1178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5750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marL="0" marR="0" lvl="0" indent="0" algn="l" defTabSz="9145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4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HGS創英角ｺﾞｼｯｸUB" pitchFamily="50" charset="-128"/>
                <a:cs typeface="+mn-cs"/>
              </a:rPr>
              <a:t>物流から価値を。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900988" y="36513"/>
            <a:ext cx="2436812" cy="2339975"/>
          </a:xfr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588963" y="36513"/>
            <a:ext cx="7159625" cy="2339975"/>
          </a:xfr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81050" y="2259013"/>
            <a:ext cx="8842375" cy="1558925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560513" y="4121150"/>
            <a:ext cx="7283450" cy="18589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ja-JP" altLang="en-US"/>
              <a:t>マスタ サブタイトルの書式設定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520700" y="1697038"/>
            <a:ext cx="9363075" cy="4799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822325" y="4673600"/>
            <a:ext cx="8843963" cy="144462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822325" y="3082925"/>
            <a:ext cx="8843963" cy="15906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520700" y="1697038"/>
            <a:ext cx="4605338" cy="479901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278438" y="1697038"/>
            <a:ext cx="4605337" cy="479901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520700" y="1627188"/>
            <a:ext cx="4597400" cy="67945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20700" y="2306638"/>
            <a:ext cx="4597400" cy="41894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284788" y="1627188"/>
            <a:ext cx="4598987" cy="67945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284788" y="2306638"/>
            <a:ext cx="4598987" cy="41894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88925"/>
            <a:ext cx="3422650" cy="123348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067175" y="288925"/>
            <a:ext cx="5816600" cy="62071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520700" y="1522413"/>
            <a:ext cx="3422650" cy="49736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836752" y="1745959"/>
            <a:ext cx="9748837" cy="798512"/>
          </a:xfr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039938" y="5091113"/>
            <a:ext cx="6242050" cy="60007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2039938" y="649288"/>
            <a:ext cx="6242050" cy="43640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2039938" y="5691188"/>
            <a:ext cx="6242050" cy="8540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520700" y="1697038"/>
            <a:ext cx="9363075" cy="47990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543800" y="290513"/>
            <a:ext cx="2339975" cy="6205537"/>
          </a:xfrm>
          <a:prstGeom prst="rect">
            <a:avLst/>
          </a:prstGeo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520700" y="290513"/>
            <a:ext cx="6870700" cy="620553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81050" y="2259013"/>
            <a:ext cx="8842375" cy="1558925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560513" y="4121150"/>
            <a:ext cx="7283450" cy="18589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ja-JP" altLang="en-US"/>
              <a:t>マスタ サブタイトルの書式設定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520700" y="1697038"/>
            <a:ext cx="9363075" cy="4799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822325" y="4673600"/>
            <a:ext cx="8843963" cy="144462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822325" y="3082925"/>
            <a:ext cx="8843963" cy="15906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520700" y="1697038"/>
            <a:ext cx="4605338" cy="479901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278438" y="1697038"/>
            <a:ext cx="4605337" cy="479901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520700" y="1627188"/>
            <a:ext cx="4597400" cy="67945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20700" y="2306638"/>
            <a:ext cx="4597400" cy="41894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284788" y="1627188"/>
            <a:ext cx="4598987" cy="67945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284788" y="2306638"/>
            <a:ext cx="4598987" cy="41894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822325" y="4673600"/>
            <a:ext cx="8843963" cy="144462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822325" y="3082925"/>
            <a:ext cx="8843963" cy="15906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88925"/>
            <a:ext cx="3422650" cy="123348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067175" y="288925"/>
            <a:ext cx="5816600" cy="62071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520700" y="1522413"/>
            <a:ext cx="3422650" cy="49736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039938" y="5091113"/>
            <a:ext cx="6242050" cy="60007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2039938" y="649288"/>
            <a:ext cx="6242050" cy="43640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2039938" y="5691188"/>
            <a:ext cx="6242050" cy="8540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520700" y="1697038"/>
            <a:ext cx="9363075" cy="47990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543800" y="290513"/>
            <a:ext cx="2339975" cy="6205537"/>
          </a:xfrm>
          <a:prstGeom prst="rect">
            <a:avLst/>
          </a:prstGeo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520700" y="290513"/>
            <a:ext cx="6870700" cy="620553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81050" y="2259013"/>
            <a:ext cx="8842375" cy="1558925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560513" y="4121150"/>
            <a:ext cx="7283450" cy="18589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ja-JP" altLang="en-US"/>
              <a:t>マスタ サブタイトルの書式設定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520700" y="1697038"/>
            <a:ext cx="9363075" cy="4799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822325" y="4673600"/>
            <a:ext cx="8843963" cy="144462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822325" y="3082925"/>
            <a:ext cx="8843963" cy="15906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520700" y="1697038"/>
            <a:ext cx="4605338" cy="479901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278438" y="1697038"/>
            <a:ext cx="4605337" cy="479901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520700" y="1627188"/>
            <a:ext cx="4597400" cy="67945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20700" y="2306638"/>
            <a:ext cx="4597400" cy="41894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284788" y="1627188"/>
            <a:ext cx="4598987" cy="67945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284788" y="2306638"/>
            <a:ext cx="4598987" cy="41894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588963" y="962025"/>
            <a:ext cx="4797425" cy="1414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538788" y="962025"/>
            <a:ext cx="4799012" cy="1414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88925"/>
            <a:ext cx="3422650" cy="123348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067175" y="288925"/>
            <a:ext cx="5816600" cy="62071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520700" y="1522413"/>
            <a:ext cx="3422650" cy="49736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039938" y="5091113"/>
            <a:ext cx="6242050" cy="60007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2039938" y="649288"/>
            <a:ext cx="6242050" cy="43640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2039938" y="5691188"/>
            <a:ext cx="6242050" cy="8540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  <a:prstGeom prst="rect">
            <a:avLst/>
          </a:prstGeo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520700" y="1697038"/>
            <a:ext cx="9363075" cy="47990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543800" y="290513"/>
            <a:ext cx="2339975" cy="6205537"/>
          </a:xfrm>
          <a:prstGeom prst="rect">
            <a:avLst/>
          </a:prstGeo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520700" y="290513"/>
            <a:ext cx="6870700" cy="620553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"/>
          <p:cNvSpPr>
            <a:spLocks noChangeShapeType="1"/>
          </p:cNvSpPr>
          <p:nvPr userDrawn="1"/>
        </p:nvSpPr>
        <p:spPr bwMode="auto">
          <a:xfrm flipH="1">
            <a:off x="225547" y="4017116"/>
            <a:ext cx="3791029" cy="0"/>
          </a:xfrm>
          <a:prstGeom prst="line">
            <a:avLst/>
          </a:prstGeom>
          <a:noFill/>
          <a:ln w="22225">
            <a:solidFill>
              <a:srgbClr val="DDDDDD"/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794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731" b="0" i="0" u="none" strike="noStrike" kern="1200" cap="none" spc="0" normalizeH="0" baseline="0" noProof="0">
              <a:ln>
                <a:noFill/>
              </a:ln>
              <a:solidFill>
                <a:srgbClr val="24246E"/>
              </a:solidFill>
              <a:effectLst/>
              <a:uLnTx/>
              <a:uFillTx/>
              <a:latin typeface="HG丸ｺﾞｼｯｸM-PRO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5" name="Rectangle 3"/>
          <p:cNvSpPr>
            <a:spLocks noChangeArrowheads="1"/>
          </p:cNvSpPr>
          <p:nvPr userDrawn="1"/>
        </p:nvSpPr>
        <p:spPr bwMode="auto">
          <a:xfrm>
            <a:off x="48029" y="44417"/>
            <a:ext cx="542238" cy="7193316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pPr marL="0" marR="0" lvl="0" indent="0" algn="ctr" defTabSz="8794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endParaRPr kumimoji="1" lang="ja-JP" altLang="en-US" sz="1731" b="0" i="0" u="none" strike="noStrike" kern="1200" cap="none" spc="0" normalizeH="0" baseline="0" noProof="0">
              <a:ln>
                <a:noFill/>
              </a:ln>
              <a:solidFill>
                <a:srgbClr val="24246E"/>
              </a:solidFill>
              <a:effectLst/>
              <a:uLnTx/>
              <a:uFillTx/>
              <a:latin typeface="HG丸ｺﾞｼｯｸM-PRO" pitchFamily="50" charset="-128"/>
              <a:ea typeface="HG丸ｺﾞｼｯｸM-PRO" pitchFamily="50" charset="-128"/>
              <a:cs typeface="+mn-cs"/>
            </a:endParaRPr>
          </a:p>
        </p:txBody>
      </p:sp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3837374" y="4606476"/>
            <a:ext cx="5462542" cy="251614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43497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87312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30810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174625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2034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6606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1178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5750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marL="0" marR="0" lvl="0" indent="0" algn="l" defTabSz="9145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ja-JP" sz="1635" b="0" i="0" u="none" strike="noStrike" kern="1200" cap="none" spc="0" normalizeH="0" baseline="0" noProof="0">
              <a:ln>
                <a:noFill/>
              </a:ln>
              <a:solidFill>
                <a:srgbClr val="24246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7" name="Rectangle 11"/>
          <p:cNvSpPr>
            <a:spLocks noChangeArrowheads="1"/>
          </p:cNvSpPr>
          <p:nvPr userDrawn="1"/>
        </p:nvSpPr>
        <p:spPr bwMode="auto">
          <a:xfrm>
            <a:off x="3800298" y="43489"/>
            <a:ext cx="6569809" cy="4317167"/>
          </a:xfrm>
          <a:prstGeom prst="rect">
            <a:avLst/>
          </a:prstGeom>
          <a:solidFill>
            <a:srgbClr val="5EA8DD"/>
          </a:solidFill>
          <a:ln>
            <a:noFill/>
          </a:ln>
          <a:effectLst/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pPr marL="0" marR="0" lvl="0" indent="0" algn="ctr" defTabSz="8794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endParaRPr kumimoji="1" lang="ja-JP" altLang="en-US" sz="1731" b="0" i="0" u="none" strike="noStrike" kern="1200" cap="none" spc="0" normalizeH="0" baseline="0" noProof="0">
              <a:ln>
                <a:noFill/>
              </a:ln>
              <a:solidFill>
                <a:srgbClr val="24246E"/>
              </a:solidFill>
              <a:effectLst/>
              <a:uLnTx/>
              <a:uFillTx/>
              <a:latin typeface="HG丸ｺﾞｼｯｸM-PRO" pitchFamily="50" charset="-128"/>
              <a:ea typeface="HG丸ｺﾞｼｯｸM-PRO" pitchFamily="50" charset="-128"/>
              <a:cs typeface="+mn-cs"/>
            </a:endParaRPr>
          </a:p>
        </p:txBody>
      </p:sp>
      <p:pic>
        <p:nvPicPr>
          <p:cNvPr id="8" name="Picture 13" descr="ロゴマーク青"/>
          <p:cNvPicPr preferRelativeResize="0"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55226" y="3673855"/>
            <a:ext cx="676638" cy="619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8679875" y="4050428"/>
            <a:ext cx="987450" cy="14805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algn="l" defTabSz="108426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498475" algn="l" defTabSz="108426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995363" algn="l" defTabSz="108426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493838" algn="l" defTabSz="108426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1990725" algn="l" defTabSz="108426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447925" defTabSz="10842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05125" defTabSz="10842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362325" defTabSz="10842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19525" defTabSz="10842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marL="0" marR="0" lvl="0" indent="0" algn="l" defTabSz="1042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6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G丸ｺﾞｼｯｸM-PRO" pitchFamily="50" charset="-128"/>
                <a:ea typeface="HG丸ｺﾞｼｯｸM-PRO" pitchFamily="50" charset="-128"/>
                <a:cs typeface="+mn-cs"/>
              </a:rPr>
              <a:t>物流から価値を。</a:t>
            </a:r>
          </a:p>
        </p:txBody>
      </p:sp>
      <p:sp>
        <p:nvSpPr>
          <p:cNvPr id="228356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6985" y="5903452"/>
            <a:ext cx="6613123" cy="575618"/>
          </a:xfrm>
        </p:spPr>
        <p:txBody>
          <a:bodyPr wrap="square" lIns="90671" tIns="0" rIns="90671" bIns="0">
            <a:normAutofit/>
          </a:bodyPr>
          <a:lstStyle>
            <a:lvl1pPr algn="r">
              <a:spcAft>
                <a:spcPts val="0"/>
              </a:spcAft>
              <a:buFont typeface="Wingdings" pitchFamily="2" charset="2"/>
              <a:buNone/>
              <a:defRPr sz="2308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lang="ja-JP" altLang="en-US" noProof="0" dirty="0"/>
              <a:t>マスタ サブタイトルの書式設定</a:t>
            </a:r>
            <a:endParaRPr lang="en-US" altLang="ja-JP" noProof="0" dirty="0"/>
          </a:p>
        </p:txBody>
      </p:sp>
      <p:sp>
        <p:nvSpPr>
          <p:cNvPr id="228357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3756985" y="4408404"/>
            <a:ext cx="6613123" cy="499277"/>
          </a:xfrm>
        </p:spPr>
        <p:txBody>
          <a:bodyPr lIns="87258" rIns="87258" anchor="t">
            <a:normAutofit/>
          </a:bodyPr>
          <a:lstStyle>
            <a:lvl1pPr>
              <a:tabLst>
                <a:tab pos="540508" algn="l"/>
              </a:tabLst>
              <a:defRPr sz="3078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lang="ja-JP" altLang="en-US" noProof="0" dirty="0"/>
              <a:t>マスタ タイトルの書式設定</a:t>
            </a:r>
          </a:p>
        </p:txBody>
      </p:sp>
      <p:sp>
        <p:nvSpPr>
          <p:cNvPr id="10" name="Text Box 20"/>
          <p:cNvSpPr txBox="1">
            <a:spLocks noChangeArrowheads="1"/>
          </p:cNvSpPr>
          <p:nvPr userDrawn="1"/>
        </p:nvSpPr>
        <p:spPr bwMode="gray">
          <a:xfrm>
            <a:off x="7986208" y="7051616"/>
            <a:ext cx="2410864" cy="222142"/>
          </a:xfrm>
          <a:prstGeom prst="rect">
            <a:avLst/>
          </a:prstGeom>
          <a:noFill/>
          <a:ln>
            <a:noFill/>
          </a:ln>
        </p:spPr>
        <p:txBody>
          <a:bodyPr wrap="none" lIns="79118" tIns="44037" rIns="88074" bIns="44037">
            <a:spAutoFit/>
          </a:bodyPr>
          <a:lstStyle>
            <a:lvl1pPr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marL="0" marR="0" lvl="0" indent="0" algn="r" defTabSz="91625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DDDDDD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ja-JP" sz="866" b="0" i="0" u="none" strike="noStrike" kern="1200" cap="none" spc="0" normalizeH="0" baseline="0" noProof="0" dirty="0">
                <a:ln>
                  <a:noFill/>
                </a:ln>
                <a:solidFill>
                  <a:srgbClr val="24246E"/>
                </a:solidFill>
                <a:effectLst/>
                <a:uLnTx/>
                <a:uFillTx/>
                <a:latin typeface="Arial" pitchFamily="34" charset="0"/>
                <a:ea typeface="Arial Unicode MS" panose="020B0604020202020204" pitchFamily="50" charset="-128"/>
                <a:cs typeface="Arial" pitchFamily="34" charset="0"/>
              </a:rPr>
              <a:t>Ⓒ MITSUI-SOKO HOLDINGS Co., Ltd. 2020</a:t>
            </a:r>
          </a:p>
        </p:txBody>
      </p:sp>
      <p:sp>
        <p:nvSpPr>
          <p:cNvPr id="11" name="Text Box 85"/>
          <p:cNvSpPr txBox="1">
            <a:spLocks noChangeArrowheads="1"/>
          </p:cNvSpPr>
          <p:nvPr userDrawn="1"/>
        </p:nvSpPr>
        <p:spPr bwMode="gray">
          <a:xfrm>
            <a:off x="546700" y="6615110"/>
            <a:ext cx="5226703" cy="658649"/>
          </a:xfrm>
          <a:prstGeom prst="rect">
            <a:avLst/>
          </a:prstGeom>
          <a:noFill/>
          <a:ln>
            <a:noFill/>
          </a:ln>
        </p:spPr>
        <p:txBody>
          <a:bodyPr wrap="none" lIns="80630" tIns="40315" rIns="80630" bIns="40315" anchor="b">
            <a:spAutoFit/>
          </a:bodyPr>
          <a:lstStyle>
            <a:lvl1pPr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marL="0" marR="0" lvl="0" indent="0" algn="l" defTabSz="8550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62" b="1" i="0" u="sng" strike="noStrike" kern="1200" cap="none" spc="0" normalizeH="0" baseline="0" noProof="0" dirty="0">
                <a:ln>
                  <a:noFill/>
                </a:ln>
                <a:solidFill>
                  <a:srgbClr val="24246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CONFIDENTIAL</a:t>
            </a:r>
          </a:p>
          <a:p>
            <a:pPr marL="0" marR="0" lvl="0" indent="0" algn="l" defTabSz="8550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769" b="0" i="0" u="none" strike="noStrike" kern="1200" cap="none" spc="0" normalizeH="0" baseline="0" noProof="0" dirty="0">
                <a:ln>
                  <a:noFill/>
                </a:ln>
                <a:solidFill>
                  <a:srgbClr val="24246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本文書は、三井倉庫グループが著作権その他の権利を有する営業秘密（含むサプライヤー等第三者が権利を有するもの）です。</a:t>
            </a:r>
          </a:p>
          <a:p>
            <a:pPr marL="0" marR="0" lvl="0" indent="0" algn="l" defTabSz="8550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769" b="0" i="0" u="none" strike="noStrike" kern="1200" cap="none" spc="0" normalizeH="0" baseline="0" noProof="0" dirty="0">
                <a:ln>
                  <a:noFill/>
                </a:ln>
                <a:solidFill>
                  <a:srgbClr val="24246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弊社の許可なく複製し利用すること、また漏洩することは「著作権法」「不正競争防止法」によって禁じられております。</a:t>
            </a:r>
          </a:p>
          <a:p>
            <a:pPr marL="0" marR="0" lvl="0" indent="0" algn="l" defTabSz="8550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481" b="0" i="0" u="none" strike="noStrike" kern="1200" cap="none" spc="0" normalizeH="0" baseline="0" noProof="0" dirty="0">
              <a:ln>
                <a:noFill/>
              </a:ln>
              <a:solidFill>
                <a:srgbClr val="24246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l" defTabSz="8550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769" b="0" i="0" u="none" strike="noStrike" kern="1200" cap="none" spc="0" normalizeH="0" baseline="0" noProof="0" dirty="0">
                <a:ln>
                  <a:noFill/>
                </a:ln>
                <a:solidFill>
                  <a:srgbClr val="24246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本資料内の社名・製品名は各社の登録商標です。</a:t>
            </a:r>
          </a:p>
        </p:txBody>
      </p:sp>
      <p:sp>
        <p:nvSpPr>
          <p:cNvPr id="12" name="Text Box 11"/>
          <p:cNvSpPr txBox="1">
            <a:spLocks noChangeArrowheads="1"/>
          </p:cNvSpPr>
          <p:nvPr userDrawn="1"/>
        </p:nvSpPr>
        <p:spPr bwMode="auto">
          <a:xfrm rot="16200000">
            <a:off x="-526715" y="6337999"/>
            <a:ext cx="1465766" cy="22245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43497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87312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30810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174625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2034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6606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1178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5750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marL="0" marR="0" lvl="0" indent="0" algn="l" defTabSz="9145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4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HGS創英角ｺﾞｼｯｸUB" pitchFamily="50" charset="-128"/>
                <a:cs typeface="+mn-cs"/>
              </a:rPr>
              <a:t>物流から価値を。</a:t>
            </a:r>
          </a:p>
        </p:txBody>
      </p:sp>
    </p:spTree>
    <p:extLst>
      <p:ext uri="{BB962C8B-B14F-4D97-AF65-F5344CB8AC3E}">
        <p14:creationId xmlns:p14="http://schemas.microsoft.com/office/powerpoint/2010/main" val="3401291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602205" y="106465"/>
            <a:ext cx="9802269" cy="813805"/>
          </a:xfrm>
        </p:spPr>
        <p:txBody>
          <a:bodyPr/>
          <a:lstStyle>
            <a:lvl1pPr>
              <a:defRPr sz="2501"/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602258" y="954275"/>
            <a:ext cx="9811644" cy="5922611"/>
          </a:xfrm>
        </p:spPr>
        <p:txBody>
          <a:bodyPr/>
          <a:lstStyle>
            <a:lvl1pPr>
              <a:defRPr sz="1924"/>
            </a:lvl1pPr>
            <a:lvl2pPr>
              <a:defRPr sz="1539"/>
            </a:lvl2pPr>
            <a:lvl3pPr>
              <a:defRPr sz="1539"/>
            </a:lvl3pPr>
            <a:lvl4pPr>
              <a:defRPr sz="1347"/>
            </a:lvl4pPr>
            <a:lvl5pPr>
              <a:defRPr sz="1347"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239979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1849930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54198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 userDrawn="1"/>
        </p:nvSpPr>
        <p:spPr bwMode="auto">
          <a:xfrm>
            <a:off x="8943200" y="17766"/>
            <a:ext cx="1417920" cy="89142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txBody>
          <a:bodyPr vert="horz" wrap="none" lIns="76174" tIns="38087" rIns="76174" bIns="38087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7336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endParaRPr kumimoji="1" lang="ja-JP" altLang="en-US" sz="1154" b="0" i="0" u="none" strike="noStrike" kern="1200" cap="none" spc="0" normalizeH="0" baseline="0" noProof="0" dirty="0">
              <a:ln>
                <a:noFill/>
              </a:ln>
              <a:solidFill>
                <a:srgbClr val="24246E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01635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90513"/>
            <a:ext cx="9363075" cy="121285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520700" y="1627188"/>
            <a:ext cx="4597400" cy="6794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20700" y="2306638"/>
            <a:ext cx="4597400" cy="41894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284788" y="1627188"/>
            <a:ext cx="4598987" cy="6794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284788" y="2306638"/>
            <a:ext cx="4598987" cy="41894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ー 1"/>
          <p:cNvSpPr>
            <a:spLocks noGrp="1"/>
          </p:cNvSpPr>
          <p:nvPr>
            <p:ph/>
          </p:nvPr>
        </p:nvSpPr>
        <p:spPr>
          <a:xfrm>
            <a:off x="664280" y="137416"/>
            <a:ext cx="9363255" cy="6753213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15CE47-AED3-42C5-88B6-E70E8B082A1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 altLang="ja-JP"/>
              <a:t>ⒸMitsui Soko Co., Ltd. 2018</a:t>
            </a:r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3031719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"/>
          <p:cNvSpPr>
            <a:spLocks noChangeShapeType="1"/>
          </p:cNvSpPr>
          <p:nvPr userDrawn="1"/>
        </p:nvSpPr>
        <p:spPr bwMode="auto">
          <a:xfrm flipH="1">
            <a:off x="225547" y="4017116"/>
            <a:ext cx="3791029" cy="0"/>
          </a:xfrm>
          <a:prstGeom prst="line">
            <a:avLst/>
          </a:prstGeom>
          <a:noFill/>
          <a:ln w="22225">
            <a:solidFill>
              <a:srgbClr val="DDDDDD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None/>
              <a:defRPr/>
            </a:pPr>
            <a:endParaRPr lang="ja-JP" altLang="en-US" sz="1347"/>
          </a:p>
        </p:txBody>
      </p:sp>
      <p:sp>
        <p:nvSpPr>
          <p:cNvPr id="5" name="Rectangle 3"/>
          <p:cNvSpPr>
            <a:spLocks noChangeArrowheads="1"/>
          </p:cNvSpPr>
          <p:nvPr userDrawn="1"/>
        </p:nvSpPr>
        <p:spPr bwMode="auto">
          <a:xfrm>
            <a:off x="123587" y="137416"/>
            <a:ext cx="542238" cy="6994453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None/>
              <a:defRPr/>
            </a:pPr>
            <a:endParaRPr lang="ja-JP" altLang="en-US" sz="1347"/>
          </a:p>
        </p:txBody>
      </p:sp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3837374" y="4606476"/>
            <a:ext cx="5462542" cy="251607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43497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87312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30810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174625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2034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6606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1178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5750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>
              <a:defRPr/>
            </a:pPr>
            <a:endParaRPr kumimoji="0" lang="ja-JP" altLang="ja-JP" sz="1635">
              <a:solidFill>
                <a:srgbClr val="24246E"/>
              </a:solidFill>
              <a:latin typeface="HG丸ｺﾞｼｯｸM-PRO" pitchFamily="50" charset="-128"/>
              <a:ea typeface="HG丸ｺﾞｼｯｸM-PRO" pitchFamily="50" charset="-128"/>
            </a:endParaRPr>
          </a:p>
        </p:txBody>
      </p:sp>
      <p:sp>
        <p:nvSpPr>
          <p:cNvPr id="7" name="Rectangle 11"/>
          <p:cNvSpPr>
            <a:spLocks noChangeArrowheads="1"/>
          </p:cNvSpPr>
          <p:nvPr userDrawn="1"/>
        </p:nvSpPr>
        <p:spPr bwMode="auto">
          <a:xfrm>
            <a:off x="3800299" y="137416"/>
            <a:ext cx="6454327" cy="4223239"/>
          </a:xfrm>
          <a:prstGeom prst="rect">
            <a:avLst/>
          </a:prstGeom>
          <a:solidFill>
            <a:srgbClr val="5EA8DD"/>
          </a:solidFill>
          <a:ln>
            <a:noFill/>
          </a:ln>
          <a:effectLst/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None/>
              <a:defRPr/>
            </a:pPr>
            <a:endParaRPr lang="ja-JP" altLang="en-US" sz="1347"/>
          </a:p>
        </p:txBody>
      </p:sp>
      <p:pic>
        <p:nvPicPr>
          <p:cNvPr id="8" name="Picture 13" descr="ロゴマーク青"/>
          <p:cNvPicPr preferRelativeResize="0"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556360" y="3682738"/>
            <a:ext cx="676638" cy="619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8120274" y="4079782"/>
            <a:ext cx="1449115" cy="14805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algn="l" defTabSz="108426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498475" algn="l" defTabSz="108426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995363" algn="l" defTabSz="108426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493838" algn="l" defTabSz="108426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1990725" algn="l" defTabSz="108426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447925" defTabSz="10842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05125" defTabSz="10842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362325" defTabSz="10842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19525" defTabSz="10842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>
              <a:defRPr/>
            </a:pPr>
            <a:r>
              <a:rPr kumimoji="0" lang="en-US" altLang="ja-JP" sz="962" dirty="0">
                <a:solidFill>
                  <a:schemeClr val="bg1"/>
                </a:solidFill>
                <a:latin typeface="HG丸ｺﾞｼｯｸM-PRO" pitchFamily="50" charset="-128"/>
                <a:ea typeface="HG丸ｺﾞｼｯｸM-PRO" pitchFamily="50" charset="-128"/>
              </a:rPr>
              <a:t>Value Beyond Logistics</a:t>
            </a:r>
            <a:endParaRPr kumimoji="0" lang="ja-JP" altLang="en-US" sz="962" dirty="0">
              <a:solidFill>
                <a:schemeClr val="bg1"/>
              </a:solidFill>
              <a:latin typeface="HG丸ｺﾞｼｯｸM-PRO" pitchFamily="50" charset="-128"/>
              <a:ea typeface="HG丸ｺﾞｼｯｸM-PRO" pitchFamily="50" charset="-128"/>
            </a:endParaRPr>
          </a:p>
        </p:txBody>
      </p:sp>
      <p:sp>
        <p:nvSpPr>
          <p:cNvPr id="228356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800299" y="5779089"/>
            <a:ext cx="6454327" cy="575618"/>
          </a:xfrm>
        </p:spPr>
        <p:txBody>
          <a:bodyPr wrap="none" lIns="90671" tIns="0" rIns="90671" bIns="0"/>
          <a:lstStyle>
            <a:lvl1pPr>
              <a:buFont typeface="Wingdings" pitchFamily="2" charset="2"/>
              <a:buNone/>
              <a:defRPr sz="1924"/>
            </a:lvl1pPr>
          </a:lstStyle>
          <a:p>
            <a:pPr lvl="0"/>
            <a:r>
              <a:rPr lang="ja-JP" altLang="en-US" noProof="0"/>
              <a:t>マスタ サブタイトルの書式設定</a:t>
            </a:r>
          </a:p>
        </p:txBody>
      </p:sp>
      <p:sp>
        <p:nvSpPr>
          <p:cNvPr id="228357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3800299" y="5252329"/>
            <a:ext cx="6454327" cy="499277"/>
          </a:xfrm>
        </p:spPr>
        <p:txBody>
          <a:bodyPr lIns="87258" rIns="87258" anchor="t"/>
          <a:lstStyle>
            <a:lvl1pPr>
              <a:tabLst>
                <a:tab pos="540508" algn="l"/>
              </a:tabLst>
              <a:defRPr sz="2501"/>
            </a:lvl1pPr>
          </a:lstStyle>
          <a:p>
            <a:pPr lvl="0"/>
            <a:r>
              <a:rPr lang="ja-JP" altLang="en-US" noProof="0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8067256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BB86AF8-6085-483D-B4BD-E8CE3A566FB0}" type="slidenum">
              <a:rPr lang="en-US" altLang="ja-JP"/>
              <a:pPr/>
              <a:t>‹#›</a:t>
            </a:fld>
            <a:endParaRPr lang="en-US" altLang="ja-JP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altLang="ja-JP"/>
              <a:t>ⒸMitsui Soko Co., Ltd. 2013</a:t>
            </a:r>
          </a:p>
        </p:txBody>
      </p:sp>
    </p:spTree>
    <p:extLst>
      <p:ext uri="{BB962C8B-B14F-4D97-AF65-F5344CB8AC3E}">
        <p14:creationId xmlns:p14="http://schemas.microsoft.com/office/powerpoint/2010/main" val="411292037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821853" y="4673657"/>
            <a:ext cx="8844190" cy="1444390"/>
          </a:xfrm>
        </p:spPr>
        <p:txBody>
          <a:bodyPr anchor="t"/>
          <a:lstStyle>
            <a:lvl1pPr algn="l">
              <a:defRPr sz="3847" b="1" cap="all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821853" y="3082690"/>
            <a:ext cx="8844190" cy="1590967"/>
          </a:xfrm>
        </p:spPr>
        <p:txBody>
          <a:bodyPr anchor="b"/>
          <a:lstStyle>
            <a:lvl1pPr marL="0" indent="0">
              <a:buNone/>
              <a:defRPr sz="1924"/>
            </a:lvl1pPr>
            <a:lvl2pPr marL="439735" indent="0">
              <a:buNone/>
              <a:defRPr sz="1731"/>
            </a:lvl2pPr>
            <a:lvl3pPr marL="879470" indent="0">
              <a:buNone/>
              <a:defRPr sz="1539"/>
            </a:lvl3pPr>
            <a:lvl4pPr marL="1319205" indent="0">
              <a:buNone/>
              <a:defRPr sz="1347"/>
            </a:lvl4pPr>
            <a:lvl5pPr marL="1758940" indent="0">
              <a:buNone/>
              <a:defRPr sz="1347"/>
            </a:lvl5pPr>
            <a:lvl6pPr marL="2198675" indent="0">
              <a:buNone/>
              <a:defRPr sz="1347"/>
            </a:lvl6pPr>
            <a:lvl7pPr marL="2638410" indent="0">
              <a:buNone/>
              <a:defRPr sz="1347"/>
            </a:lvl7pPr>
            <a:lvl8pPr marL="3078145" indent="0">
              <a:buNone/>
              <a:defRPr sz="1347"/>
            </a:lvl8pPr>
            <a:lvl9pPr marL="3517880" indent="0">
              <a:buNone/>
              <a:defRPr sz="1347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E92C4A5-A220-45B2-A245-75CBD71691C8}" type="slidenum">
              <a:rPr lang="en-US" altLang="ja-JP"/>
              <a:pPr/>
              <a:t>‹#›</a:t>
            </a:fld>
            <a:endParaRPr lang="en-US" altLang="ja-JP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altLang="ja-JP"/>
              <a:t>ⒸMitsui Soko Co., Ltd. 2013</a:t>
            </a:r>
          </a:p>
        </p:txBody>
      </p:sp>
    </p:spTree>
    <p:extLst>
      <p:ext uri="{BB962C8B-B14F-4D97-AF65-F5344CB8AC3E}">
        <p14:creationId xmlns:p14="http://schemas.microsoft.com/office/powerpoint/2010/main" val="187814743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64280" y="954275"/>
            <a:ext cx="4721021" cy="5922611"/>
          </a:xfrm>
        </p:spPr>
        <p:txBody>
          <a:bodyPr/>
          <a:lstStyle>
            <a:lvl1pPr>
              <a:defRPr sz="2693"/>
            </a:lvl1pPr>
            <a:lvl2pPr>
              <a:defRPr sz="2308"/>
            </a:lvl2pPr>
            <a:lvl3pPr>
              <a:defRPr sz="1924"/>
            </a:lvl3pPr>
            <a:lvl4pPr>
              <a:defRPr sz="1731"/>
            </a:lvl4pPr>
            <a:lvl5pPr>
              <a:defRPr sz="1731"/>
            </a:lvl5pPr>
            <a:lvl6pPr>
              <a:defRPr sz="1731"/>
            </a:lvl6pPr>
            <a:lvl7pPr>
              <a:defRPr sz="1731"/>
            </a:lvl7pPr>
            <a:lvl8pPr>
              <a:defRPr sz="1731"/>
            </a:lvl8pPr>
            <a:lvl9pPr>
              <a:defRPr sz="1731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5533605" y="954275"/>
            <a:ext cx="4721021" cy="5922611"/>
          </a:xfrm>
        </p:spPr>
        <p:txBody>
          <a:bodyPr/>
          <a:lstStyle>
            <a:lvl1pPr>
              <a:defRPr sz="2693"/>
            </a:lvl1pPr>
            <a:lvl2pPr>
              <a:defRPr sz="2308"/>
            </a:lvl2pPr>
            <a:lvl3pPr>
              <a:defRPr sz="1924"/>
            </a:lvl3pPr>
            <a:lvl4pPr>
              <a:defRPr sz="1731"/>
            </a:lvl4pPr>
            <a:lvl5pPr>
              <a:defRPr sz="1731"/>
            </a:lvl5pPr>
            <a:lvl6pPr>
              <a:defRPr sz="1731"/>
            </a:lvl6pPr>
            <a:lvl7pPr>
              <a:defRPr sz="1731"/>
            </a:lvl7pPr>
            <a:lvl8pPr>
              <a:defRPr sz="1731"/>
            </a:lvl8pPr>
            <a:lvl9pPr>
              <a:defRPr sz="1731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3C51C80-238C-460D-ADAB-67CB23D80DE9}" type="slidenum">
              <a:rPr lang="en-US" altLang="ja-JP"/>
              <a:pPr/>
              <a:t>‹#›</a:t>
            </a:fld>
            <a:endParaRPr lang="en-US" altLang="ja-JP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altLang="ja-JP"/>
              <a:t>ⒸMitsui Soko Co., Ltd. 2013</a:t>
            </a:r>
          </a:p>
        </p:txBody>
      </p:sp>
    </p:spTree>
    <p:extLst>
      <p:ext uri="{BB962C8B-B14F-4D97-AF65-F5344CB8AC3E}">
        <p14:creationId xmlns:p14="http://schemas.microsoft.com/office/powerpoint/2010/main" val="10070716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611" y="291627"/>
            <a:ext cx="9363254" cy="1212311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520610" y="1627611"/>
            <a:ext cx="4597434" cy="677917"/>
          </a:xfrm>
        </p:spPr>
        <p:txBody>
          <a:bodyPr anchor="b"/>
          <a:lstStyle>
            <a:lvl1pPr marL="0" indent="0">
              <a:buNone/>
              <a:defRPr sz="2308" b="1"/>
            </a:lvl1pPr>
            <a:lvl2pPr marL="439735" indent="0">
              <a:buNone/>
              <a:defRPr sz="1924" b="1"/>
            </a:lvl2pPr>
            <a:lvl3pPr marL="879470" indent="0">
              <a:buNone/>
              <a:defRPr sz="1731" b="1"/>
            </a:lvl3pPr>
            <a:lvl4pPr marL="1319205" indent="0">
              <a:buNone/>
              <a:defRPr sz="1539" b="1"/>
            </a:lvl4pPr>
            <a:lvl5pPr marL="1758940" indent="0">
              <a:buNone/>
              <a:defRPr sz="1539" b="1"/>
            </a:lvl5pPr>
            <a:lvl6pPr marL="2198675" indent="0">
              <a:buNone/>
              <a:defRPr sz="1539" b="1"/>
            </a:lvl6pPr>
            <a:lvl7pPr marL="2638410" indent="0">
              <a:buNone/>
              <a:defRPr sz="1539" b="1"/>
            </a:lvl7pPr>
            <a:lvl8pPr marL="3078145" indent="0">
              <a:buNone/>
              <a:defRPr sz="1539" b="1"/>
            </a:lvl8pPr>
            <a:lvl9pPr marL="3517880" indent="0">
              <a:buNone/>
              <a:defRPr sz="1539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520610" y="2305528"/>
            <a:ext cx="4597434" cy="4191175"/>
          </a:xfrm>
        </p:spPr>
        <p:txBody>
          <a:bodyPr/>
          <a:lstStyle>
            <a:lvl1pPr>
              <a:defRPr sz="2308"/>
            </a:lvl1pPr>
            <a:lvl2pPr>
              <a:defRPr sz="1924"/>
            </a:lvl2pPr>
            <a:lvl3pPr>
              <a:defRPr sz="1731"/>
            </a:lvl3pPr>
            <a:lvl4pPr>
              <a:defRPr sz="1539"/>
            </a:lvl4pPr>
            <a:lvl5pPr>
              <a:defRPr sz="1539"/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5284887" y="1627611"/>
            <a:ext cx="4598978" cy="677917"/>
          </a:xfrm>
        </p:spPr>
        <p:txBody>
          <a:bodyPr anchor="b"/>
          <a:lstStyle>
            <a:lvl1pPr marL="0" indent="0">
              <a:buNone/>
              <a:defRPr sz="2308" b="1"/>
            </a:lvl1pPr>
            <a:lvl2pPr marL="439735" indent="0">
              <a:buNone/>
              <a:defRPr sz="1924" b="1"/>
            </a:lvl2pPr>
            <a:lvl3pPr marL="879470" indent="0">
              <a:buNone/>
              <a:defRPr sz="1731" b="1"/>
            </a:lvl3pPr>
            <a:lvl4pPr marL="1319205" indent="0">
              <a:buNone/>
              <a:defRPr sz="1539" b="1"/>
            </a:lvl4pPr>
            <a:lvl5pPr marL="1758940" indent="0">
              <a:buNone/>
              <a:defRPr sz="1539" b="1"/>
            </a:lvl5pPr>
            <a:lvl6pPr marL="2198675" indent="0">
              <a:buNone/>
              <a:defRPr sz="1539" b="1"/>
            </a:lvl6pPr>
            <a:lvl7pPr marL="2638410" indent="0">
              <a:buNone/>
              <a:defRPr sz="1539" b="1"/>
            </a:lvl7pPr>
            <a:lvl8pPr marL="3078145" indent="0">
              <a:buNone/>
              <a:defRPr sz="1539" b="1"/>
            </a:lvl8pPr>
            <a:lvl9pPr marL="3517880" indent="0">
              <a:buNone/>
              <a:defRPr sz="1539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5284887" y="2305528"/>
            <a:ext cx="4598978" cy="4191175"/>
          </a:xfrm>
        </p:spPr>
        <p:txBody>
          <a:bodyPr/>
          <a:lstStyle>
            <a:lvl1pPr>
              <a:defRPr sz="2308"/>
            </a:lvl1pPr>
            <a:lvl2pPr>
              <a:defRPr sz="1924"/>
            </a:lvl2pPr>
            <a:lvl3pPr>
              <a:defRPr sz="1731"/>
            </a:lvl3pPr>
            <a:lvl4pPr>
              <a:defRPr sz="1539"/>
            </a:lvl4pPr>
            <a:lvl5pPr>
              <a:defRPr sz="1539"/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1D2DC49-62F2-4B53-BAF0-01B188A6BC03}" type="slidenum">
              <a:rPr lang="en-US" altLang="ja-JP"/>
              <a:pPr/>
              <a:t>‹#›</a:t>
            </a:fld>
            <a:endParaRPr lang="en-US" altLang="ja-JP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altLang="ja-JP"/>
              <a:t>ⒸMitsui Soko Co., Ltd. 2013</a:t>
            </a:r>
          </a:p>
        </p:txBody>
      </p:sp>
    </p:spTree>
    <p:extLst>
      <p:ext uri="{BB962C8B-B14F-4D97-AF65-F5344CB8AC3E}">
        <p14:creationId xmlns:p14="http://schemas.microsoft.com/office/powerpoint/2010/main" val="104235717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46360F7-5E36-4F15-80C7-15AD926A9350}" type="slidenum">
              <a:rPr lang="en-US" altLang="ja-JP"/>
              <a:pPr/>
              <a:t>‹#›</a:t>
            </a:fld>
            <a:endParaRPr lang="en-US" altLang="ja-JP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altLang="ja-JP"/>
              <a:t>ⒸMitsui Soko Co., Ltd. 2013</a:t>
            </a:r>
          </a:p>
        </p:txBody>
      </p:sp>
    </p:spTree>
    <p:extLst>
      <p:ext uri="{BB962C8B-B14F-4D97-AF65-F5344CB8AC3E}">
        <p14:creationId xmlns:p14="http://schemas.microsoft.com/office/powerpoint/2010/main" val="279259376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B23F483-604B-4D28-9739-3AFF59870F23}" type="slidenum">
              <a:rPr lang="en-US" altLang="ja-JP"/>
              <a:pPr/>
              <a:t>‹#›</a:t>
            </a:fld>
            <a:endParaRPr lang="en-US" altLang="ja-JP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altLang="ja-JP"/>
              <a:t>ⒸMitsui Soko Co., Ltd. 2013</a:t>
            </a:r>
          </a:p>
        </p:txBody>
      </p:sp>
    </p:spTree>
    <p:extLst>
      <p:ext uri="{BB962C8B-B14F-4D97-AF65-F5344CB8AC3E}">
        <p14:creationId xmlns:p14="http://schemas.microsoft.com/office/powerpoint/2010/main" val="7388528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610" y="290100"/>
            <a:ext cx="3423358" cy="1232160"/>
          </a:xfrm>
        </p:spPr>
        <p:txBody>
          <a:bodyPr/>
          <a:lstStyle>
            <a:lvl1pPr algn="l">
              <a:defRPr sz="1924" b="1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067556" y="290099"/>
            <a:ext cx="5816309" cy="6206604"/>
          </a:xfrm>
        </p:spPr>
        <p:txBody>
          <a:bodyPr/>
          <a:lstStyle>
            <a:lvl1pPr>
              <a:defRPr sz="3078"/>
            </a:lvl1pPr>
            <a:lvl2pPr>
              <a:defRPr sz="2693"/>
            </a:lvl2pPr>
            <a:lvl3pPr>
              <a:defRPr sz="2308"/>
            </a:lvl3pPr>
            <a:lvl4pPr>
              <a:defRPr sz="1924"/>
            </a:lvl4pPr>
            <a:lvl5pPr>
              <a:defRPr sz="1924"/>
            </a:lvl5pPr>
            <a:lvl6pPr>
              <a:defRPr sz="1924"/>
            </a:lvl6pPr>
            <a:lvl7pPr>
              <a:defRPr sz="1924"/>
            </a:lvl7pPr>
            <a:lvl8pPr>
              <a:defRPr sz="1924"/>
            </a:lvl8pPr>
            <a:lvl9pPr>
              <a:defRPr sz="1924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520610" y="1522260"/>
            <a:ext cx="3423358" cy="4974444"/>
          </a:xfrm>
        </p:spPr>
        <p:txBody>
          <a:bodyPr/>
          <a:lstStyle>
            <a:lvl1pPr marL="0" indent="0">
              <a:buNone/>
              <a:defRPr sz="1347"/>
            </a:lvl1pPr>
            <a:lvl2pPr marL="439735" indent="0">
              <a:buNone/>
              <a:defRPr sz="1154"/>
            </a:lvl2pPr>
            <a:lvl3pPr marL="879470" indent="0">
              <a:buNone/>
              <a:defRPr sz="962"/>
            </a:lvl3pPr>
            <a:lvl4pPr marL="1319205" indent="0">
              <a:buNone/>
              <a:defRPr sz="866"/>
            </a:lvl4pPr>
            <a:lvl5pPr marL="1758940" indent="0">
              <a:buNone/>
              <a:defRPr sz="866"/>
            </a:lvl5pPr>
            <a:lvl6pPr marL="2198675" indent="0">
              <a:buNone/>
              <a:defRPr sz="866"/>
            </a:lvl6pPr>
            <a:lvl7pPr marL="2638410" indent="0">
              <a:buNone/>
              <a:defRPr sz="866"/>
            </a:lvl7pPr>
            <a:lvl8pPr marL="3078145" indent="0">
              <a:buNone/>
              <a:defRPr sz="866"/>
            </a:lvl8pPr>
            <a:lvl9pPr marL="3517880" indent="0">
              <a:buNone/>
              <a:defRPr sz="866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0392D4-F0CB-4075-BD5D-9BB37DE0C413}" type="slidenum">
              <a:rPr lang="en-US" altLang="ja-JP"/>
              <a:pPr/>
              <a:t>‹#›</a:t>
            </a:fld>
            <a:endParaRPr lang="en-US" altLang="ja-JP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altLang="ja-JP"/>
              <a:t>ⒸMitsui Soko Co., Ltd. 2013</a:t>
            </a:r>
          </a:p>
        </p:txBody>
      </p:sp>
    </p:spTree>
    <p:extLst>
      <p:ext uri="{BB962C8B-B14F-4D97-AF65-F5344CB8AC3E}">
        <p14:creationId xmlns:p14="http://schemas.microsoft.com/office/powerpoint/2010/main" val="17727199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039184" y="5090484"/>
            <a:ext cx="6242685" cy="601575"/>
          </a:xfrm>
        </p:spPr>
        <p:txBody>
          <a:bodyPr/>
          <a:lstStyle>
            <a:lvl1pPr algn="l">
              <a:defRPr sz="1924" b="1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2039184" y="650433"/>
            <a:ext cx="6242685" cy="4362182"/>
          </a:xfrm>
        </p:spPr>
        <p:txBody>
          <a:bodyPr/>
          <a:lstStyle>
            <a:lvl1pPr marL="0" indent="0">
              <a:buNone/>
              <a:defRPr sz="3078"/>
            </a:lvl1pPr>
            <a:lvl2pPr marL="439735" indent="0">
              <a:buNone/>
              <a:defRPr sz="2693"/>
            </a:lvl2pPr>
            <a:lvl3pPr marL="879470" indent="0">
              <a:buNone/>
              <a:defRPr sz="2308"/>
            </a:lvl3pPr>
            <a:lvl4pPr marL="1319205" indent="0">
              <a:buNone/>
              <a:defRPr sz="1924"/>
            </a:lvl4pPr>
            <a:lvl5pPr marL="1758940" indent="0">
              <a:buNone/>
              <a:defRPr sz="1924"/>
            </a:lvl5pPr>
            <a:lvl6pPr marL="2198675" indent="0">
              <a:buNone/>
              <a:defRPr sz="1924"/>
            </a:lvl6pPr>
            <a:lvl7pPr marL="2638410" indent="0">
              <a:buNone/>
              <a:defRPr sz="1924"/>
            </a:lvl7pPr>
            <a:lvl8pPr marL="3078145" indent="0">
              <a:buNone/>
              <a:defRPr sz="1924"/>
            </a:lvl8pPr>
            <a:lvl9pPr marL="3517880" indent="0">
              <a:buNone/>
              <a:defRPr sz="1924"/>
            </a:lvl9pPr>
          </a:lstStyle>
          <a:p>
            <a:pPr lvl="0"/>
            <a:endParaRPr lang="ja-JP" altLang="en-US" noProof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2039184" y="5692059"/>
            <a:ext cx="6242685" cy="853504"/>
          </a:xfrm>
        </p:spPr>
        <p:txBody>
          <a:bodyPr/>
          <a:lstStyle>
            <a:lvl1pPr marL="0" indent="0">
              <a:buNone/>
              <a:defRPr sz="1347"/>
            </a:lvl1pPr>
            <a:lvl2pPr marL="439735" indent="0">
              <a:buNone/>
              <a:defRPr sz="1154"/>
            </a:lvl2pPr>
            <a:lvl3pPr marL="879470" indent="0">
              <a:buNone/>
              <a:defRPr sz="962"/>
            </a:lvl3pPr>
            <a:lvl4pPr marL="1319205" indent="0">
              <a:buNone/>
              <a:defRPr sz="866"/>
            </a:lvl4pPr>
            <a:lvl5pPr marL="1758940" indent="0">
              <a:buNone/>
              <a:defRPr sz="866"/>
            </a:lvl5pPr>
            <a:lvl6pPr marL="2198675" indent="0">
              <a:buNone/>
              <a:defRPr sz="866"/>
            </a:lvl6pPr>
            <a:lvl7pPr marL="2638410" indent="0">
              <a:buNone/>
              <a:defRPr sz="866"/>
            </a:lvl7pPr>
            <a:lvl8pPr marL="3078145" indent="0">
              <a:buNone/>
              <a:defRPr sz="866"/>
            </a:lvl8pPr>
            <a:lvl9pPr marL="3517880" indent="0">
              <a:buNone/>
              <a:defRPr sz="866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198C556-0056-458C-B51F-07616957BF60}" type="slidenum">
              <a:rPr lang="en-US" altLang="ja-JP"/>
              <a:pPr/>
              <a:t>‹#›</a:t>
            </a:fld>
            <a:endParaRPr lang="en-US" altLang="ja-JP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altLang="ja-JP"/>
              <a:t>ⒸMitsui Soko Co., Ltd. 2013</a:t>
            </a:r>
          </a:p>
        </p:txBody>
      </p:sp>
    </p:spTree>
    <p:extLst>
      <p:ext uri="{BB962C8B-B14F-4D97-AF65-F5344CB8AC3E}">
        <p14:creationId xmlns:p14="http://schemas.microsoft.com/office/powerpoint/2010/main" val="28276066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9E1937A-5A9B-4DCE-A94A-08A73C220C1B}" type="slidenum">
              <a:rPr lang="en-US" altLang="ja-JP"/>
              <a:pPr/>
              <a:t>‹#›</a:t>
            </a:fld>
            <a:endParaRPr lang="en-US" altLang="ja-JP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altLang="ja-JP"/>
              <a:t>ⒸMitsui Soko Co., Ltd. 2013</a:t>
            </a:r>
          </a:p>
        </p:txBody>
      </p:sp>
    </p:spTree>
    <p:extLst>
      <p:ext uri="{BB962C8B-B14F-4D97-AF65-F5344CB8AC3E}">
        <p14:creationId xmlns:p14="http://schemas.microsoft.com/office/powerpoint/2010/main" val="320976639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857039" y="141997"/>
            <a:ext cx="2397586" cy="6734889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64280" y="141997"/>
            <a:ext cx="7044455" cy="6734889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D64FBE-CB06-4A03-8ABD-0E0BC2868FBA}" type="slidenum">
              <a:rPr lang="en-US" altLang="ja-JP"/>
              <a:pPr/>
              <a:t>‹#›</a:t>
            </a:fld>
            <a:endParaRPr lang="en-US" altLang="ja-JP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altLang="ja-JP"/>
              <a:t>ⒸMitsui Soko Co., Ltd. 2013</a:t>
            </a:r>
          </a:p>
        </p:txBody>
      </p:sp>
    </p:spTree>
    <p:extLst>
      <p:ext uri="{BB962C8B-B14F-4D97-AF65-F5344CB8AC3E}">
        <p14:creationId xmlns:p14="http://schemas.microsoft.com/office/powerpoint/2010/main" val="18787637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88925"/>
            <a:ext cx="3422650" cy="12334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067175" y="288925"/>
            <a:ext cx="5816600" cy="62071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520700" y="1522413"/>
            <a:ext cx="3422650" cy="497363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039938" y="5091113"/>
            <a:ext cx="6242050" cy="6000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2039938" y="649288"/>
            <a:ext cx="6242050" cy="436403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2039938" y="5691188"/>
            <a:ext cx="6242050" cy="85407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47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8.xml"/><Relationship Id="rId9" Type="http://schemas.openxmlformats.org/officeDocument/2006/relationships/tags" Target="../tags/tag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6"/>
          <p:cNvSpPr>
            <a:spLocks noGrp="1" noChangeArrowheads="1"/>
          </p:cNvSpPr>
          <p:nvPr>
            <p:ph type="body" idx="1"/>
          </p:nvPr>
        </p:nvSpPr>
        <p:spPr bwMode="gray">
          <a:xfrm>
            <a:off x="588963" y="962025"/>
            <a:ext cx="9748837" cy="141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211" tIns="42413" rIns="84828" bIns="42413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28" name="Rectangle 9"/>
          <p:cNvSpPr>
            <a:spLocks noGrp="1" noChangeArrowheads="1"/>
          </p:cNvSpPr>
          <p:nvPr>
            <p:ph type="title"/>
          </p:nvPr>
        </p:nvSpPr>
        <p:spPr bwMode="gray">
          <a:xfrm>
            <a:off x="588963" y="1670935"/>
            <a:ext cx="9748837" cy="79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211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/>
              <a:t>Click to add title</a:t>
            </a:r>
            <a:endParaRPr lang="en-US" altLang="ja-JP" dirty="0"/>
          </a:p>
        </p:txBody>
      </p:sp>
      <p:sp>
        <p:nvSpPr>
          <p:cNvPr id="1029" name="Rectangle 14"/>
          <p:cNvSpPr>
            <a:spLocks noChangeArrowheads="1"/>
          </p:cNvSpPr>
          <p:nvPr userDrawn="1"/>
        </p:nvSpPr>
        <p:spPr bwMode="gray">
          <a:xfrm>
            <a:off x="49213" y="36513"/>
            <a:ext cx="523875" cy="7188200"/>
          </a:xfrm>
          <a:prstGeom prst="rect">
            <a:avLst/>
          </a:prstGeom>
          <a:solidFill>
            <a:srgbClr val="DDDDDD"/>
          </a:solidFill>
          <a:ln w="9525">
            <a:solidFill>
              <a:srgbClr val="D2DBFD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algn="l">
              <a:defRPr/>
            </a:pPr>
            <a:endParaRPr lang="ja-JP" altLang="en-US" sz="900"/>
          </a:p>
        </p:txBody>
      </p:sp>
      <p:sp>
        <p:nvSpPr>
          <p:cNvPr id="8" name="Text Box 20"/>
          <p:cNvSpPr txBox="1">
            <a:spLocks noChangeArrowheads="1"/>
          </p:cNvSpPr>
          <p:nvPr userDrawn="1"/>
        </p:nvSpPr>
        <p:spPr bwMode="gray">
          <a:xfrm>
            <a:off x="546698" y="7101554"/>
            <a:ext cx="2326467" cy="133242"/>
          </a:xfrm>
          <a:prstGeom prst="rect">
            <a:avLst/>
          </a:prstGeom>
          <a:noFill/>
          <a:ln>
            <a:noFill/>
          </a:ln>
        </p:spPr>
        <p:txBody>
          <a:bodyPr wrap="none" lIns="79118" tIns="0" rIns="88074" bIns="0">
            <a:spAutoFit/>
          </a:bodyPr>
          <a:lstStyle>
            <a:lvl1pPr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marL="0" marR="0" lvl="0" indent="0" algn="l" defTabSz="91625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DDDDDD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ja-JP" sz="866" b="0" i="0" u="none" strike="noStrike" kern="1200" cap="none" spc="0" normalizeH="0" baseline="0" noProof="0" dirty="0">
                <a:ln>
                  <a:noFill/>
                </a:ln>
                <a:solidFill>
                  <a:srgbClr val="24246E"/>
                </a:solidFill>
                <a:effectLst/>
                <a:uLnTx/>
                <a:uFillTx/>
                <a:latin typeface="Arial" pitchFamily="34" charset="0"/>
                <a:ea typeface="Arial Unicode MS" panose="020B0604020202020204" pitchFamily="50" charset="-128"/>
                <a:cs typeface="Arial" pitchFamily="34" charset="0"/>
              </a:rPr>
              <a:t>Ⓒ MITSUI-SOKO EXPRESS Co., Ltd. 2022</a:t>
            </a:r>
          </a:p>
        </p:txBody>
      </p:sp>
      <p:sp>
        <p:nvSpPr>
          <p:cNvPr id="9" name="Slide Number"/>
          <p:cNvSpPr txBox="1"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9857574" y="7122734"/>
            <a:ext cx="185948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492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17B41A-92A9-4549-941B-87B9EB44283C}" type="slidenum">
              <a:rPr kumimoji="0" lang="en-US" altLang="ja-JP" sz="866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pPr marL="0" marR="0" lvl="0" indent="0" algn="l" defTabSz="9492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86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0" name="Slide Number Line"/>
          <p:cNvSpPr>
            <a:spLocks noChangeShapeType="1"/>
          </p:cNvSpPr>
          <p:nvPr userDrawn="1">
            <p:custDataLst>
              <p:tags r:id="rId14"/>
            </p:custDataLst>
          </p:nvPr>
        </p:nvSpPr>
        <p:spPr bwMode="auto">
          <a:xfrm>
            <a:off x="9735854" y="7141033"/>
            <a:ext cx="0" cy="13130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4921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349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1" name="Line 6"/>
          <p:cNvSpPr>
            <a:spLocks noChangeShapeType="1"/>
          </p:cNvSpPr>
          <p:nvPr userDrawn="1"/>
        </p:nvSpPr>
        <p:spPr bwMode="auto">
          <a:xfrm>
            <a:off x="261077" y="954275"/>
            <a:ext cx="10143397" cy="0"/>
          </a:xfrm>
          <a:prstGeom prst="line">
            <a:avLst/>
          </a:prstGeom>
          <a:noFill/>
          <a:ln w="22225">
            <a:solidFill>
              <a:srgbClr val="DDDDDD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8794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731" b="0" i="0" u="none" strike="noStrike" kern="1200" cap="none" spc="0" normalizeH="0" baseline="0" noProof="0">
              <a:ln>
                <a:noFill/>
              </a:ln>
              <a:solidFill>
                <a:srgbClr val="24246E"/>
              </a:solidFill>
              <a:effectLst/>
              <a:uLnTx/>
              <a:uFillTx/>
              <a:latin typeface="HG丸ｺﾞｼｯｸM-PRO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2" name="Text Box 11"/>
          <p:cNvSpPr txBox="1">
            <a:spLocks noChangeArrowheads="1"/>
          </p:cNvSpPr>
          <p:nvPr userDrawn="1"/>
        </p:nvSpPr>
        <p:spPr bwMode="auto">
          <a:xfrm rot="16200000">
            <a:off x="-526715" y="6337999"/>
            <a:ext cx="1465766" cy="22245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43497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87312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30810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174625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2034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6606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1178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5750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marL="0" marR="0" lvl="0" indent="0" algn="l" defTabSz="9145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4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HGS創英角ｺﾞｼｯｸUB" pitchFamily="50" charset="-128"/>
                <a:cs typeface="+mn-cs"/>
              </a:rPr>
              <a:t>物流から価値を。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668" r:id="rId2"/>
    <p:sldLayoutId id="2147483667" r:id="rId3"/>
    <p:sldLayoutId id="2147483666" r:id="rId4"/>
    <p:sldLayoutId id="2147483665" r:id="rId5"/>
    <p:sldLayoutId id="2147483664" r:id="rId6"/>
    <p:sldLayoutId id="2147483663" r:id="rId7"/>
    <p:sldLayoutId id="2147483662" r:id="rId8"/>
    <p:sldLayoutId id="2147483661" r:id="rId9"/>
    <p:sldLayoutId id="2147483660" r:id="rId10"/>
    <p:sldLayoutId id="2147483659" r:id="rId11"/>
  </p:sldLayoutIdLst>
  <p:txStyles>
    <p:titleStyle>
      <a:lvl1pPr algn="l" defTabSz="882650" rtl="0" eaLnBrk="0" fontAlgn="base" hangingPunct="0">
        <a:spcBef>
          <a:spcPct val="0"/>
        </a:spcBef>
        <a:spcAft>
          <a:spcPct val="30000"/>
        </a:spcAft>
        <a:defRPr kumimoji="1" sz="2400" b="1">
          <a:solidFill>
            <a:srgbClr val="000000"/>
          </a:solidFill>
          <a:latin typeface="+mj-lt"/>
          <a:ea typeface="+mj-ea"/>
          <a:cs typeface="+mj-cs"/>
        </a:defRPr>
      </a:lvl1pPr>
      <a:lvl2pPr algn="l" defTabSz="882650" rtl="0" eaLnBrk="0" fontAlgn="base" hangingPunct="0">
        <a:spcBef>
          <a:spcPct val="0"/>
        </a:spcBef>
        <a:spcAft>
          <a:spcPct val="30000"/>
        </a:spcAft>
        <a:defRPr kumimoji="1" sz="2400" b="1">
          <a:solidFill>
            <a:srgbClr val="24246E"/>
          </a:solidFill>
          <a:latin typeface="HGPｺﾞｼｯｸM" pitchFamily="50" charset="-128"/>
          <a:ea typeface="HGPｺﾞｼｯｸM" pitchFamily="50" charset="-128"/>
        </a:defRPr>
      </a:lvl2pPr>
      <a:lvl3pPr algn="l" defTabSz="882650" rtl="0" eaLnBrk="0" fontAlgn="base" hangingPunct="0">
        <a:spcBef>
          <a:spcPct val="0"/>
        </a:spcBef>
        <a:spcAft>
          <a:spcPct val="30000"/>
        </a:spcAft>
        <a:defRPr kumimoji="1" sz="2400" b="1">
          <a:solidFill>
            <a:srgbClr val="24246E"/>
          </a:solidFill>
          <a:latin typeface="HGPｺﾞｼｯｸM" pitchFamily="50" charset="-128"/>
          <a:ea typeface="HGPｺﾞｼｯｸM" pitchFamily="50" charset="-128"/>
        </a:defRPr>
      </a:lvl3pPr>
      <a:lvl4pPr algn="l" defTabSz="882650" rtl="0" eaLnBrk="0" fontAlgn="base" hangingPunct="0">
        <a:spcBef>
          <a:spcPct val="0"/>
        </a:spcBef>
        <a:spcAft>
          <a:spcPct val="30000"/>
        </a:spcAft>
        <a:defRPr kumimoji="1" sz="2400" b="1">
          <a:solidFill>
            <a:srgbClr val="24246E"/>
          </a:solidFill>
          <a:latin typeface="HGPｺﾞｼｯｸM" pitchFamily="50" charset="-128"/>
          <a:ea typeface="HGPｺﾞｼｯｸM" pitchFamily="50" charset="-128"/>
        </a:defRPr>
      </a:lvl4pPr>
      <a:lvl5pPr algn="l" defTabSz="882650" rtl="0" eaLnBrk="0" fontAlgn="base" hangingPunct="0">
        <a:spcBef>
          <a:spcPct val="0"/>
        </a:spcBef>
        <a:spcAft>
          <a:spcPct val="30000"/>
        </a:spcAft>
        <a:defRPr kumimoji="1" sz="2400" b="1">
          <a:solidFill>
            <a:srgbClr val="24246E"/>
          </a:solidFill>
          <a:latin typeface="HGPｺﾞｼｯｸM" pitchFamily="50" charset="-128"/>
          <a:ea typeface="HGPｺﾞｼｯｸM" pitchFamily="50" charset="-128"/>
        </a:defRPr>
      </a:lvl5pPr>
      <a:lvl6pPr marL="457200" algn="l" defTabSz="882650" rtl="0" fontAlgn="base">
        <a:spcBef>
          <a:spcPct val="0"/>
        </a:spcBef>
        <a:spcAft>
          <a:spcPct val="30000"/>
        </a:spcAft>
        <a:defRPr kumimoji="1" sz="2400" b="1">
          <a:solidFill>
            <a:srgbClr val="24246E"/>
          </a:solidFill>
          <a:latin typeface="HGPｺﾞｼｯｸM" pitchFamily="50" charset="-128"/>
          <a:ea typeface="HGPｺﾞｼｯｸM" pitchFamily="50" charset="-128"/>
        </a:defRPr>
      </a:lvl6pPr>
      <a:lvl7pPr marL="914400" algn="l" defTabSz="882650" rtl="0" fontAlgn="base">
        <a:spcBef>
          <a:spcPct val="0"/>
        </a:spcBef>
        <a:spcAft>
          <a:spcPct val="30000"/>
        </a:spcAft>
        <a:defRPr kumimoji="1" sz="2400" b="1">
          <a:solidFill>
            <a:srgbClr val="24246E"/>
          </a:solidFill>
          <a:latin typeface="HGPｺﾞｼｯｸM" pitchFamily="50" charset="-128"/>
          <a:ea typeface="HGPｺﾞｼｯｸM" pitchFamily="50" charset="-128"/>
        </a:defRPr>
      </a:lvl7pPr>
      <a:lvl8pPr marL="1371600" algn="l" defTabSz="882650" rtl="0" fontAlgn="base">
        <a:spcBef>
          <a:spcPct val="0"/>
        </a:spcBef>
        <a:spcAft>
          <a:spcPct val="30000"/>
        </a:spcAft>
        <a:defRPr kumimoji="1" sz="2400" b="1">
          <a:solidFill>
            <a:srgbClr val="24246E"/>
          </a:solidFill>
          <a:latin typeface="HGPｺﾞｼｯｸM" pitchFamily="50" charset="-128"/>
          <a:ea typeface="HGPｺﾞｼｯｸM" pitchFamily="50" charset="-128"/>
        </a:defRPr>
      </a:lvl8pPr>
      <a:lvl9pPr marL="1828800" algn="l" defTabSz="882650" rtl="0" fontAlgn="base">
        <a:spcBef>
          <a:spcPct val="0"/>
        </a:spcBef>
        <a:spcAft>
          <a:spcPct val="30000"/>
        </a:spcAft>
        <a:defRPr kumimoji="1" sz="2400" b="1">
          <a:solidFill>
            <a:srgbClr val="24246E"/>
          </a:solidFill>
          <a:latin typeface="HGPｺﾞｼｯｸM" pitchFamily="50" charset="-128"/>
          <a:ea typeface="HGPｺﾞｼｯｸM" pitchFamily="50" charset="-128"/>
        </a:defRPr>
      </a:lvl9pPr>
    </p:titleStyle>
    <p:bodyStyle>
      <a:lvl1pPr marL="342900" indent="-342900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Font typeface="Wingdings" pitchFamily="2" charset="2"/>
        <a:buChar char="n"/>
        <a:defRPr kumimoji="1" sz="2000">
          <a:solidFill>
            <a:srgbClr val="000000"/>
          </a:solidFill>
          <a:latin typeface="+mn-lt"/>
          <a:ea typeface="+mn-ea"/>
          <a:cs typeface="+mn-cs"/>
        </a:defRPr>
      </a:lvl1pPr>
      <a:lvl2pPr marL="344488" indent="-169863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Font typeface="HGPｺﾞｼｯｸM" pitchFamily="50" charset="-128"/>
        <a:buChar char="-"/>
        <a:defRPr kumimoji="1" sz="1700">
          <a:solidFill>
            <a:srgbClr val="000000"/>
          </a:solidFill>
          <a:latin typeface="+mn-lt"/>
          <a:ea typeface="+mn-ea"/>
        </a:defRPr>
      </a:lvl2pPr>
      <a:lvl3pPr marL="698500" indent="-179388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Font typeface="Wingdings" pitchFamily="2" charset="2"/>
        <a:buChar char="§"/>
        <a:defRPr kumimoji="1" sz="1700">
          <a:solidFill>
            <a:srgbClr val="000000"/>
          </a:solidFill>
          <a:latin typeface="+mn-lt"/>
          <a:ea typeface="+mn-ea"/>
        </a:defRPr>
      </a:lvl3pPr>
      <a:lvl4pPr marL="1042988" indent="-168275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SzPct val="50000"/>
        <a:buFont typeface="HGPｺﾞｼｯｸM" pitchFamily="50" charset="-128"/>
        <a:buChar char="-"/>
        <a:defRPr kumimoji="1" sz="1700">
          <a:solidFill>
            <a:srgbClr val="000000"/>
          </a:solidFill>
          <a:latin typeface="+mn-lt"/>
          <a:ea typeface="+mn-ea"/>
        </a:defRPr>
      </a:lvl4pPr>
      <a:lvl5pPr marL="1670050" indent="-220663" algn="l" defTabSz="882650" rtl="0" eaLnBrk="0" fontAlgn="base" hangingPunct="0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ＭＳ Ｐゴシック" pitchFamily="50" charset="-128"/>
        </a:defRPr>
      </a:lvl5pPr>
      <a:lvl6pPr marL="21272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ＭＳ Ｐゴシック" pitchFamily="50" charset="-128"/>
        </a:defRPr>
      </a:lvl6pPr>
      <a:lvl7pPr marL="25844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ＭＳ Ｐゴシック" pitchFamily="50" charset="-128"/>
        </a:defRPr>
      </a:lvl7pPr>
      <a:lvl8pPr marL="30416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ＭＳ Ｐゴシック" pitchFamily="50" charset="-128"/>
        </a:defRPr>
      </a:lvl8pPr>
      <a:lvl9pPr marL="34988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ＭＳ Ｐゴシック" pitchFamily="50" charset="-128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15"/>
          <p:cNvSpPr>
            <a:spLocks noChangeArrowheads="1"/>
          </p:cNvSpPr>
          <p:nvPr userDrawn="1"/>
        </p:nvSpPr>
        <p:spPr bwMode="gray">
          <a:xfrm>
            <a:off x="0" y="676275"/>
            <a:ext cx="10404475" cy="6596063"/>
          </a:xfrm>
          <a:prstGeom prst="rect">
            <a:avLst/>
          </a:prstGeom>
          <a:solidFill>
            <a:srgbClr val="1A547D"/>
          </a:solidFill>
          <a:ln>
            <a:noFill/>
          </a:ln>
        </p:spPr>
        <p:txBody>
          <a:bodyPr wrap="none" anchor="ctr"/>
          <a:lstStyle>
            <a:lvl1pPr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algn="l">
              <a:defRPr/>
            </a:pPr>
            <a:endParaRPr lang="ja-JP" altLang="en-US" sz="900"/>
          </a:p>
        </p:txBody>
      </p:sp>
      <p:sp>
        <p:nvSpPr>
          <p:cNvPr id="2052" name="Rectangle 67"/>
          <p:cNvSpPr>
            <a:spLocks noChangeArrowheads="1"/>
          </p:cNvSpPr>
          <p:nvPr userDrawn="1"/>
        </p:nvSpPr>
        <p:spPr bwMode="gray">
          <a:xfrm>
            <a:off x="0" y="0"/>
            <a:ext cx="10404475" cy="360363"/>
          </a:xfrm>
          <a:prstGeom prst="rect">
            <a:avLst/>
          </a:prstGeom>
          <a:solidFill>
            <a:srgbClr val="1A547D"/>
          </a:solidFill>
          <a:ln w="22225" algn="ctr">
            <a:solidFill>
              <a:srgbClr val="1A547D"/>
            </a:solidFill>
            <a:miter lim="800000"/>
            <a:headEnd/>
            <a:tailEnd/>
          </a:ln>
        </p:spPr>
        <p:txBody>
          <a:bodyPr wrap="none" lIns="88898" tIns="44449" rIns="88898" bIns="44449" anchor="ctr"/>
          <a:lstStyle>
            <a:lvl1pPr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algn="l">
              <a:spcAft>
                <a:spcPct val="0"/>
              </a:spcAft>
              <a:buClrTx/>
              <a:buFontTx/>
              <a:buNone/>
              <a:defRPr/>
            </a:pPr>
            <a:endParaRPr lang="ja-JP" altLang="ja-JP" sz="900" b="1" dirty="0">
              <a:solidFill>
                <a:srgbClr val="FFFFFF"/>
              </a:solidFill>
              <a:latin typeface="HGPｺﾞｼｯｸM" panose="020B0600000000000000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86069" name="Text Box 21"/>
          <p:cNvSpPr txBox="1">
            <a:spLocks noChangeArrowheads="1"/>
          </p:cNvSpPr>
          <p:nvPr userDrawn="1"/>
        </p:nvSpPr>
        <p:spPr bwMode="gray">
          <a:xfrm>
            <a:off x="10150296" y="7088188"/>
            <a:ext cx="18274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algn="r" eaLnBrk="1" hangingPunct="1">
              <a:defRPr/>
            </a:pPr>
            <a:fld id="{33DBFC2E-E2D5-44F7-9B69-E1FA430C43F2}" type="slidenum">
              <a:rPr kumimoji="0" lang="en-US" altLang="ja-JP" sz="900" smtClean="0">
                <a:solidFill>
                  <a:schemeClr val="bg1"/>
                </a:solidFill>
                <a:latin typeface="HGPｺﾞｼｯｸM" panose="020B0600000000000000" pitchFamily="50" charset="-128"/>
                <a:ea typeface="Arial Unicode MS" panose="020B0604020202020204" pitchFamily="50" charset="-128"/>
                <a:cs typeface="Arial" pitchFamily="34" charset="0"/>
              </a:rPr>
              <a:pPr algn="r" eaLnBrk="1" hangingPunct="1">
                <a:defRPr/>
              </a:pPr>
              <a:t>‹#›</a:t>
            </a:fld>
            <a:endParaRPr kumimoji="0" lang="en-US" altLang="ja-JP" sz="900" dirty="0">
              <a:solidFill>
                <a:schemeClr val="bg1"/>
              </a:solidFill>
              <a:latin typeface="HGPｺﾞｼｯｸM" panose="020B0600000000000000" pitchFamily="50" charset="-128"/>
              <a:ea typeface="Arial Unicode MS" panose="020B0604020202020204" pitchFamily="50" charset="-128"/>
              <a:cs typeface="Arial" pitchFamily="34" charset="0"/>
            </a:endParaRPr>
          </a:p>
        </p:txBody>
      </p:sp>
      <p:sp>
        <p:nvSpPr>
          <p:cNvPr id="6" name="正方形/長方形 5"/>
          <p:cNvSpPr/>
          <p:nvPr userDrawn="1"/>
        </p:nvSpPr>
        <p:spPr bwMode="auto">
          <a:xfrm>
            <a:off x="0" y="6867939"/>
            <a:ext cx="10404475" cy="15354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0141" tIns="40070" rIns="80141" bIns="4007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826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</a:pPr>
            <a:endParaRPr kumimoji="1" lang="ja-JP" altLang="en-US" sz="1400" b="0" i="0" u="none" strike="noStrike" cap="none" normalizeH="0" baseline="0">
              <a:ln>
                <a:noFill/>
              </a:ln>
              <a:solidFill>
                <a:srgbClr val="24246E"/>
              </a:solidFill>
              <a:effectLst/>
              <a:latin typeface="HGPｺﾞｼｯｸM" pitchFamily="50" charset="-128"/>
              <a:ea typeface="HGPｺﾞｼｯｸM" pitchFamily="50" charset="-128"/>
            </a:endParaRPr>
          </a:p>
        </p:txBody>
      </p:sp>
      <p:pic>
        <p:nvPicPr>
          <p:cNvPr id="8" name="Picture 29" descr="MITSUISOKO_GROUP_A-2_en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9112" y="410324"/>
            <a:ext cx="2776567" cy="23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78" r:id="rId2"/>
    <p:sldLayoutId id="2147483677" r:id="rId3"/>
    <p:sldLayoutId id="2147483676" r:id="rId4"/>
    <p:sldLayoutId id="2147483675" r:id="rId5"/>
    <p:sldLayoutId id="2147483674" r:id="rId6"/>
    <p:sldLayoutId id="2147483673" r:id="rId7"/>
    <p:sldLayoutId id="2147483672" r:id="rId8"/>
    <p:sldLayoutId id="2147483671" r:id="rId9"/>
    <p:sldLayoutId id="2147483670" r:id="rId10"/>
    <p:sldLayoutId id="2147483669" r:id="rId11"/>
  </p:sldLayoutIdLst>
  <p:txStyles>
    <p:titleStyle>
      <a:lvl1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+mj-lt"/>
          <a:ea typeface="+mj-ea"/>
          <a:cs typeface="+mj-cs"/>
        </a:defRPr>
      </a:lvl1pPr>
      <a:lvl2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2pPr>
      <a:lvl3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3pPr>
      <a:lvl4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4pPr>
      <a:lvl5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5pPr>
      <a:lvl6pPr marL="457200" algn="l" defTabSz="882650" rtl="0" fontAlgn="base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6pPr>
      <a:lvl7pPr marL="914400" algn="l" defTabSz="882650" rtl="0" fontAlgn="base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7pPr>
      <a:lvl8pPr marL="1371600" algn="l" defTabSz="882650" rtl="0" fontAlgn="base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8pPr>
      <a:lvl9pPr marL="1828800" algn="l" defTabSz="882650" rtl="0" fontAlgn="base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9pPr>
    </p:titleStyle>
    <p:bodyStyle>
      <a:lvl1pPr marL="342900" indent="-342900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Font typeface="Wingdings" pitchFamily="2" charset="2"/>
        <a:buChar char="n"/>
        <a:defRPr kumimoji="1" sz="2000">
          <a:solidFill>
            <a:srgbClr val="24246E"/>
          </a:solidFill>
          <a:latin typeface="+mn-lt"/>
          <a:ea typeface="+mn-ea"/>
          <a:cs typeface="+mn-cs"/>
        </a:defRPr>
      </a:lvl1pPr>
      <a:lvl2pPr marL="344488" indent="-169863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Font typeface="HGPｺﾞｼｯｸM" pitchFamily="50" charset="-128"/>
        <a:buChar char="-"/>
        <a:defRPr kumimoji="1" sz="1700">
          <a:solidFill>
            <a:srgbClr val="24246E"/>
          </a:solidFill>
          <a:latin typeface="+mn-lt"/>
          <a:ea typeface="+mn-ea"/>
        </a:defRPr>
      </a:lvl2pPr>
      <a:lvl3pPr marL="698500" indent="-179388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Font typeface="Wingdings" pitchFamily="2" charset="2"/>
        <a:buChar char="§"/>
        <a:defRPr kumimoji="1" sz="1700">
          <a:solidFill>
            <a:srgbClr val="24246E"/>
          </a:solidFill>
          <a:latin typeface="+mn-lt"/>
          <a:ea typeface="+mn-ea"/>
        </a:defRPr>
      </a:lvl3pPr>
      <a:lvl4pPr marL="1042988" indent="-168275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SzPct val="50000"/>
        <a:buFont typeface="HGPｺﾞｼｯｸM" pitchFamily="50" charset="-128"/>
        <a:buChar char="-"/>
        <a:defRPr kumimoji="1" sz="1700">
          <a:solidFill>
            <a:srgbClr val="24246E"/>
          </a:solidFill>
          <a:latin typeface="+mn-lt"/>
          <a:ea typeface="+mn-ea"/>
        </a:defRPr>
      </a:lvl4pPr>
      <a:lvl5pPr marL="1670050" indent="-220663" algn="l" defTabSz="882650" rtl="0" eaLnBrk="0" fontAlgn="base" hangingPunct="0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5pPr>
      <a:lvl6pPr marL="21272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6pPr>
      <a:lvl7pPr marL="25844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7pPr>
      <a:lvl8pPr marL="30416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8pPr>
      <a:lvl9pPr marL="34988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ChangeArrowheads="1"/>
          </p:cNvSpPr>
          <p:nvPr userDrawn="1"/>
        </p:nvSpPr>
        <p:spPr bwMode="gray">
          <a:xfrm>
            <a:off x="0" y="676275"/>
            <a:ext cx="10404475" cy="6596063"/>
          </a:xfrm>
          <a:prstGeom prst="rect">
            <a:avLst/>
          </a:prstGeom>
          <a:solidFill>
            <a:srgbClr val="1A547D"/>
          </a:solidFill>
          <a:ln>
            <a:noFill/>
          </a:ln>
        </p:spPr>
        <p:txBody>
          <a:bodyPr wrap="none" anchor="ctr"/>
          <a:lstStyle>
            <a:lvl1pPr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algn="l">
              <a:defRPr/>
            </a:pPr>
            <a:endParaRPr lang="ja-JP" altLang="en-US" sz="900"/>
          </a:p>
        </p:txBody>
      </p:sp>
      <p:sp>
        <p:nvSpPr>
          <p:cNvPr id="3075" name="Rectangle 67"/>
          <p:cNvSpPr>
            <a:spLocks noChangeArrowheads="1"/>
          </p:cNvSpPr>
          <p:nvPr userDrawn="1"/>
        </p:nvSpPr>
        <p:spPr bwMode="gray">
          <a:xfrm>
            <a:off x="0" y="0"/>
            <a:ext cx="10404475" cy="360363"/>
          </a:xfrm>
          <a:prstGeom prst="rect">
            <a:avLst/>
          </a:prstGeom>
          <a:solidFill>
            <a:srgbClr val="1A547D"/>
          </a:solidFill>
          <a:ln w="22225" algn="ctr">
            <a:solidFill>
              <a:srgbClr val="1A547D"/>
            </a:solidFill>
            <a:miter lim="800000"/>
            <a:headEnd/>
            <a:tailEnd/>
          </a:ln>
        </p:spPr>
        <p:txBody>
          <a:bodyPr wrap="none" lIns="88898" tIns="44449" rIns="88898" bIns="44449" anchor="ctr"/>
          <a:lstStyle>
            <a:lvl1pPr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algn="l">
              <a:spcAft>
                <a:spcPct val="0"/>
              </a:spcAft>
              <a:buClrTx/>
              <a:buFontTx/>
              <a:buNone/>
              <a:defRPr/>
            </a:pPr>
            <a:endParaRPr lang="ja-JP" altLang="ja-JP" sz="900" b="1" dirty="0">
              <a:solidFill>
                <a:srgbClr val="FFFFFF"/>
              </a:solidFill>
              <a:latin typeface="HGPｺﾞｼｯｸM" panose="020B0600000000000000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076" name="Line 9"/>
          <p:cNvSpPr>
            <a:spLocks noChangeShapeType="1"/>
          </p:cNvSpPr>
          <p:nvPr userDrawn="1"/>
        </p:nvSpPr>
        <p:spPr bwMode="gray">
          <a:xfrm>
            <a:off x="0" y="1447800"/>
            <a:ext cx="97663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eaLnBrk="0" hangingPunct="0">
              <a:defRPr/>
            </a:pPr>
            <a:endParaRPr lang="ja-JP" altLang="en-US"/>
          </a:p>
        </p:txBody>
      </p:sp>
      <p:sp>
        <p:nvSpPr>
          <p:cNvPr id="3077" name="Line 10"/>
          <p:cNvSpPr>
            <a:spLocks noChangeShapeType="1"/>
          </p:cNvSpPr>
          <p:nvPr userDrawn="1"/>
        </p:nvSpPr>
        <p:spPr bwMode="gray">
          <a:xfrm>
            <a:off x="903288" y="0"/>
            <a:ext cx="0" cy="6319838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eaLnBrk="0" hangingPunct="0">
              <a:defRPr/>
            </a:pPr>
            <a:endParaRPr lang="ja-JP" altLang="en-US"/>
          </a:p>
        </p:txBody>
      </p:sp>
      <p:sp>
        <p:nvSpPr>
          <p:cNvPr id="432140" name="Text Box 12"/>
          <p:cNvSpPr txBox="1">
            <a:spLocks noChangeArrowheads="1"/>
          </p:cNvSpPr>
          <p:nvPr userDrawn="1"/>
        </p:nvSpPr>
        <p:spPr bwMode="gray">
          <a:xfrm>
            <a:off x="10150296" y="7088188"/>
            <a:ext cx="18274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algn="r" eaLnBrk="1" hangingPunct="1">
              <a:defRPr/>
            </a:pPr>
            <a:fld id="{A5A77AA5-A4DD-46C2-9F48-7944B45D3E89}" type="slidenum">
              <a:rPr kumimoji="0" lang="en-US" altLang="ja-JP" sz="900" smtClean="0">
                <a:solidFill>
                  <a:schemeClr val="bg1"/>
                </a:solidFill>
                <a:latin typeface="HGPｺﾞｼｯｸM" panose="020B0600000000000000" pitchFamily="50" charset="-128"/>
                <a:ea typeface="Arial Unicode MS" panose="020B0604020202020204" pitchFamily="50" charset="-128"/>
                <a:cs typeface="Arial Unicode MS" panose="020B0604020202020204" pitchFamily="50" charset="-128"/>
              </a:rPr>
              <a:pPr algn="r" eaLnBrk="1" hangingPunct="1">
                <a:defRPr/>
              </a:pPr>
              <a:t>‹#›</a:t>
            </a:fld>
            <a:endParaRPr kumimoji="0" lang="en-US" altLang="ja-JP" sz="900" dirty="0">
              <a:solidFill>
                <a:schemeClr val="bg1"/>
              </a:solidFill>
              <a:latin typeface="HGPｺﾞｼｯｸM" panose="020B0600000000000000" pitchFamily="50" charset="-128"/>
              <a:ea typeface="Arial Unicode MS" panose="020B0604020202020204" pitchFamily="50" charset="-128"/>
              <a:cs typeface="Arial Unicode MS" panose="020B0604020202020204" pitchFamily="50" charset="-128"/>
            </a:endParaRPr>
          </a:p>
        </p:txBody>
      </p:sp>
      <p:sp>
        <p:nvSpPr>
          <p:cNvPr id="8" name="正方形/長方形 7"/>
          <p:cNvSpPr/>
          <p:nvPr userDrawn="1"/>
        </p:nvSpPr>
        <p:spPr bwMode="auto">
          <a:xfrm>
            <a:off x="0" y="6867939"/>
            <a:ext cx="10404475" cy="15354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0141" tIns="40070" rIns="80141" bIns="4007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826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</a:pPr>
            <a:endParaRPr kumimoji="1" lang="ja-JP" altLang="en-US" sz="1400" b="0" i="0" u="none" strike="noStrike" cap="none" normalizeH="0" baseline="0">
              <a:ln>
                <a:noFill/>
              </a:ln>
              <a:solidFill>
                <a:srgbClr val="24246E"/>
              </a:solidFill>
              <a:effectLst/>
              <a:latin typeface="HGPｺﾞｼｯｸM" pitchFamily="50" charset="-128"/>
              <a:ea typeface="HGPｺﾞｼｯｸM" pitchFamily="50" charset="-128"/>
            </a:endParaRPr>
          </a:p>
        </p:txBody>
      </p:sp>
      <p:pic>
        <p:nvPicPr>
          <p:cNvPr id="9" name="Picture 29" descr="MITSUISOKO_GROUP_A-2_en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9112" y="410324"/>
            <a:ext cx="2776567" cy="23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89" r:id="rId2"/>
    <p:sldLayoutId id="2147483688" r:id="rId3"/>
    <p:sldLayoutId id="2147483687" r:id="rId4"/>
    <p:sldLayoutId id="2147483686" r:id="rId5"/>
    <p:sldLayoutId id="2147483685" r:id="rId6"/>
    <p:sldLayoutId id="2147483684" r:id="rId7"/>
    <p:sldLayoutId id="2147483683" r:id="rId8"/>
    <p:sldLayoutId id="2147483682" r:id="rId9"/>
    <p:sldLayoutId id="2147483681" r:id="rId10"/>
    <p:sldLayoutId id="2147483680" r:id="rId11"/>
  </p:sldLayoutIdLst>
  <p:txStyles>
    <p:titleStyle>
      <a:lvl1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+mj-lt"/>
          <a:ea typeface="+mj-ea"/>
          <a:cs typeface="+mj-cs"/>
        </a:defRPr>
      </a:lvl1pPr>
      <a:lvl2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2pPr>
      <a:lvl3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3pPr>
      <a:lvl4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4pPr>
      <a:lvl5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5pPr>
      <a:lvl6pPr marL="457200" algn="l" defTabSz="882650" rtl="0" fontAlgn="base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6pPr>
      <a:lvl7pPr marL="914400" algn="l" defTabSz="882650" rtl="0" fontAlgn="base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7pPr>
      <a:lvl8pPr marL="1371600" algn="l" defTabSz="882650" rtl="0" fontAlgn="base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8pPr>
      <a:lvl9pPr marL="1828800" algn="l" defTabSz="882650" rtl="0" fontAlgn="base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9pPr>
    </p:titleStyle>
    <p:bodyStyle>
      <a:lvl1pPr marL="342900" indent="-342900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Font typeface="Wingdings" pitchFamily="2" charset="2"/>
        <a:buChar char="n"/>
        <a:defRPr kumimoji="1" sz="2000">
          <a:solidFill>
            <a:srgbClr val="24246E"/>
          </a:solidFill>
          <a:latin typeface="+mn-lt"/>
          <a:ea typeface="+mn-ea"/>
          <a:cs typeface="+mn-cs"/>
        </a:defRPr>
      </a:lvl1pPr>
      <a:lvl2pPr marL="344488" indent="-169863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Font typeface="HGPｺﾞｼｯｸM" pitchFamily="50" charset="-128"/>
        <a:buChar char="-"/>
        <a:defRPr kumimoji="1" sz="1700">
          <a:solidFill>
            <a:srgbClr val="24246E"/>
          </a:solidFill>
          <a:latin typeface="+mn-lt"/>
          <a:ea typeface="+mn-ea"/>
        </a:defRPr>
      </a:lvl2pPr>
      <a:lvl3pPr marL="698500" indent="-179388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Font typeface="Wingdings" pitchFamily="2" charset="2"/>
        <a:buChar char="§"/>
        <a:defRPr kumimoji="1" sz="1700">
          <a:solidFill>
            <a:srgbClr val="24246E"/>
          </a:solidFill>
          <a:latin typeface="+mn-lt"/>
          <a:ea typeface="+mn-ea"/>
        </a:defRPr>
      </a:lvl3pPr>
      <a:lvl4pPr marL="1042988" indent="-168275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SzPct val="50000"/>
        <a:buFont typeface="HGPｺﾞｼｯｸM" pitchFamily="50" charset="-128"/>
        <a:buChar char="-"/>
        <a:defRPr kumimoji="1" sz="1700">
          <a:solidFill>
            <a:srgbClr val="24246E"/>
          </a:solidFill>
          <a:latin typeface="+mn-lt"/>
          <a:ea typeface="+mn-ea"/>
        </a:defRPr>
      </a:lvl4pPr>
      <a:lvl5pPr marL="1670050" indent="-220663" algn="l" defTabSz="882650" rtl="0" eaLnBrk="0" fontAlgn="base" hangingPunct="0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5pPr>
      <a:lvl6pPr marL="21272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6pPr>
      <a:lvl7pPr marL="25844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7pPr>
      <a:lvl8pPr marL="30416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8pPr>
      <a:lvl9pPr marL="34988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ChangeArrowheads="1"/>
          </p:cNvSpPr>
          <p:nvPr userDrawn="1"/>
        </p:nvSpPr>
        <p:spPr bwMode="gray">
          <a:xfrm>
            <a:off x="0" y="676275"/>
            <a:ext cx="10404475" cy="6596063"/>
          </a:xfrm>
          <a:prstGeom prst="rect">
            <a:avLst/>
          </a:prstGeom>
          <a:solidFill>
            <a:srgbClr val="1A547D"/>
          </a:solidFill>
          <a:ln>
            <a:noFill/>
          </a:ln>
        </p:spPr>
        <p:txBody>
          <a:bodyPr wrap="none" anchor="ctr"/>
          <a:lstStyle>
            <a:lvl1pPr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algn="l">
              <a:defRPr/>
            </a:pPr>
            <a:endParaRPr lang="ja-JP" altLang="en-US"/>
          </a:p>
        </p:txBody>
      </p:sp>
      <p:sp>
        <p:nvSpPr>
          <p:cNvPr id="4099" name="Rectangle 67"/>
          <p:cNvSpPr>
            <a:spLocks noChangeArrowheads="1"/>
          </p:cNvSpPr>
          <p:nvPr userDrawn="1"/>
        </p:nvSpPr>
        <p:spPr bwMode="gray">
          <a:xfrm>
            <a:off x="0" y="0"/>
            <a:ext cx="10404475" cy="360363"/>
          </a:xfrm>
          <a:prstGeom prst="rect">
            <a:avLst/>
          </a:prstGeom>
          <a:solidFill>
            <a:srgbClr val="1A547D"/>
          </a:solidFill>
          <a:ln w="22225" algn="ctr">
            <a:solidFill>
              <a:srgbClr val="1A547D"/>
            </a:solidFill>
            <a:miter lim="800000"/>
            <a:headEnd/>
            <a:tailEnd/>
          </a:ln>
        </p:spPr>
        <p:txBody>
          <a:bodyPr wrap="none" lIns="88898" tIns="44449" rIns="88898" bIns="44449" anchor="ctr"/>
          <a:lstStyle>
            <a:lvl1pPr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 defTabSz="88900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defTabSz="88900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algn="l">
              <a:spcAft>
                <a:spcPct val="0"/>
              </a:spcAft>
              <a:buClrTx/>
              <a:buFontTx/>
              <a:buNone/>
              <a:defRPr/>
            </a:pPr>
            <a:endParaRPr lang="ja-JP" altLang="ja-JP" sz="900" b="1" dirty="0">
              <a:solidFill>
                <a:srgbClr val="FFFFFF"/>
              </a:solidFill>
              <a:latin typeface="HGPｺﾞｼｯｸM" panose="020B0600000000000000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100" name="Line 9"/>
          <p:cNvSpPr>
            <a:spLocks noChangeShapeType="1"/>
          </p:cNvSpPr>
          <p:nvPr userDrawn="1"/>
        </p:nvSpPr>
        <p:spPr bwMode="gray">
          <a:xfrm>
            <a:off x="0" y="1447800"/>
            <a:ext cx="97663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eaLnBrk="0" hangingPunct="0">
              <a:defRPr/>
            </a:pPr>
            <a:endParaRPr lang="ja-JP" altLang="en-US"/>
          </a:p>
        </p:txBody>
      </p:sp>
      <p:sp>
        <p:nvSpPr>
          <p:cNvPr id="4101" name="Line 10"/>
          <p:cNvSpPr>
            <a:spLocks noChangeShapeType="1"/>
          </p:cNvSpPr>
          <p:nvPr userDrawn="1"/>
        </p:nvSpPr>
        <p:spPr bwMode="gray">
          <a:xfrm>
            <a:off x="903288" y="0"/>
            <a:ext cx="0" cy="6319838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eaLnBrk="0" hangingPunct="0">
              <a:defRPr/>
            </a:pPr>
            <a:endParaRPr lang="ja-JP" altLang="en-US"/>
          </a:p>
        </p:txBody>
      </p:sp>
      <p:sp>
        <p:nvSpPr>
          <p:cNvPr id="432140" name="Text Box 12"/>
          <p:cNvSpPr txBox="1">
            <a:spLocks noChangeArrowheads="1"/>
          </p:cNvSpPr>
          <p:nvPr userDrawn="1"/>
        </p:nvSpPr>
        <p:spPr bwMode="gray">
          <a:xfrm>
            <a:off x="10150296" y="7088188"/>
            <a:ext cx="18274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l" defTabSz="882650" eaLnBrk="0" hangingPunct="0"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algn="r" eaLnBrk="1" hangingPunct="1">
              <a:defRPr/>
            </a:pPr>
            <a:fld id="{EC9B3BB9-A7D9-42F2-A81C-A0DFE5C870BB}" type="slidenum">
              <a:rPr kumimoji="0" lang="en-US" altLang="ja-JP" sz="900" smtClean="0">
                <a:solidFill>
                  <a:schemeClr val="bg1"/>
                </a:solidFill>
                <a:latin typeface="HGPｺﾞｼｯｸM" panose="020B0600000000000000" pitchFamily="50" charset="-128"/>
                <a:ea typeface="Arial Unicode MS" panose="020B0604020202020204" pitchFamily="50" charset="-128"/>
                <a:cs typeface="Arial Unicode MS" panose="020B0604020202020204" pitchFamily="50" charset="-128"/>
              </a:rPr>
              <a:pPr algn="r" eaLnBrk="1" hangingPunct="1">
                <a:defRPr/>
              </a:pPr>
              <a:t>‹#›</a:t>
            </a:fld>
            <a:endParaRPr kumimoji="0" lang="en-US" altLang="ja-JP" sz="900" dirty="0">
              <a:solidFill>
                <a:schemeClr val="bg1"/>
              </a:solidFill>
              <a:latin typeface="HGPｺﾞｼｯｸM" panose="020B0600000000000000" pitchFamily="50" charset="-128"/>
              <a:ea typeface="Arial Unicode MS" panose="020B0604020202020204" pitchFamily="50" charset="-128"/>
              <a:cs typeface="Arial Unicode MS" panose="020B0604020202020204" pitchFamily="50" charset="-128"/>
            </a:endParaRPr>
          </a:p>
        </p:txBody>
      </p:sp>
      <p:pic>
        <p:nvPicPr>
          <p:cNvPr id="9" name="Picture 29" descr="MITSUISOKO_GROUP_A-2_en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9112" y="410324"/>
            <a:ext cx="2776567" cy="23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0" r:id="rId2"/>
    <p:sldLayoutId id="2147483699" r:id="rId3"/>
    <p:sldLayoutId id="2147483698" r:id="rId4"/>
    <p:sldLayoutId id="2147483697" r:id="rId5"/>
    <p:sldLayoutId id="2147483696" r:id="rId6"/>
    <p:sldLayoutId id="2147483695" r:id="rId7"/>
    <p:sldLayoutId id="2147483694" r:id="rId8"/>
    <p:sldLayoutId id="2147483693" r:id="rId9"/>
    <p:sldLayoutId id="2147483692" r:id="rId10"/>
    <p:sldLayoutId id="2147483691" r:id="rId11"/>
  </p:sldLayoutIdLst>
  <p:txStyles>
    <p:titleStyle>
      <a:lvl1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+mj-lt"/>
          <a:ea typeface="+mj-ea"/>
          <a:cs typeface="+mj-cs"/>
        </a:defRPr>
      </a:lvl1pPr>
      <a:lvl2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2pPr>
      <a:lvl3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3pPr>
      <a:lvl4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4pPr>
      <a:lvl5pPr algn="l" defTabSz="882650" rtl="0" eaLnBrk="0" fontAlgn="base" hangingPunct="0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5pPr>
      <a:lvl6pPr marL="457200" algn="l" defTabSz="882650" rtl="0" fontAlgn="base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6pPr>
      <a:lvl7pPr marL="914400" algn="l" defTabSz="882650" rtl="0" fontAlgn="base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7pPr>
      <a:lvl8pPr marL="1371600" algn="l" defTabSz="882650" rtl="0" fontAlgn="base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8pPr>
      <a:lvl9pPr marL="1828800" algn="l" defTabSz="882650" rtl="0" fontAlgn="base">
        <a:spcBef>
          <a:spcPct val="0"/>
        </a:spcBef>
        <a:spcAft>
          <a:spcPct val="30000"/>
        </a:spcAft>
        <a:defRPr kumimoji="1" sz="2300" b="1">
          <a:solidFill>
            <a:srgbClr val="24246E"/>
          </a:solidFill>
          <a:latin typeface="HGPｺﾞｼｯｸM" pitchFamily="50" charset="-128"/>
          <a:ea typeface="ＭＳ Ｐゴシック" pitchFamily="50" charset="-128"/>
        </a:defRPr>
      </a:lvl9pPr>
    </p:titleStyle>
    <p:bodyStyle>
      <a:lvl1pPr marL="342900" indent="-342900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Font typeface="Wingdings" pitchFamily="2" charset="2"/>
        <a:buChar char="n"/>
        <a:defRPr kumimoji="1" sz="2000">
          <a:solidFill>
            <a:srgbClr val="24246E"/>
          </a:solidFill>
          <a:latin typeface="+mn-lt"/>
          <a:ea typeface="+mn-ea"/>
          <a:cs typeface="+mn-cs"/>
        </a:defRPr>
      </a:lvl1pPr>
      <a:lvl2pPr marL="344488" indent="-169863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Font typeface="HGPｺﾞｼｯｸM" pitchFamily="50" charset="-128"/>
        <a:buChar char="-"/>
        <a:defRPr kumimoji="1" sz="1700">
          <a:solidFill>
            <a:srgbClr val="24246E"/>
          </a:solidFill>
          <a:latin typeface="+mn-lt"/>
          <a:ea typeface="+mn-ea"/>
        </a:defRPr>
      </a:lvl2pPr>
      <a:lvl3pPr marL="698500" indent="-179388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Font typeface="Wingdings" pitchFamily="2" charset="2"/>
        <a:buChar char="§"/>
        <a:defRPr kumimoji="1" sz="1700">
          <a:solidFill>
            <a:srgbClr val="24246E"/>
          </a:solidFill>
          <a:latin typeface="+mn-lt"/>
          <a:ea typeface="+mn-ea"/>
        </a:defRPr>
      </a:lvl3pPr>
      <a:lvl4pPr marL="1042988" indent="-168275" algn="l" defTabSz="882650" rtl="0" eaLnBrk="0" fontAlgn="base" hangingPunct="0">
        <a:spcBef>
          <a:spcPct val="0"/>
        </a:spcBef>
        <a:spcAft>
          <a:spcPct val="30000"/>
        </a:spcAft>
        <a:buClr>
          <a:srgbClr val="DDDDDD"/>
        </a:buClr>
        <a:buSzPct val="50000"/>
        <a:buFont typeface="HGPｺﾞｼｯｸM" pitchFamily="50" charset="-128"/>
        <a:buChar char="-"/>
        <a:defRPr kumimoji="1" sz="1700">
          <a:solidFill>
            <a:srgbClr val="24246E"/>
          </a:solidFill>
          <a:latin typeface="+mn-lt"/>
          <a:ea typeface="+mn-ea"/>
        </a:defRPr>
      </a:lvl4pPr>
      <a:lvl5pPr marL="1670050" indent="-220663" algn="l" defTabSz="882650" rtl="0" eaLnBrk="0" fontAlgn="base" hangingPunct="0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5pPr>
      <a:lvl6pPr marL="21272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6pPr>
      <a:lvl7pPr marL="25844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7pPr>
      <a:lvl8pPr marL="30416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8pPr>
      <a:lvl9pPr marL="3498850" indent="-220663" algn="l" defTabSz="882650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300">
          <a:solidFill>
            <a:schemeClr val="tx1"/>
          </a:solidFill>
          <a:latin typeface="メイリオ" pitchFamily="50" charset="-128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3"/>
          <p:cNvSpPr>
            <a:spLocks noChangeArrowheads="1"/>
          </p:cNvSpPr>
          <p:nvPr userDrawn="1"/>
        </p:nvSpPr>
        <p:spPr bwMode="auto">
          <a:xfrm>
            <a:off x="48029" y="44417"/>
            <a:ext cx="542238" cy="7193316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pPr marL="0" marR="0" lvl="0" indent="0" algn="ctr" defTabSz="8794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endParaRPr kumimoji="1" lang="ja-JP" altLang="en-US" sz="1731" b="0" i="0" u="none" strike="noStrike" kern="1200" cap="none" spc="0" normalizeH="0" baseline="0" noProof="0">
              <a:ln>
                <a:noFill/>
              </a:ln>
              <a:solidFill>
                <a:srgbClr val="24246E"/>
              </a:solidFill>
              <a:effectLst/>
              <a:uLnTx/>
              <a:uFillTx/>
              <a:latin typeface="HG丸ｺﾞｼｯｸM-PRO" pitchFamily="50" charset="-128"/>
              <a:ea typeface="HG丸ｺﾞｼｯｸM-PRO" pitchFamily="50" charset="-128"/>
              <a:cs typeface="+mn-cs"/>
            </a:endParaRPr>
          </a:p>
        </p:txBody>
      </p:sp>
      <p:sp>
        <p:nvSpPr>
          <p:cNvPr id="473090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3709" y="106465"/>
            <a:ext cx="9810194" cy="81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/>
              <a:t>Click to add title</a:t>
            </a:r>
            <a:endParaRPr lang="en-US" altLang="ja-JP" dirty="0"/>
          </a:p>
        </p:txBody>
      </p:sp>
      <p:sp>
        <p:nvSpPr>
          <p:cNvPr id="47309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3709" y="954275"/>
            <a:ext cx="9810194" cy="5922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43628" rIns="87258" bIns="4362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</p:txBody>
      </p:sp>
      <p:sp>
        <p:nvSpPr>
          <p:cNvPr id="2056" name="Line 6"/>
          <p:cNvSpPr>
            <a:spLocks noChangeShapeType="1"/>
          </p:cNvSpPr>
          <p:nvPr userDrawn="1"/>
        </p:nvSpPr>
        <p:spPr bwMode="auto">
          <a:xfrm>
            <a:off x="261077" y="954275"/>
            <a:ext cx="10143397" cy="0"/>
          </a:xfrm>
          <a:prstGeom prst="line">
            <a:avLst/>
          </a:prstGeom>
          <a:noFill/>
          <a:ln w="22225">
            <a:solidFill>
              <a:srgbClr val="DDDDDD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8794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731" b="0" i="0" u="none" strike="noStrike" kern="1200" cap="none" spc="0" normalizeH="0" baseline="0" noProof="0">
              <a:ln>
                <a:noFill/>
              </a:ln>
              <a:solidFill>
                <a:srgbClr val="24246E"/>
              </a:solidFill>
              <a:effectLst/>
              <a:uLnTx/>
              <a:uFillTx/>
              <a:latin typeface="HG丸ｺﾞｼｯｸM-PRO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grpSp>
        <p:nvGrpSpPr>
          <p:cNvPr id="473098" name="グループ化 3"/>
          <p:cNvGrpSpPr>
            <a:grpSpLocks/>
          </p:cNvGrpSpPr>
          <p:nvPr/>
        </p:nvGrpSpPr>
        <p:grpSpPr bwMode="auto">
          <a:xfrm>
            <a:off x="8997644" y="85793"/>
            <a:ext cx="1266692" cy="818159"/>
            <a:chOff x="9082870" y="98440"/>
            <a:chExt cx="1302040" cy="850654"/>
          </a:xfrm>
        </p:grpSpPr>
        <p:pic>
          <p:nvPicPr>
            <p:cNvPr id="473099" name="Picture 15" descr="ロゴ"/>
            <p:cNvPicPr>
              <a:picLocks noChangeAspect="1" noChangeArrowheads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4355" b="15141"/>
            <a:stretch>
              <a:fillRect/>
            </a:stretch>
          </p:blipFill>
          <p:spPr bwMode="auto">
            <a:xfrm>
              <a:off x="9206247" y="140014"/>
              <a:ext cx="1015078" cy="8006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60" name="テキスト ボックス 1"/>
            <p:cNvSpPr txBox="1">
              <a:spLocks noChangeArrowheads="1"/>
            </p:cNvSpPr>
            <p:nvPr userDrawn="1"/>
          </p:nvSpPr>
          <p:spPr bwMode="auto">
            <a:xfrm>
              <a:off x="9252508" y="795109"/>
              <a:ext cx="894014" cy="1539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/>
            <a:lstStyle>
              <a:lvl1pPr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9pPr>
            </a:lstStyle>
            <a:p>
              <a:pPr marL="0" marR="0" lvl="0" indent="0" algn="ctr" defTabSz="87947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1" lang="ja-JP" altLang="en-US" sz="769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三井倉庫グループ</a:t>
              </a:r>
            </a:p>
          </p:txBody>
        </p:sp>
        <p:sp>
          <p:nvSpPr>
            <p:cNvPr id="2061" name="テキスト ボックス 11"/>
            <p:cNvSpPr txBox="1">
              <a:spLocks noChangeArrowheads="1"/>
            </p:cNvSpPr>
            <p:nvPr userDrawn="1"/>
          </p:nvSpPr>
          <p:spPr bwMode="auto">
            <a:xfrm>
              <a:off x="9082870" y="98440"/>
              <a:ext cx="1302040" cy="2190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9pPr>
            </a:lstStyle>
            <a:p>
              <a:pPr marL="0" marR="0" lvl="0" indent="0" algn="ctr" defTabSz="87947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1" lang="ja-JP" altLang="en-US" sz="769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モノを動かす。心で動かす。</a:t>
              </a:r>
            </a:p>
          </p:txBody>
        </p:sp>
      </p:grpSp>
      <p:sp>
        <p:nvSpPr>
          <p:cNvPr id="15" name="Text Box 11"/>
          <p:cNvSpPr txBox="1">
            <a:spLocks noChangeArrowheads="1"/>
          </p:cNvSpPr>
          <p:nvPr userDrawn="1"/>
        </p:nvSpPr>
        <p:spPr bwMode="auto">
          <a:xfrm rot="16200000">
            <a:off x="-526715" y="6337999"/>
            <a:ext cx="1465766" cy="22245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43497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87312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30810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174625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2034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6606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1178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5750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marL="0" marR="0" lvl="0" indent="0" algn="l" defTabSz="9145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4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HGS創英角ｺﾞｼｯｸUB" pitchFamily="50" charset="-128"/>
                <a:cs typeface="+mn-cs"/>
              </a:rPr>
              <a:t>物流から価値を。</a:t>
            </a:r>
          </a:p>
        </p:txBody>
      </p:sp>
      <p:sp>
        <p:nvSpPr>
          <p:cNvPr id="16" name="Slide Number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9857574" y="7122734"/>
            <a:ext cx="185948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492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17B41A-92A9-4549-941B-87B9EB44283C}" type="slidenum">
              <a:rPr kumimoji="0" lang="en-US" altLang="ja-JP" sz="866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pPr marL="0" marR="0" lvl="0" indent="0" algn="l" defTabSz="9492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86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7" name="Slide Number Line"/>
          <p:cNvSpPr>
            <a:spLocks noChangeShapeType="1"/>
          </p:cNvSpPr>
          <p:nvPr userDrawn="1">
            <p:custDataLst>
              <p:tags r:id="rId9"/>
            </p:custDataLst>
          </p:nvPr>
        </p:nvSpPr>
        <p:spPr bwMode="auto">
          <a:xfrm>
            <a:off x="9735854" y="7141033"/>
            <a:ext cx="0" cy="13130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4921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349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8" name="Text Box 20"/>
          <p:cNvSpPr txBox="1">
            <a:spLocks noChangeArrowheads="1"/>
          </p:cNvSpPr>
          <p:nvPr userDrawn="1"/>
        </p:nvSpPr>
        <p:spPr bwMode="gray">
          <a:xfrm>
            <a:off x="546698" y="7101554"/>
            <a:ext cx="2326467" cy="133242"/>
          </a:xfrm>
          <a:prstGeom prst="rect">
            <a:avLst/>
          </a:prstGeom>
          <a:noFill/>
          <a:ln>
            <a:noFill/>
          </a:ln>
        </p:spPr>
        <p:txBody>
          <a:bodyPr wrap="none" lIns="79118" tIns="0" rIns="88074" bIns="0">
            <a:spAutoFit/>
          </a:bodyPr>
          <a:lstStyle>
            <a:lvl1pPr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  <a:lvl2pPr marL="742950" indent="-28575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2pPr>
            <a:lvl3pPr marL="1143000" indent="-22860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3pPr>
            <a:lvl4pPr marL="1600200" indent="-22860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4pPr>
            <a:lvl5pPr marL="2057400" indent="-228600" algn="r" defTabSz="882650"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5pPr>
            <a:lvl6pPr marL="25146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6pPr>
            <a:lvl7pPr marL="29718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7pPr>
            <a:lvl8pPr marL="34290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8pPr>
            <a:lvl9pPr marL="3886200" indent="-228600" algn="r" defTabSz="882650" eaLnBrk="0" fontAlgn="base" hangingPunct="0">
              <a:spcBef>
                <a:spcPct val="0"/>
              </a:spcBef>
              <a:spcAft>
                <a:spcPct val="10000"/>
              </a:spcAft>
              <a:buClr>
                <a:srgbClr val="DDDDDD"/>
              </a:buClr>
              <a:buFont typeface="Wingdings" panose="05000000000000000000" pitchFamily="2" charset="2"/>
              <a:defRPr kumimoji="1" sz="1400">
                <a:solidFill>
                  <a:srgbClr val="24246E"/>
                </a:solidFill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9pPr>
          </a:lstStyle>
          <a:p>
            <a:pPr marL="0" marR="0" lvl="0" indent="0" algn="l" defTabSz="91625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DDDDDD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ja-JP" sz="866" b="0" i="0" u="none" strike="noStrike" kern="1200" cap="none" spc="0" normalizeH="0" baseline="0" noProof="0" dirty="0">
                <a:ln>
                  <a:noFill/>
                </a:ln>
                <a:solidFill>
                  <a:srgbClr val="24246E"/>
                </a:solidFill>
                <a:effectLst/>
                <a:uLnTx/>
                <a:uFillTx/>
                <a:latin typeface="Arial" pitchFamily="34" charset="0"/>
                <a:ea typeface="Arial Unicode MS" panose="020B0604020202020204" pitchFamily="50" charset="-128"/>
                <a:cs typeface="Arial" pitchFamily="34" charset="0"/>
              </a:rPr>
              <a:t>Ⓒ MITSUI-SOKO EXPRESS Co., Ltd. 2022</a:t>
            </a:r>
          </a:p>
        </p:txBody>
      </p:sp>
    </p:spTree>
    <p:extLst>
      <p:ext uri="{BB962C8B-B14F-4D97-AF65-F5344CB8AC3E}">
        <p14:creationId xmlns:p14="http://schemas.microsoft.com/office/powerpoint/2010/main" val="1732340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</p:sldLayoutIdLst>
  <p:hf hdr="0" dt="0"/>
  <p:txStyles>
    <p:titleStyle>
      <a:lvl1pPr algn="l" defTabSz="873362" rtl="0" eaLnBrk="0" fontAlgn="base" hangingPunct="0">
        <a:spcBef>
          <a:spcPct val="0"/>
        </a:spcBef>
        <a:spcAft>
          <a:spcPct val="30000"/>
        </a:spcAft>
        <a:defRPr kumimoji="1" sz="2501" b="1">
          <a:solidFill>
            <a:srgbClr val="000000"/>
          </a:solidFill>
          <a:latin typeface="Meiryo UI" panose="020B0604030504040204" pitchFamily="50" charset="-128"/>
          <a:ea typeface="Meiryo UI" panose="020B0604030504040204" pitchFamily="50" charset="-128"/>
          <a:cs typeface="+mj-cs"/>
        </a:defRPr>
      </a:lvl1pPr>
      <a:lvl2pPr algn="l" defTabSz="873362" rtl="0" eaLnBrk="0" fontAlgn="base" hangingPunct="0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2pPr>
      <a:lvl3pPr algn="l" defTabSz="873362" rtl="0" eaLnBrk="0" fontAlgn="base" hangingPunct="0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3pPr>
      <a:lvl4pPr algn="l" defTabSz="873362" rtl="0" eaLnBrk="0" fontAlgn="base" hangingPunct="0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4pPr>
      <a:lvl5pPr algn="l" defTabSz="873362" rtl="0" eaLnBrk="0" fontAlgn="base" hangingPunct="0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5pPr>
      <a:lvl6pPr marL="439735" algn="l" defTabSz="873362" rtl="0" fontAlgn="base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6pPr>
      <a:lvl7pPr marL="879470" algn="l" defTabSz="873362" rtl="0" fontAlgn="base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7pPr>
      <a:lvl8pPr marL="1319205" algn="l" defTabSz="873362" rtl="0" fontAlgn="base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8pPr>
      <a:lvl9pPr marL="1758940" algn="l" defTabSz="873362" rtl="0" fontAlgn="base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9pPr>
    </p:titleStyle>
    <p:bodyStyle>
      <a:lvl1pPr marL="329801" indent="-329801" algn="l" defTabSz="873362" rtl="0" eaLnBrk="0" fontAlgn="base" hangingPunct="0">
        <a:spcBef>
          <a:spcPct val="0"/>
        </a:spcBef>
        <a:spcAft>
          <a:spcPct val="30000"/>
        </a:spcAft>
        <a:buClr>
          <a:srgbClr val="24246E"/>
        </a:buClr>
        <a:buFont typeface="Wingdings" pitchFamily="2" charset="2"/>
        <a:buChar char="n"/>
        <a:defRPr kumimoji="1" sz="1924">
          <a:solidFill>
            <a:srgbClr val="000000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1pPr>
      <a:lvl2pPr marL="280942" indent="-279415" algn="l" defTabSz="873362" rtl="0" eaLnBrk="0" fontAlgn="base" hangingPunct="0">
        <a:spcBef>
          <a:spcPct val="0"/>
        </a:spcBef>
        <a:spcAft>
          <a:spcPct val="30000"/>
        </a:spcAft>
        <a:buClr>
          <a:srgbClr val="24246E"/>
        </a:buClr>
        <a:buFont typeface="Wingdings" pitchFamily="2" charset="2"/>
        <a:buChar char="n"/>
        <a:defRPr kumimoji="1" sz="1539">
          <a:solidFill>
            <a:srgbClr val="000000"/>
          </a:solidFill>
          <a:latin typeface="Meiryo UI" panose="020B0604030504040204" pitchFamily="50" charset="-128"/>
          <a:ea typeface="Meiryo UI" panose="020B0604030504040204" pitchFamily="50" charset="-128"/>
        </a:defRPr>
      </a:lvl2pPr>
      <a:lvl3pPr marL="551196" indent="-268727" algn="l" defTabSz="873362" rtl="0" eaLnBrk="0" fontAlgn="base" hangingPunct="0">
        <a:spcBef>
          <a:spcPct val="0"/>
        </a:spcBef>
        <a:spcAft>
          <a:spcPct val="30000"/>
        </a:spcAft>
        <a:buClr>
          <a:srgbClr val="24246E"/>
        </a:buClr>
        <a:buFont typeface="Wingdings" pitchFamily="2" charset="2"/>
        <a:buChar char="p"/>
        <a:defRPr kumimoji="1" sz="1539">
          <a:solidFill>
            <a:srgbClr val="000000"/>
          </a:solidFill>
          <a:latin typeface="Meiryo UI" panose="020B0604030504040204" pitchFamily="50" charset="-128"/>
          <a:ea typeface="Meiryo UI" panose="020B0604030504040204" pitchFamily="50" charset="-128"/>
        </a:defRPr>
      </a:lvl3pPr>
      <a:lvl4pPr marL="832138" indent="-277888" algn="l" defTabSz="873362" rtl="0" eaLnBrk="0" fontAlgn="base" hangingPunct="0">
        <a:spcBef>
          <a:spcPct val="0"/>
        </a:spcBef>
        <a:spcAft>
          <a:spcPct val="30000"/>
        </a:spcAft>
        <a:buClr>
          <a:srgbClr val="24246E"/>
        </a:buClr>
        <a:buChar char="•"/>
        <a:defRPr kumimoji="1" sz="1347">
          <a:solidFill>
            <a:srgbClr val="000000"/>
          </a:solidFill>
          <a:latin typeface="Meiryo UI" panose="020B0604030504040204" pitchFamily="50" charset="-128"/>
          <a:ea typeface="Meiryo UI" panose="020B0604030504040204" pitchFamily="50" charset="-128"/>
        </a:defRPr>
      </a:lvl4pPr>
      <a:lvl5pPr marL="1963539" indent="-218341" algn="l" defTabSz="873362" rtl="0" eaLnBrk="0" fontAlgn="base" hangingPunct="0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250">
          <a:solidFill>
            <a:schemeClr val="tx1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5pPr>
      <a:lvl6pPr marL="2403274" indent="-218341" algn="l" defTabSz="873362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250">
          <a:solidFill>
            <a:schemeClr val="tx1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6pPr>
      <a:lvl7pPr marL="2843009" indent="-218341" algn="l" defTabSz="873362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250">
          <a:solidFill>
            <a:schemeClr val="tx1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7pPr>
      <a:lvl8pPr marL="3282744" indent="-218341" algn="l" defTabSz="873362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250">
          <a:solidFill>
            <a:schemeClr val="tx1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8pPr>
      <a:lvl9pPr marL="3722479" indent="-218341" algn="l" defTabSz="873362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250">
          <a:solidFill>
            <a:schemeClr val="tx1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9pPr>
    </p:bodyStyle>
    <p:otherStyle>
      <a:defPPr>
        <a:defRPr lang="ja-JP"/>
      </a:defPPr>
      <a:lvl1pPr marL="0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1pPr>
      <a:lvl2pPr marL="439735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2pPr>
      <a:lvl3pPr marL="879470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3pPr>
      <a:lvl4pPr marL="1319205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4pPr>
      <a:lvl5pPr marL="1758940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5pPr>
      <a:lvl6pPr marL="2198675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6pPr>
      <a:lvl7pPr marL="2638410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7pPr>
      <a:lvl8pPr marL="3078145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8pPr>
      <a:lvl9pPr marL="3517880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64280" y="141997"/>
            <a:ext cx="9590346" cy="81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Click to add title</a:t>
            </a:r>
            <a:endParaRPr lang="en-US" altLang="ja-JP"/>
          </a:p>
        </p:txBody>
      </p:sp>
      <p:sp>
        <p:nvSpPr>
          <p:cNvPr id="2051" name="Rectangle 2"/>
          <p:cNvSpPr>
            <a:spLocks noChangeArrowheads="1"/>
          </p:cNvSpPr>
          <p:nvPr/>
        </p:nvSpPr>
        <p:spPr bwMode="auto">
          <a:xfrm>
            <a:off x="123587" y="137416"/>
            <a:ext cx="542238" cy="6994453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 eaLnBrk="0" hangingPunct="0"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defRPr kumimoji="1">
                <a:solidFill>
                  <a:schemeClr val="tx2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None/>
              <a:defRPr/>
            </a:pPr>
            <a:endParaRPr lang="ja-JP" altLang="en-US" sz="1347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64280" y="954275"/>
            <a:ext cx="9590346" cy="5922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43628" rIns="87258" bIns="4362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22733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020588" y="6942541"/>
            <a:ext cx="234038" cy="1776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kumimoji="0" sz="1154">
                <a:solidFill>
                  <a:srgbClr val="24246E"/>
                </a:solidFill>
              </a:defRPr>
            </a:lvl1pPr>
          </a:lstStyle>
          <a:p>
            <a:fld id="{257A113F-1353-4E03-AC45-D564F30BC442}" type="slidenum">
              <a:rPr lang="en-US" altLang="ja-JP"/>
              <a:pPr/>
              <a:t>‹#›</a:t>
            </a:fld>
            <a:endParaRPr lang="en-US" altLang="ja-JP"/>
          </a:p>
        </p:txBody>
      </p:sp>
      <p:sp>
        <p:nvSpPr>
          <p:cNvPr id="227335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65826" y="6986819"/>
            <a:ext cx="1892424" cy="1332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8394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sz="866">
                <a:solidFill>
                  <a:srgbClr val="24246E"/>
                </a:solidFill>
                <a:latin typeface="Arial" charset="0"/>
              </a:defRPr>
            </a:lvl1pPr>
          </a:lstStyle>
          <a:p>
            <a:r>
              <a:rPr lang="en-US" altLang="ja-JP" dirty="0"/>
              <a:t>ⒸMitsui </a:t>
            </a:r>
            <a:r>
              <a:rPr lang="en-US" altLang="ja-JP" dirty="0" err="1"/>
              <a:t>Soko</a:t>
            </a:r>
            <a:r>
              <a:rPr lang="en-US" altLang="ja-JP" dirty="0"/>
              <a:t> Co., Ltd. 2013</a:t>
            </a:r>
          </a:p>
        </p:txBody>
      </p:sp>
      <p:sp>
        <p:nvSpPr>
          <p:cNvPr id="227339" name="Text Box 11"/>
          <p:cNvSpPr txBox="1">
            <a:spLocks noChangeArrowheads="1"/>
          </p:cNvSpPr>
          <p:nvPr/>
        </p:nvSpPr>
        <p:spPr bwMode="auto">
          <a:xfrm rot="16200000">
            <a:off x="-454812" y="6186986"/>
            <a:ext cx="1465766" cy="22245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43497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873125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30810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1746250" algn="l" defTabSz="9509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2034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6606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1178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575050" defTabSz="9509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>
              <a:defRPr/>
            </a:pPr>
            <a:r>
              <a:rPr kumimoji="0" lang="ja-JP" altLang="en-US" sz="1443" dirty="0">
                <a:solidFill>
                  <a:schemeClr val="bg1"/>
                </a:solidFill>
                <a:ea typeface="HGS創英角ｺﾞｼｯｸUB" pitchFamily="50" charset="-128"/>
              </a:rPr>
              <a:t>物流から価値を。</a:t>
            </a:r>
          </a:p>
        </p:txBody>
      </p:sp>
      <p:sp>
        <p:nvSpPr>
          <p:cNvPr id="2056" name="Line 6"/>
          <p:cNvSpPr>
            <a:spLocks noChangeShapeType="1"/>
          </p:cNvSpPr>
          <p:nvPr/>
        </p:nvSpPr>
        <p:spPr bwMode="auto">
          <a:xfrm>
            <a:off x="261078" y="954275"/>
            <a:ext cx="10021355" cy="0"/>
          </a:xfrm>
          <a:prstGeom prst="line">
            <a:avLst/>
          </a:prstGeom>
          <a:noFill/>
          <a:ln w="22225">
            <a:solidFill>
              <a:srgbClr val="DDDDDD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None/>
              <a:defRPr/>
            </a:pPr>
            <a:endParaRPr lang="ja-JP" altLang="en-US" sz="1347"/>
          </a:p>
        </p:txBody>
      </p:sp>
      <p:sp>
        <p:nvSpPr>
          <p:cNvPr id="227348" name="Text Box 20"/>
          <p:cNvSpPr txBox="1">
            <a:spLocks noChangeArrowheads="1"/>
          </p:cNvSpPr>
          <p:nvPr/>
        </p:nvSpPr>
        <p:spPr bwMode="auto">
          <a:xfrm>
            <a:off x="715867" y="198839"/>
            <a:ext cx="307751" cy="20730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76174" tIns="0" rIns="0" bIns="0" anchor="b" anchorCtr="1">
            <a:spAutoFit/>
          </a:bodyPr>
          <a:lstStyle>
            <a:lvl1pPr algn="l" defTabSz="9890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algn="l" defTabSz="9890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algn="l" defTabSz="9890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algn="l" defTabSz="9890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algn="l" defTabSz="989013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defTabSz="9890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defTabSz="9890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defTabSz="9890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defTabSz="98901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algn="ctr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None/>
              <a:defRPr/>
            </a:pPr>
            <a:r>
              <a:rPr lang="en-US" altLang="ja-JP" sz="1347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rPr>
              <a:t>    </a:t>
            </a:r>
          </a:p>
        </p:txBody>
      </p:sp>
      <p:grpSp>
        <p:nvGrpSpPr>
          <p:cNvPr id="13322" name="グループ化 3"/>
          <p:cNvGrpSpPr>
            <a:grpSpLocks/>
          </p:cNvGrpSpPr>
          <p:nvPr/>
        </p:nvGrpSpPr>
        <p:grpSpPr bwMode="auto">
          <a:xfrm>
            <a:off x="8823429" y="83977"/>
            <a:ext cx="1476686" cy="810751"/>
            <a:chOff x="9033134" y="87316"/>
            <a:chExt cx="1517894" cy="842952"/>
          </a:xfrm>
        </p:grpSpPr>
        <p:pic>
          <p:nvPicPr>
            <p:cNvPr id="13323" name="Picture 15" descr="ロゴ"/>
            <p:cNvPicPr>
              <a:picLocks noChangeAspect="1" noChangeArrowheads="1"/>
            </p:cNvPicPr>
            <p:nvPr userDrawn="1"/>
          </p:nvPicPr>
          <p:blipFill>
            <a:blip r:embed="rId13"/>
            <a:srcRect r="14355" b="15141"/>
            <a:stretch>
              <a:fillRect/>
            </a:stretch>
          </p:blipFill>
          <p:spPr bwMode="auto">
            <a:xfrm>
              <a:off x="9247083" y="115226"/>
              <a:ext cx="1015078" cy="8006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60" name="テキスト ボックス 1"/>
            <p:cNvSpPr txBox="1">
              <a:spLocks noChangeArrowheads="1"/>
            </p:cNvSpPr>
            <p:nvPr userDrawn="1"/>
          </p:nvSpPr>
          <p:spPr bwMode="auto">
            <a:xfrm>
              <a:off x="9321256" y="776283"/>
              <a:ext cx="894014" cy="1539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/>
            <a:lstStyle>
              <a:lvl1pPr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None/>
                <a:defRPr/>
              </a:pPr>
              <a:r>
                <a:rPr lang="ja-JP" altLang="en-US" sz="769" b="1">
                  <a:solidFill>
                    <a:srgbClr val="000000"/>
                  </a:solidFill>
                  <a:latin typeface="HGPｺﾞｼｯｸM" pitchFamily="50" charset="-128"/>
                  <a:ea typeface="平成角ゴシック" pitchFamily="49" charset="-128"/>
                </a:rPr>
                <a:t>三井倉庫グループ</a:t>
              </a:r>
            </a:p>
          </p:txBody>
        </p:sp>
        <p:sp>
          <p:nvSpPr>
            <p:cNvPr id="2061" name="テキスト ボックス 11"/>
            <p:cNvSpPr txBox="1">
              <a:spLocks noChangeArrowheads="1"/>
            </p:cNvSpPr>
            <p:nvPr userDrawn="1"/>
          </p:nvSpPr>
          <p:spPr bwMode="auto">
            <a:xfrm>
              <a:off x="9033134" y="87316"/>
              <a:ext cx="1517894" cy="2190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 eaLnBrk="0" hangingPunct="0"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defRPr kumimoji="1">
                  <a:solidFill>
                    <a:schemeClr val="tx2"/>
                  </a:solidFill>
                  <a:latin typeface="HG丸ｺﾞｼｯｸM-PRO" pitchFamily="50" charset="-128"/>
                  <a:ea typeface="HG丸ｺﾞｼｯｸM-PRO" pitchFamily="50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None/>
                <a:defRPr/>
              </a:pPr>
              <a:r>
                <a:rPr lang="ja-JP" altLang="en-US" sz="769" b="1">
                  <a:solidFill>
                    <a:srgbClr val="000000"/>
                  </a:solidFill>
                  <a:latin typeface="HGPｺﾞｼｯｸM" pitchFamily="50" charset="-128"/>
                  <a:ea typeface="平成角ゴシック" pitchFamily="49" charset="-128"/>
                </a:rPr>
                <a:t>モノを動かす。心で動かす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1320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hf hdr="0" dt="0"/>
  <p:txStyles>
    <p:titleStyle>
      <a:lvl1pPr algn="l" defTabSz="873362" rtl="0" eaLnBrk="0" fontAlgn="base" hangingPunct="0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+mj-lt"/>
          <a:ea typeface="+mj-ea"/>
          <a:cs typeface="+mj-cs"/>
        </a:defRPr>
      </a:lvl1pPr>
      <a:lvl2pPr algn="l" defTabSz="873362" rtl="0" eaLnBrk="0" fontAlgn="base" hangingPunct="0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2pPr>
      <a:lvl3pPr algn="l" defTabSz="873362" rtl="0" eaLnBrk="0" fontAlgn="base" hangingPunct="0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3pPr>
      <a:lvl4pPr algn="l" defTabSz="873362" rtl="0" eaLnBrk="0" fontAlgn="base" hangingPunct="0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4pPr>
      <a:lvl5pPr algn="l" defTabSz="873362" rtl="0" eaLnBrk="0" fontAlgn="base" hangingPunct="0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5pPr>
      <a:lvl6pPr marL="439735" algn="l" defTabSz="873362" rtl="0" fontAlgn="base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6pPr>
      <a:lvl7pPr marL="879470" algn="l" defTabSz="873362" rtl="0" fontAlgn="base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7pPr>
      <a:lvl8pPr marL="1319205" algn="l" defTabSz="873362" rtl="0" fontAlgn="base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8pPr>
      <a:lvl9pPr marL="1758940" algn="l" defTabSz="873362" rtl="0" fontAlgn="base">
        <a:spcBef>
          <a:spcPct val="0"/>
        </a:spcBef>
        <a:spcAft>
          <a:spcPct val="30000"/>
        </a:spcAft>
        <a:defRPr kumimoji="1" sz="2212" b="1">
          <a:solidFill>
            <a:srgbClr val="24246E"/>
          </a:solidFill>
          <a:latin typeface="HG丸ｺﾞｼｯｸM-PRO" pitchFamily="50" charset="-128"/>
          <a:ea typeface="HG丸ｺﾞｼｯｸM-PRO" pitchFamily="50" charset="-128"/>
        </a:defRPr>
      </a:lvl9pPr>
    </p:titleStyle>
    <p:bodyStyle>
      <a:lvl1pPr marL="329801" indent="-329801" algn="l" defTabSz="873362" rtl="0" eaLnBrk="0" fontAlgn="base" hangingPunct="0">
        <a:spcBef>
          <a:spcPct val="0"/>
        </a:spcBef>
        <a:spcAft>
          <a:spcPct val="30000"/>
        </a:spcAft>
        <a:buClr>
          <a:srgbClr val="24246E"/>
        </a:buClr>
        <a:buFont typeface="Wingdings" pitchFamily="2" charset="2"/>
        <a:buChar char="n"/>
        <a:defRPr kumimoji="1">
          <a:solidFill>
            <a:srgbClr val="24246E"/>
          </a:solidFill>
          <a:latin typeface="+mn-lt"/>
          <a:ea typeface="+mn-ea"/>
          <a:cs typeface="+mn-cs"/>
        </a:defRPr>
      </a:lvl1pPr>
      <a:lvl2pPr marL="280942" indent="-279415" algn="l" defTabSz="873362" rtl="0" eaLnBrk="0" fontAlgn="base" hangingPunct="0">
        <a:spcBef>
          <a:spcPct val="0"/>
        </a:spcBef>
        <a:spcAft>
          <a:spcPct val="30000"/>
        </a:spcAft>
        <a:buClr>
          <a:srgbClr val="24246E"/>
        </a:buClr>
        <a:buFont typeface="Wingdings" pitchFamily="2" charset="2"/>
        <a:buChar char="n"/>
        <a:defRPr kumimoji="1" sz="1443">
          <a:solidFill>
            <a:srgbClr val="24246E"/>
          </a:solidFill>
          <a:latin typeface="+mn-lt"/>
          <a:ea typeface="+mn-ea"/>
        </a:defRPr>
      </a:lvl2pPr>
      <a:lvl3pPr marL="551196" indent="-268727" algn="l" defTabSz="873362" rtl="0" eaLnBrk="0" fontAlgn="base" hangingPunct="0">
        <a:spcBef>
          <a:spcPct val="0"/>
        </a:spcBef>
        <a:spcAft>
          <a:spcPct val="30000"/>
        </a:spcAft>
        <a:buClr>
          <a:srgbClr val="24246E"/>
        </a:buClr>
        <a:buFont typeface="Wingdings" pitchFamily="2" charset="2"/>
        <a:buChar char="p"/>
        <a:defRPr kumimoji="1" sz="1443">
          <a:solidFill>
            <a:srgbClr val="24246E"/>
          </a:solidFill>
          <a:latin typeface="+mn-lt"/>
          <a:ea typeface="+mn-ea"/>
        </a:defRPr>
      </a:lvl3pPr>
      <a:lvl4pPr marL="832138" indent="-277888" algn="l" defTabSz="873362" rtl="0" eaLnBrk="0" fontAlgn="base" hangingPunct="0">
        <a:spcBef>
          <a:spcPct val="0"/>
        </a:spcBef>
        <a:spcAft>
          <a:spcPct val="30000"/>
        </a:spcAft>
        <a:buClr>
          <a:srgbClr val="24246E"/>
        </a:buClr>
        <a:buChar char="•"/>
        <a:defRPr kumimoji="1" sz="1250">
          <a:solidFill>
            <a:srgbClr val="24246E"/>
          </a:solidFill>
          <a:latin typeface="+mn-lt"/>
          <a:ea typeface="+mn-ea"/>
        </a:defRPr>
      </a:lvl4pPr>
      <a:lvl5pPr marL="1963539" indent="-218341" algn="l" defTabSz="873362" rtl="0" eaLnBrk="0" fontAlgn="base" hangingPunct="0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250">
          <a:solidFill>
            <a:schemeClr val="tx1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5pPr>
      <a:lvl6pPr marL="2403274" indent="-218341" algn="l" defTabSz="873362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250">
          <a:solidFill>
            <a:schemeClr val="tx1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6pPr>
      <a:lvl7pPr marL="2843009" indent="-218341" algn="l" defTabSz="873362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250">
          <a:solidFill>
            <a:schemeClr val="tx1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7pPr>
      <a:lvl8pPr marL="3282744" indent="-218341" algn="l" defTabSz="873362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250">
          <a:solidFill>
            <a:schemeClr val="tx1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8pPr>
      <a:lvl9pPr marL="3722479" indent="-218341" algn="l" defTabSz="873362" rtl="0" fontAlgn="base">
        <a:spcBef>
          <a:spcPct val="20000"/>
        </a:spcBef>
        <a:spcAft>
          <a:spcPct val="0"/>
        </a:spcAft>
        <a:buClr>
          <a:srgbClr val="D6CBC2"/>
        </a:buClr>
        <a:buFont typeface="Wingdings" pitchFamily="2" charset="2"/>
        <a:buChar char="n"/>
        <a:defRPr kumimoji="1" sz="1250">
          <a:solidFill>
            <a:schemeClr val="tx1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9pPr>
    </p:bodyStyle>
    <p:otherStyle>
      <a:defPPr>
        <a:defRPr lang="ja-JP"/>
      </a:defPPr>
      <a:lvl1pPr marL="0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1pPr>
      <a:lvl2pPr marL="439735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2pPr>
      <a:lvl3pPr marL="879470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3pPr>
      <a:lvl4pPr marL="1319205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4pPr>
      <a:lvl5pPr marL="1758940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5pPr>
      <a:lvl6pPr marL="2198675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6pPr>
      <a:lvl7pPr marL="2638410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7pPr>
      <a:lvl8pPr marL="3078145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8pPr>
      <a:lvl9pPr marL="3517880" algn="l" defTabSz="879470" rtl="0" eaLnBrk="1" latinLnBrk="0" hangingPunct="1">
        <a:defRPr kumimoji="1" sz="17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4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24.jpeg"/><Relationship Id="rId5" Type="http://schemas.openxmlformats.org/officeDocument/2006/relationships/image" Target="../media/image23.wmf"/><Relationship Id="rId4" Type="http://schemas.openxmlformats.org/officeDocument/2006/relationships/image" Target="../media/image22.w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emf"/><Relationship Id="rId10" Type="http://schemas.openxmlformats.org/officeDocument/2006/relationships/image" Target="../media/image35.jpeg"/><Relationship Id="rId4" Type="http://schemas.openxmlformats.org/officeDocument/2006/relationships/image" Target="../media/image29.jpeg"/><Relationship Id="rId9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49.jpeg"/><Relationship Id="rId5" Type="http://schemas.openxmlformats.org/officeDocument/2006/relationships/image" Target="../media/image44.png"/><Relationship Id="rId10" Type="http://schemas.openxmlformats.org/officeDocument/2006/relationships/image" Target="../media/image48.png"/><Relationship Id="rId4" Type="http://schemas.openxmlformats.org/officeDocument/2006/relationships/image" Target="../media/image43.png"/><Relationship Id="rId9" Type="http://schemas.openxmlformats.org/officeDocument/2006/relationships/image" Target="../media/image4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jpe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717072" y="4806299"/>
            <a:ext cx="5535615" cy="369332"/>
          </a:xfrm>
        </p:spPr>
        <p:txBody>
          <a:bodyPr wrap="square">
            <a:spAutoFit/>
          </a:bodyPr>
          <a:lstStyle/>
          <a:p>
            <a:pPr eaLnBrk="1" hangingPunct="1"/>
            <a:r>
              <a:rPr lang="en-US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MPANY PROFILE</a:t>
            </a:r>
            <a:endParaRPr lang="ja-JP" altLang="en-US" sz="2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222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999374" y="5841414"/>
            <a:ext cx="4198418" cy="747897"/>
          </a:xfrm>
        </p:spPr>
        <p:txBody>
          <a:bodyPr/>
          <a:lstStyle/>
          <a:p>
            <a:pPr marL="0" indent="0" algn="r" eaLnBrk="1" hangingPunct="1">
              <a:lnSpc>
                <a:spcPct val="80000"/>
              </a:lnSpc>
            </a:pPr>
            <a:br>
              <a:rPr lang="en-US" altLang="ja-JP" sz="18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endParaRPr lang="en-US" altLang="ja-JP" sz="18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indent="0" algn="r" eaLnBrk="1" hangingPunct="1">
              <a:lnSpc>
                <a:spcPct val="80000"/>
              </a:lnSpc>
            </a:pPr>
            <a:r>
              <a:rPr lang="en-US" altLang="ja-JP" sz="18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ITSUI-SOKO EXPRESS Co., Ltd.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テキスト ボックス 9"/>
          <p:cNvSpPr txBox="1"/>
          <p:nvPr/>
        </p:nvSpPr>
        <p:spPr>
          <a:xfrm>
            <a:off x="583200" y="3379733"/>
            <a:ext cx="9820800" cy="661481"/>
          </a:xfrm>
          <a:prstGeom prst="rect">
            <a:avLst/>
          </a:prstGeom>
          <a:solidFill>
            <a:srgbClr val="5EA8DD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altLang="ja-JP" sz="24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Ⅱ</a:t>
            </a:r>
            <a:r>
              <a:rPr kumimoji="1" lang="en-US" altLang="ja-JP" sz="24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. </a:t>
            </a:r>
            <a:r>
              <a:rPr lang="en-US" altLang="ja-JP" sz="24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Introduction of MITSUI-SOKO EXPRESS</a:t>
            </a:r>
            <a:endParaRPr kumimoji="1" lang="en-US" altLang="ja-JP" sz="24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474116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Group 8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2650363"/>
              </p:ext>
            </p:extLst>
          </p:nvPr>
        </p:nvGraphicFramePr>
        <p:xfrm>
          <a:off x="915298" y="1487957"/>
          <a:ext cx="8640000" cy="5381536"/>
        </p:xfrm>
        <a:graphic>
          <a:graphicData uri="http://schemas.openxmlformats.org/drawingml/2006/table">
            <a:tbl>
              <a:tblPr/>
              <a:tblGrid>
                <a:gridCol w="22158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241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16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Company Name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MITSUI-SOKO EXPRESS Co., Ltd.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75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Headquarters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3-20-1 Nishi-</a:t>
                      </a:r>
                      <a:r>
                        <a:rPr kumimoji="1" lang="en-US" altLang="ja-JP" sz="13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Shimbashi</a:t>
                      </a: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, Minato-ku, Tokyo, 105-0003, Japan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16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Representative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TW" sz="13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Hisanari</a:t>
                      </a:r>
                      <a:r>
                        <a:rPr kumimoji="1" lang="en-US" altLang="zh-TW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 </a:t>
                      </a:r>
                      <a:r>
                        <a:rPr kumimoji="1" lang="en-US" altLang="zh-TW" sz="13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Ichiryu</a:t>
                      </a:r>
                      <a:r>
                        <a:rPr kumimoji="1" lang="en-US" altLang="zh-TW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, President and CEO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16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Capital stock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400 million JPY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07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Share holders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MITSUI-SOKO HOLDINGS Co., Ltd.   64.2%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Toyota Motor Corporation                 35.8</a:t>
                      </a:r>
                      <a:r>
                        <a:rPr kumimoji="1" lang="ja-JP" alt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％</a:t>
                      </a:r>
                    </a:p>
                  </a:txBody>
                  <a:tcPr marL="87939" marR="87939" marT="43986" marB="4398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55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Employees</a:t>
                      </a:r>
                    </a:p>
                  </a:txBody>
                  <a:tcPr marL="87939" marR="87939" marT="43986" marB="4398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438 (as of March, 2021)</a:t>
                      </a:r>
                      <a:endParaRPr kumimoji="1" lang="zh-TW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16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Established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October 3, 1969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5752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Main business areas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1. IATA authorized cargo Agen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2. First class consigned Freight Forwarding Busines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    (automobiles, transport and overseas shipping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3. Second class consigned freight forwarding busines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    (international air transport, overseas and coastal shipping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4. Specified consigned freight forwarding busines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5. Customs clearing agent (Tokyo, Osaka, Nagoya Customs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6. Non-life insurance agen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7. Any business related to all of the above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780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Domestic offices 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Kanto (Tokyo &amp; Narita), Chubu (Nagoya, Toyoda, Takaoka &amp; </a:t>
                      </a:r>
                      <a:r>
                        <a:rPr kumimoji="1" lang="en-US" altLang="ja-JP" sz="13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Centrair</a:t>
                      </a: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), Osaka (</a:t>
                      </a:r>
                      <a:r>
                        <a:rPr kumimoji="1" lang="en-US" altLang="ja-JP" sz="13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Dojima</a:t>
                      </a: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 &amp; KIX) and Kyushu (Fukuoka)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780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Overseas offices</a:t>
                      </a:r>
                    </a:p>
                  </a:txBody>
                  <a:tcPr marL="87939" marR="87939" marT="43986" marB="4398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charset="0"/>
                        </a:rPr>
                        <a:t>USA, Canada, Mexico, Brazil, Belgium, UK, Czech, Turkey, South Africa, Thailand, Indonesia, India and China)</a:t>
                      </a:r>
                      <a:endParaRPr kumimoji="1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charset="0"/>
                      </a:endParaRPr>
                    </a:p>
                  </a:txBody>
                  <a:tcPr marL="87939" marR="87939" marT="43986" marB="4398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9" name="タイトル 34"/>
          <p:cNvSpPr>
            <a:spLocks noGrp="1"/>
          </p:cNvSpPr>
          <p:nvPr>
            <p:ph type="title"/>
          </p:nvPr>
        </p:nvSpPr>
        <p:spPr>
          <a:xfrm>
            <a:off x="603709" y="106465"/>
            <a:ext cx="9810194" cy="813805"/>
          </a:xfrm>
        </p:spPr>
        <p:txBody>
          <a:bodyPr/>
          <a:lstStyle/>
          <a:p>
            <a:r>
              <a:rPr lang="en-US" altLang="ja-JP" sz="1731" dirty="0">
                <a:solidFill>
                  <a:srgbClr val="002060"/>
                </a:solidFill>
              </a:rPr>
              <a:t>Ⅱ. Introduction of MITSUI-SOKO EXPRESS</a:t>
            </a:r>
            <a:br>
              <a:rPr lang="ja-JP" altLang="en-US" dirty="0">
                <a:solidFill>
                  <a:srgbClr val="002060"/>
                </a:solidFill>
              </a:rPr>
            </a:br>
            <a:r>
              <a:rPr lang="ja-JP" altLang="en-US" sz="2400" dirty="0">
                <a:solidFill>
                  <a:srgbClr val="002060"/>
                </a:solidFill>
              </a:rPr>
              <a:t>  </a:t>
            </a:r>
            <a:r>
              <a:rPr lang="en-US" altLang="ja-JP" sz="2400" dirty="0">
                <a:solidFill>
                  <a:srgbClr val="002060"/>
                </a:solidFill>
              </a:rPr>
              <a:t>1. Company Profile</a:t>
            </a:r>
            <a:endParaRPr kumimoji="1" lang="ja-JP" altLang="en-US" sz="2400" dirty="0">
              <a:solidFill>
                <a:srgbClr val="002060"/>
              </a:solidFill>
            </a:endParaRPr>
          </a:p>
        </p:txBody>
      </p:sp>
      <p:pic>
        <p:nvPicPr>
          <p:cNvPr id="5" name="図 4" descr="画像（AEOロゴマーク）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2657" y="5243924"/>
            <a:ext cx="887675" cy="88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" name="テキスト ボックス 6"/>
          <p:cNvSpPr txBox="1"/>
          <p:nvPr/>
        </p:nvSpPr>
        <p:spPr>
          <a:xfrm>
            <a:off x="881756" y="1160894"/>
            <a:ext cx="247527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defTabSz="908050">
              <a:spcAft>
                <a:spcPct val="30000"/>
              </a:spcAft>
              <a:buClr>
                <a:srgbClr val="236987"/>
              </a:buClr>
            </a:pPr>
            <a:r>
              <a:rPr lang="ja-JP" altLang="en-US" sz="1600" b="1" dirty="0">
                <a:solidFill>
                  <a:schemeClr val="accent4"/>
                </a:solidFill>
                <a:latin typeface="Meiryo UI"/>
                <a:ea typeface="Meiryo UI"/>
              </a:rPr>
              <a:t>◆</a:t>
            </a:r>
            <a:r>
              <a:rPr lang="en-US" altLang="ja-JP" sz="1600" b="1" dirty="0">
                <a:solidFill>
                  <a:schemeClr val="accent4"/>
                </a:solidFill>
                <a:latin typeface="Meiryo UI"/>
                <a:ea typeface="Meiryo UI"/>
              </a:rPr>
              <a:t>Company profile</a:t>
            </a:r>
            <a:endParaRPr lang="ja-JP" altLang="en-US" sz="1600" b="1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grpSp>
        <p:nvGrpSpPr>
          <p:cNvPr id="8" name="Group 65"/>
          <p:cNvGrpSpPr>
            <a:grpSpLocks/>
          </p:cNvGrpSpPr>
          <p:nvPr/>
        </p:nvGrpSpPr>
        <p:grpSpPr bwMode="auto">
          <a:xfrm>
            <a:off x="920892" y="1498213"/>
            <a:ext cx="8640000" cy="5361023"/>
            <a:chOff x="271" y="741"/>
            <a:chExt cx="5733" cy="2347"/>
          </a:xfrm>
        </p:grpSpPr>
        <p:sp>
          <p:nvSpPr>
            <p:cNvPr id="10" name="Line 66"/>
            <p:cNvSpPr>
              <a:spLocks noChangeShapeType="1"/>
            </p:cNvSpPr>
            <p:nvPr/>
          </p:nvSpPr>
          <p:spPr bwMode="auto">
            <a:xfrm>
              <a:off x="271" y="741"/>
              <a:ext cx="5733" cy="0"/>
            </a:xfrm>
            <a:prstGeom prst="line">
              <a:avLst/>
            </a:prstGeom>
            <a:noFill/>
            <a:ln w="25400">
              <a:solidFill>
                <a:srgbClr val="1A54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ja-JP" altLang="en-US" dirty="0">
                <a:latin typeface="Meiryo UI"/>
                <a:ea typeface="Meiryo UI"/>
              </a:endParaRPr>
            </a:p>
          </p:txBody>
        </p:sp>
        <p:sp>
          <p:nvSpPr>
            <p:cNvPr id="11" name="Line 67"/>
            <p:cNvSpPr>
              <a:spLocks noChangeShapeType="1"/>
            </p:cNvSpPr>
            <p:nvPr/>
          </p:nvSpPr>
          <p:spPr bwMode="auto">
            <a:xfrm>
              <a:off x="281" y="3088"/>
              <a:ext cx="5717" cy="0"/>
            </a:xfrm>
            <a:prstGeom prst="line">
              <a:avLst/>
            </a:prstGeom>
            <a:noFill/>
            <a:ln w="25400">
              <a:solidFill>
                <a:srgbClr val="1A54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ja-JP" altLang="en-US" dirty="0">
                <a:latin typeface="Meiryo UI"/>
                <a:ea typeface="Meiryo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16014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タイトル 34"/>
          <p:cNvSpPr>
            <a:spLocks noGrp="1"/>
          </p:cNvSpPr>
          <p:nvPr>
            <p:ph type="title"/>
          </p:nvPr>
        </p:nvSpPr>
        <p:spPr>
          <a:xfrm>
            <a:off x="603709" y="106465"/>
            <a:ext cx="9810194" cy="813805"/>
          </a:xfrm>
        </p:spPr>
        <p:txBody>
          <a:bodyPr/>
          <a:lstStyle/>
          <a:p>
            <a:r>
              <a:rPr lang="en-US" altLang="ja-JP" sz="1731" dirty="0">
                <a:solidFill>
                  <a:srgbClr val="002060"/>
                </a:solidFill>
              </a:rPr>
              <a:t>Ⅱ. Introduction of MITSUI-SOKO EXPRESS</a:t>
            </a:r>
            <a:br>
              <a:rPr lang="ja-JP" altLang="en-US" dirty="0">
                <a:solidFill>
                  <a:srgbClr val="002060"/>
                </a:solidFill>
              </a:rPr>
            </a:br>
            <a:r>
              <a:rPr lang="ja-JP" altLang="en-US" sz="2400" dirty="0">
                <a:solidFill>
                  <a:srgbClr val="002060"/>
                </a:solidFill>
              </a:rPr>
              <a:t>  </a:t>
            </a:r>
            <a:r>
              <a:rPr lang="en-US" altLang="ja-JP" sz="2400" dirty="0">
                <a:solidFill>
                  <a:srgbClr val="002060"/>
                </a:solidFill>
              </a:rPr>
              <a:t>2. DNA</a:t>
            </a:r>
            <a:endParaRPr kumimoji="1" lang="ja-JP" altLang="en-US" sz="2400" dirty="0">
              <a:solidFill>
                <a:srgbClr val="002060"/>
              </a:solidFill>
            </a:endParaRPr>
          </a:p>
        </p:txBody>
      </p:sp>
      <p:sp>
        <p:nvSpPr>
          <p:cNvPr id="24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8" name="テキスト ボックス 116"/>
          <p:cNvSpPr txBox="1">
            <a:spLocks noChangeArrowheads="1"/>
          </p:cNvSpPr>
          <p:nvPr/>
        </p:nvSpPr>
        <p:spPr bwMode="auto">
          <a:xfrm>
            <a:off x="819445" y="1028990"/>
            <a:ext cx="9368294" cy="729929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</p:spPr>
        <p:txBody>
          <a:bodyPr wrap="square" lIns="100311" tIns="50155" rIns="100311" bIns="50155">
            <a:noAutofit/>
          </a:bodyPr>
          <a:lstStyle/>
          <a:p>
            <a:pPr marL="0" marR="0" lvl="0" indent="0" defTabSz="8794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Tx/>
              <a:buNone/>
              <a:tabLst/>
              <a:defRPr/>
            </a:pPr>
            <a:endParaRPr kumimoji="0" lang="ja-JP" altLang="en-US" sz="153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Unicode MS" panose="020B0604020202020204" pitchFamily="50" charset="-128"/>
              <a:ea typeface="Arial Unicode MS" panose="020B0604020202020204" pitchFamily="50" charset="-128"/>
              <a:cs typeface="Arial Unicode MS" panose="020B0604020202020204" pitchFamily="50" charset="-128"/>
            </a:endParaRPr>
          </a:p>
        </p:txBody>
      </p:sp>
      <p:sp>
        <p:nvSpPr>
          <p:cNvPr id="29" name="正方形/長方形 28"/>
          <p:cNvSpPr/>
          <p:nvPr/>
        </p:nvSpPr>
        <p:spPr>
          <a:xfrm>
            <a:off x="870814" y="1166129"/>
            <a:ext cx="9324952" cy="455649"/>
          </a:xfrm>
          <a:prstGeom prst="rect">
            <a:avLst/>
          </a:prstGeom>
          <a:noFill/>
          <a:ln w="25400" cap="flat" cmpd="sng" algn="ctr">
            <a:noFill/>
            <a:prstDash val="dash"/>
          </a:ln>
          <a:effectLst/>
        </p:spPr>
        <p:txBody>
          <a:bodyPr lIns="100311" tIns="50155" rIns="100311" bIns="50155" rtlCol="0" anchor="t" anchorCtr="0"/>
          <a:lstStyle/>
          <a:p>
            <a:pPr marL="0" marR="0" lvl="0" indent="0" defTabSz="8794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53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Arial" panose="020B0604020202020204" pitchFamily="34" charset="0"/>
              </a:rPr>
              <a:t>MITSUI-SOKO AIRCARGO has merged TAS Express, a subsidiary of TOYOTA as of July 1, 2012.</a:t>
            </a:r>
            <a:endParaRPr kumimoji="0" lang="ja-JP" altLang="en-US" sz="153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丸ｺﾞｼｯｸM-PRO"/>
              <a:cs typeface="Arial" panose="020B0604020202020204" pitchFamily="34" charset="0"/>
            </a:endParaRPr>
          </a:p>
        </p:txBody>
      </p:sp>
      <p:cxnSp>
        <p:nvCxnSpPr>
          <p:cNvPr id="30" name="カギ線コネクタ 29"/>
          <p:cNvCxnSpPr>
            <a:stCxn id="36" idx="2"/>
            <a:endCxn id="32" idx="0"/>
          </p:cNvCxnSpPr>
          <p:nvPr/>
        </p:nvCxnSpPr>
        <p:spPr>
          <a:xfrm rot="16200000" flipH="1">
            <a:off x="4091768" y="2617638"/>
            <a:ext cx="1140550" cy="117118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70C0"/>
            </a:solidFill>
            <a:prstDash val="solid"/>
          </a:ln>
          <a:effectLst/>
        </p:spPr>
      </p:cxnSp>
      <p:cxnSp>
        <p:nvCxnSpPr>
          <p:cNvPr id="31" name="カギ線コネクタ 30"/>
          <p:cNvCxnSpPr>
            <a:stCxn id="37" idx="2"/>
            <a:endCxn id="32" idx="0"/>
          </p:cNvCxnSpPr>
          <p:nvPr/>
        </p:nvCxnSpPr>
        <p:spPr>
          <a:xfrm rot="5400000">
            <a:off x="5130783" y="2749813"/>
            <a:ext cx="1140550" cy="90684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70C0"/>
            </a:solidFill>
            <a:prstDash val="solid"/>
          </a:ln>
          <a:effectLst/>
        </p:spPr>
      </p:cxnSp>
      <p:pic>
        <p:nvPicPr>
          <p:cNvPr id="32" name="Picture 4" descr="C:\Users\kamimura\Desktop\Mitsui Logo\三井倉庫エクスプレスさま_住所のみ.BMP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549027" y="3773507"/>
            <a:ext cx="3397218" cy="555770"/>
          </a:xfrm>
          <a:prstGeom prst="rect">
            <a:avLst/>
          </a:prstGeom>
          <a:noFill/>
          <a:ln w="31750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正方形/長方形 32"/>
          <p:cNvSpPr/>
          <p:nvPr/>
        </p:nvSpPr>
        <p:spPr>
          <a:xfrm>
            <a:off x="3665067" y="2805492"/>
            <a:ext cx="1038251" cy="50385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8794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92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+mn-cs"/>
              </a:rPr>
              <a:t>64.2</a:t>
            </a:r>
            <a:r>
              <a:rPr kumimoji="0" lang="ja-JP" altLang="en-US" sz="192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+mn-cs"/>
              </a:rPr>
              <a:t>％</a:t>
            </a:r>
          </a:p>
        </p:txBody>
      </p:sp>
      <p:sp>
        <p:nvSpPr>
          <p:cNvPr id="34" name="正方形/長方形 33"/>
          <p:cNvSpPr/>
          <p:nvPr/>
        </p:nvSpPr>
        <p:spPr>
          <a:xfrm>
            <a:off x="5743095" y="2813126"/>
            <a:ext cx="1038251" cy="50385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8794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92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+mn-cs"/>
              </a:rPr>
              <a:t>35.8</a:t>
            </a:r>
            <a:r>
              <a:rPr kumimoji="0" lang="ja-JP" altLang="en-US" sz="192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+mn-cs"/>
              </a:rPr>
              <a:t>％</a:t>
            </a:r>
          </a:p>
        </p:txBody>
      </p:sp>
      <p:sp>
        <p:nvSpPr>
          <p:cNvPr id="35" name="コンテンツ プレースホルダー 2"/>
          <p:cNvSpPr txBox="1">
            <a:spLocks/>
          </p:cNvSpPr>
          <p:nvPr/>
        </p:nvSpPr>
        <p:spPr bwMode="auto">
          <a:xfrm>
            <a:off x="839152" y="2933746"/>
            <a:ext cx="2353634" cy="3788150"/>
          </a:xfrm>
          <a:prstGeom prst="roundRect">
            <a:avLst>
              <a:gd name="adj" fmla="val 7896"/>
            </a:avLst>
          </a:prstGeom>
          <a:solidFill>
            <a:srgbClr val="FFFFFF"/>
          </a:solidFill>
          <a:ln w="9525">
            <a:solidFill>
              <a:srgbClr val="1A547D"/>
            </a:solidFill>
            <a:bevel/>
            <a:headEnd/>
            <a:tailEnd/>
          </a:ln>
        </p:spPr>
        <p:txBody>
          <a:bodyPr/>
          <a:lstStyle>
            <a:lvl1pPr marL="342900" indent="-342900" eaLnBrk="0" hangingPunct="0"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9pPr>
          </a:lstStyle>
          <a:p>
            <a:pPr marL="0" indent="0" defTabSz="879470" eaLnBrk="1" hangingPunct="1">
              <a:spcBef>
                <a:spcPct val="20000"/>
              </a:spcBef>
              <a:defRPr/>
            </a:pPr>
            <a:r>
              <a:rPr lang="en-US" altLang="ja-JP" sz="1347" b="1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MITSUI-SOKO AIRCARGO</a:t>
            </a:r>
          </a:p>
          <a:p>
            <a:pPr marL="329801" indent="-329801" defTabSz="879470" eaLnBrk="1" hangingPunct="1">
              <a:spcBef>
                <a:spcPct val="20000"/>
              </a:spcBef>
              <a:buClr>
                <a:srgbClr val="4F81BD">
                  <a:lumMod val="75000"/>
                </a:srgbClr>
              </a:buClr>
              <a:buFont typeface="Wingdings" pitchFamily="2" charset="2"/>
              <a:buChar char="p"/>
              <a:defRPr/>
            </a:pP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Air Transport</a:t>
            </a:r>
          </a:p>
          <a:p>
            <a:pPr marL="329801" indent="-329801" defTabSz="879470" eaLnBrk="1" hangingPunct="1">
              <a:spcBef>
                <a:spcPct val="20000"/>
              </a:spcBef>
              <a:buClr>
                <a:srgbClr val="4F81BD">
                  <a:lumMod val="75000"/>
                </a:srgbClr>
              </a:buClr>
              <a:buFont typeface="Wingdings" pitchFamily="2" charset="2"/>
              <a:buChar char="p"/>
              <a:defRPr/>
            </a:pP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Ocean Transport</a:t>
            </a:r>
          </a:p>
          <a:p>
            <a:pPr marL="329801" indent="-329801" defTabSz="879470" eaLnBrk="1" hangingPunct="1">
              <a:spcBef>
                <a:spcPct val="20000"/>
              </a:spcBef>
              <a:buClr>
                <a:srgbClr val="4F81BD">
                  <a:lumMod val="75000"/>
                </a:srgbClr>
              </a:buClr>
              <a:buFont typeface="Wingdings" pitchFamily="2" charset="2"/>
              <a:buChar char="p"/>
              <a:defRPr/>
            </a:pP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Customs Clearance</a:t>
            </a:r>
          </a:p>
          <a:p>
            <a:pPr marL="329801" indent="-329801" defTabSz="879470" eaLnBrk="1" hangingPunct="1">
              <a:spcBef>
                <a:spcPct val="20000"/>
              </a:spcBef>
              <a:buClr>
                <a:srgbClr val="4F81BD">
                  <a:lumMod val="75000"/>
                </a:srgbClr>
              </a:buClr>
              <a:buFont typeface="Wingdings" pitchFamily="2" charset="2"/>
              <a:buChar char="p"/>
              <a:defRPr/>
            </a:pP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Overseas Moving</a:t>
            </a:r>
          </a:p>
          <a:p>
            <a:pPr marL="329801" indent="-329801" defTabSz="879470" eaLnBrk="1" hangingPunct="1">
              <a:spcBef>
                <a:spcPct val="20000"/>
              </a:spcBef>
              <a:buClr>
                <a:srgbClr val="4F81BD">
                  <a:lumMod val="75000"/>
                </a:srgbClr>
              </a:buClr>
              <a:buFont typeface="Wingdings" pitchFamily="2" charset="2"/>
              <a:buChar char="p"/>
              <a:defRPr/>
            </a:pPr>
            <a:r>
              <a:rPr lang="ja-JP" altLang="en-US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～</a:t>
            </a: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Others</a:t>
            </a:r>
          </a:p>
          <a:p>
            <a:pPr marL="714569" lvl="1" indent="-274834" defTabSz="879470" eaLnBrk="1" hangingPunct="1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Bulky Cargo</a:t>
            </a:r>
          </a:p>
          <a:p>
            <a:pPr marL="714569" lvl="1" indent="-274834" defTabSz="879470" eaLnBrk="1" hangingPunct="1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Hazardous</a:t>
            </a:r>
          </a:p>
          <a:p>
            <a:pPr marL="714569" lvl="1" indent="-274834" defTabSz="879470" eaLnBrk="1" hangingPunct="1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Temperature controlled </a:t>
            </a:r>
          </a:p>
          <a:p>
            <a:pPr marL="439735" lvl="1" indent="0" defTabSz="879470" eaLnBrk="1" hangingPunct="1">
              <a:spcBef>
                <a:spcPct val="20000"/>
              </a:spcBef>
              <a:defRPr/>
            </a:pPr>
            <a:endParaRPr lang="ja-JP" altLang="en-US" sz="1347" dirty="0">
              <a:solidFill>
                <a:prstClr val="black"/>
              </a:solidFill>
              <a:latin typeface="+mj-lt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36" name="正方形/長方形 35"/>
          <p:cNvSpPr/>
          <p:nvPr/>
        </p:nvSpPr>
        <p:spPr>
          <a:xfrm>
            <a:off x="3169504" y="1974891"/>
            <a:ext cx="1813887" cy="658067"/>
          </a:xfrm>
          <a:prstGeom prst="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8794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731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Arial" panose="020B0604020202020204" pitchFamily="34" charset="0"/>
              </a:rPr>
              <a:t>MITSUI-SOKO HD</a:t>
            </a:r>
            <a:endParaRPr kumimoji="0" lang="ja-JP" altLang="en-US" sz="1731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丸ｺﾞｼｯｸM-PRO"/>
              <a:cs typeface="Arial" panose="020B0604020202020204" pitchFamily="34" charset="0"/>
            </a:endParaRPr>
          </a:p>
        </p:txBody>
      </p:sp>
      <p:sp>
        <p:nvSpPr>
          <p:cNvPr id="37" name="正方形/長方形 36"/>
          <p:cNvSpPr/>
          <p:nvPr/>
        </p:nvSpPr>
        <p:spPr>
          <a:xfrm>
            <a:off x="5247534" y="1974891"/>
            <a:ext cx="1813887" cy="658067"/>
          </a:xfrm>
          <a:prstGeom prst="rect">
            <a:avLst/>
          </a:prstGeom>
          <a:gradFill flip="none" rotWithShape="1">
            <a:gsLst>
              <a:gs pos="0">
                <a:srgbClr val="4BACC6">
                  <a:lumMod val="60000"/>
                  <a:lumOff val="40000"/>
                  <a:tint val="66000"/>
                  <a:satMod val="160000"/>
                </a:srgbClr>
              </a:gs>
              <a:gs pos="50000">
                <a:srgbClr val="4BACC6">
                  <a:lumMod val="60000"/>
                  <a:lumOff val="40000"/>
                  <a:tint val="44500"/>
                  <a:satMod val="160000"/>
                </a:srgbClr>
              </a:gs>
              <a:gs pos="100000">
                <a:srgbClr val="4BACC6">
                  <a:lumMod val="60000"/>
                  <a:lumOff val="40000"/>
                  <a:tint val="23500"/>
                  <a:satMod val="160000"/>
                </a:srgbClr>
              </a:gs>
            </a:gsLst>
            <a:lin ang="16200000" scaled="1"/>
            <a:tileRect/>
          </a:gradFill>
          <a:ln w="9525" cap="flat" cmpd="sng" algn="ctr">
            <a:solidFill>
              <a:srgbClr val="0070C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8794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731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Arial" panose="020B0604020202020204" pitchFamily="34" charset="0"/>
              </a:rPr>
              <a:t>TOYOTA</a:t>
            </a:r>
            <a:endParaRPr kumimoji="0" lang="ja-JP" altLang="en-US" sz="1731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丸ｺﾞｼｯｸM-PRO"/>
              <a:cs typeface="Arial" panose="020B0604020202020204" pitchFamily="34" charset="0"/>
            </a:endParaRPr>
          </a:p>
        </p:txBody>
      </p:sp>
      <p:cxnSp>
        <p:nvCxnSpPr>
          <p:cNvPr id="38" name="カギ線コネクタ 37"/>
          <p:cNvCxnSpPr>
            <a:stCxn id="37" idx="3"/>
            <a:endCxn id="43" idx="0"/>
          </p:cNvCxnSpPr>
          <p:nvPr/>
        </p:nvCxnSpPr>
        <p:spPr>
          <a:xfrm>
            <a:off x="7061420" y="2303925"/>
            <a:ext cx="1605197" cy="629821"/>
          </a:xfrm>
          <a:prstGeom prst="bentConnector2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lgDash"/>
          </a:ln>
          <a:effectLst/>
        </p:spPr>
      </p:cxnSp>
      <p:cxnSp>
        <p:nvCxnSpPr>
          <p:cNvPr id="39" name="カギ線コネクタ 38"/>
          <p:cNvCxnSpPr>
            <a:stCxn id="36" idx="1"/>
            <a:endCxn id="35" idx="0"/>
          </p:cNvCxnSpPr>
          <p:nvPr/>
        </p:nvCxnSpPr>
        <p:spPr>
          <a:xfrm rot="10800000" flipV="1">
            <a:off x="2015969" y="2303924"/>
            <a:ext cx="1153535" cy="629821"/>
          </a:xfrm>
          <a:prstGeom prst="bentConnector2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lgDash"/>
          </a:ln>
          <a:effectLst/>
        </p:spPr>
      </p:cxnSp>
      <p:cxnSp>
        <p:nvCxnSpPr>
          <p:cNvPr id="40" name="カギ線コネクタ 39"/>
          <p:cNvCxnSpPr>
            <a:stCxn id="32" idx="3"/>
          </p:cNvCxnSpPr>
          <p:nvPr/>
        </p:nvCxnSpPr>
        <p:spPr>
          <a:xfrm flipV="1">
            <a:off x="6946245" y="4051392"/>
            <a:ext cx="543555" cy="0"/>
          </a:xfrm>
          <a:prstGeom prst="bentConnector3">
            <a:avLst/>
          </a:prstGeom>
          <a:noFill/>
          <a:ln w="6985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headEnd type="stealth" w="lg" len="lg"/>
          </a:ln>
          <a:effectLst/>
        </p:spPr>
      </p:cxnSp>
      <p:cxnSp>
        <p:nvCxnSpPr>
          <p:cNvPr id="41" name="カギ線コネクタ 40"/>
          <p:cNvCxnSpPr>
            <a:stCxn id="32" idx="1"/>
          </p:cNvCxnSpPr>
          <p:nvPr/>
        </p:nvCxnSpPr>
        <p:spPr>
          <a:xfrm rot="10800000">
            <a:off x="3006999" y="4051392"/>
            <a:ext cx="542029" cy="0"/>
          </a:xfrm>
          <a:prstGeom prst="bentConnector3">
            <a:avLst/>
          </a:prstGeom>
          <a:noFill/>
          <a:ln w="6985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headEnd type="stealth" w="lg" len="lg"/>
            <a:tailEnd type="none" w="lg" len="lg"/>
          </a:ln>
          <a:effectLst/>
        </p:spPr>
      </p:cxnSp>
      <p:sp>
        <p:nvSpPr>
          <p:cNvPr id="42" name="正方形/長方形 41"/>
          <p:cNvSpPr/>
          <p:nvPr/>
        </p:nvSpPr>
        <p:spPr>
          <a:xfrm>
            <a:off x="3277250" y="4703434"/>
            <a:ext cx="4058340" cy="1530273"/>
          </a:xfrm>
          <a:prstGeom prst="rect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ysDash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normAutofit/>
          </a:bodyPr>
          <a:lstStyle/>
          <a:p>
            <a:pPr marL="0" marR="0" lvl="0" indent="0" defTabSz="87947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53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Arial" panose="020B0604020202020204" pitchFamily="34" charset="0"/>
              </a:rPr>
              <a:t>Integrating DNA of MITSUI-SOKO and </a:t>
            </a:r>
          </a:p>
          <a:p>
            <a:pPr marL="0" marR="0" lvl="0" indent="0" defTabSz="87947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53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Arial" panose="020B0604020202020204" pitchFamily="34" charset="0"/>
              </a:rPr>
              <a:t>TOYOTA Motor, we provide a high quality </a:t>
            </a:r>
            <a:r>
              <a:rPr kumimoji="0" lang="en-US" altLang="ja-JP" sz="1539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Arial" panose="020B0604020202020204" pitchFamily="34" charset="0"/>
              </a:rPr>
              <a:t>i</a:t>
            </a:r>
            <a:r>
              <a:rPr kumimoji="0" lang="en-US" altLang="ja-JP" sz="153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Arial" panose="020B0604020202020204" pitchFamily="34" charset="0"/>
              </a:rPr>
              <a:t>nternational logistics service.</a:t>
            </a:r>
          </a:p>
        </p:txBody>
      </p:sp>
      <p:sp>
        <p:nvSpPr>
          <p:cNvPr id="43" name="コンテンツ プレースホルダー 2"/>
          <p:cNvSpPr txBox="1">
            <a:spLocks/>
          </p:cNvSpPr>
          <p:nvPr/>
        </p:nvSpPr>
        <p:spPr bwMode="auto">
          <a:xfrm>
            <a:off x="7489800" y="2933746"/>
            <a:ext cx="2353634" cy="3788150"/>
          </a:xfrm>
          <a:prstGeom prst="roundRect">
            <a:avLst>
              <a:gd name="adj" fmla="val 7896"/>
            </a:avLst>
          </a:prstGeom>
          <a:solidFill>
            <a:srgbClr val="FFFFFF"/>
          </a:solidFill>
          <a:ln w="9525">
            <a:solidFill>
              <a:srgbClr val="1A547D"/>
            </a:solidFill>
            <a:bevel/>
            <a:headEnd/>
            <a:tailEnd/>
          </a:ln>
        </p:spPr>
        <p:txBody>
          <a:bodyPr/>
          <a:lstStyle>
            <a:lvl1pPr marL="342900" indent="-342900" eaLnBrk="0" hangingPunct="0"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ndara" pitchFamily="34" charset="0"/>
                <a:ea typeface="ＭＳ Ｐゴシック" pitchFamily="50" charset="-128"/>
              </a:defRPr>
            </a:lvl9pPr>
          </a:lstStyle>
          <a:p>
            <a:pPr marL="0" indent="0" defTabSz="879470" eaLnBrk="1" hangingPunct="1">
              <a:spcBef>
                <a:spcPct val="20000"/>
              </a:spcBef>
              <a:defRPr/>
            </a:pPr>
            <a:r>
              <a:rPr lang="en-US" altLang="ja-JP" sz="1347" b="1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TAS Express</a:t>
            </a:r>
          </a:p>
          <a:p>
            <a:pPr marL="329801" indent="-329801" defTabSz="879470" eaLnBrk="1" hangingPunct="1">
              <a:spcBef>
                <a:spcPct val="20000"/>
              </a:spcBef>
              <a:buClr>
                <a:srgbClr val="4F81BD">
                  <a:lumMod val="75000"/>
                </a:srgbClr>
              </a:buClr>
              <a:buFont typeface="Wingdings" pitchFamily="2" charset="2"/>
              <a:buChar char="p"/>
              <a:defRPr/>
            </a:pP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Air Transport</a:t>
            </a:r>
          </a:p>
          <a:p>
            <a:pPr marL="329801" indent="-329801" defTabSz="879470" eaLnBrk="1" hangingPunct="1">
              <a:spcBef>
                <a:spcPct val="20000"/>
              </a:spcBef>
              <a:buClr>
                <a:srgbClr val="4F81BD">
                  <a:lumMod val="75000"/>
                </a:srgbClr>
              </a:buClr>
              <a:buFont typeface="Wingdings" pitchFamily="2" charset="2"/>
              <a:buChar char="p"/>
              <a:defRPr/>
            </a:pP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Ocean Transport</a:t>
            </a:r>
          </a:p>
          <a:p>
            <a:pPr marL="329801" indent="-329801" defTabSz="879470" eaLnBrk="1" hangingPunct="1">
              <a:spcBef>
                <a:spcPct val="20000"/>
              </a:spcBef>
              <a:buClr>
                <a:srgbClr val="4F81BD">
                  <a:lumMod val="75000"/>
                </a:srgbClr>
              </a:buClr>
              <a:buFont typeface="Wingdings" pitchFamily="2" charset="2"/>
              <a:buChar char="p"/>
              <a:defRPr/>
            </a:pP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Customs Clearance</a:t>
            </a:r>
          </a:p>
          <a:p>
            <a:pPr marL="329801" indent="-329801" defTabSz="879470" eaLnBrk="1" hangingPunct="1">
              <a:spcBef>
                <a:spcPct val="20000"/>
              </a:spcBef>
              <a:buClr>
                <a:srgbClr val="4F81BD">
                  <a:lumMod val="75000"/>
                </a:srgbClr>
              </a:buClr>
              <a:buFont typeface="Wingdings" pitchFamily="2" charset="2"/>
              <a:buChar char="p"/>
              <a:defRPr/>
            </a:pPr>
            <a:r>
              <a:rPr lang="ja-JP" altLang="en-US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～ </a:t>
            </a: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Especially</a:t>
            </a:r>
          </a:p>
          <a:p>
            <a:pPr marL="714569" lvl="1" indent="-274834" defTabSz="879470" eaLnBrk="1" hangingPunct="1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Car </a:t>
            </a:r>
          </a:p>
          <a:p>
            <a:pPr marL="714569" lvl="1" indent="-274834" defTabSz="879470" eaLnBrk="1" hangingPunct="1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Auto Parts</a:t>
            </a:r>
          </a:p>
          <a:p>
            <a:pPr marL="714569" lvl="1" indent="-274834" defTabSz="879470" eaLnBrk="1" hangingPunct="1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altLang="ja-JP" sz="1347" dirty="0">
                <a:solidFill>
                  <a:prstClr val="black"/>
                </a:solidFill>
                <a:latin typeface="+mj-lt"/>
                <a:ea typeface="Meiryo UI" panose="020B0604030504040204" pitchFamily="50" charset="-128"/>
                <a:cs typeface="Arial" panose="020B0604020202020204" pitchFamily="34" charset="0"/>
              </a:rPr>
              <a:t>Machinery </a:t>
            </a:r>
          </a:p>
        </p:txBody>
      </p:sp>
      <p:sp>
        <p:nvSpPr>
          <p:cNvPr id="44" name="正方形/長方形 43"/>
          <p:cNvSpPr/>
          <p:nvPr/>
        </p:nvSpPr>
        <p:spPr>
          <a:xfrm>
            <a:off x="2137738" y="5763704"/>
            <a:ext cx="960383" cy="529814"/>
          </a:xfrm>
          <a:prstGeom prst="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8794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15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+mn-cs"/>
              </a:rPr>
              <a:t>JTB</a:t>
            </a:r>
          </a:p>
          <a:p>
            <a:pPr marL="0" marR="0" lvl="0" indent="0" algn="ctr" defTabSz="8794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15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+mn-cs"/>
              </a:rPr>
              <a:t>AIR CARGO</a:t>
            </a:r>
            <a:endParaRPr kumimoji="0" lang="ja-JP" altLang="en-US" sz="1154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丸ｺﾞｼｯｸM-PRO"/>
              <a:cs typeface="+mn-cs"/>
            </a:endParaRPr>
          </a:p>
        </p:txBody>
      </p:sp>
      <p:sp>
        <p:nvSpPr>
          <p:cNvPr id="45" name="正方形/長方形 44"/>
          <p:cNvSpPr/>
          <p:nvPr/>
        </p:nvSpPr>
        <p:spPr>
          <a:xfrm>
            <a:off x="946803" y="5763704"/>
            <a:ext cx="960383" cy="529814"/>
          </a:xfrm>
          <a:prstGeom prst="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8794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15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+mn-cs"/>
              </a:rPr>
              <a:t>MITSUI</a:t>
            </a:r>
          </a:p>
          <a:p>
            <a:pPr marL="0" marR="0" lvl="0" indent="0" algn="ctr" defTabSz="8794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15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丸ｺﾞｼｯｸM-PRO"/>
                <a:cs typeface="+mn-cs"/>
              </a:rPr>
              <a:t>SOKO</a:t>
            </a:r>
          </a:p>
        </p:txBody>
      </p:sp>
      <p:sp>
        <p:nvSpPr>
          <p:cNvPr id="46" name="テキスト ボックス 45"/>
          <p:cNvSpPr txBox="1"/>
          <p:nvPr/>
        </p:nvSpPr>
        <p:spPr bwMode="auto">
          <a:xfrm>
            <a:off x="1916348" y="5844758"/>
            <a:ext cx="221391" cy="367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0311" tIns="50155" rIns="100311" bIns="50155" rtlCol="0">
            <a:spAutoFit/>
          </a:bodyPr>
          <a:lstStyle/>
          <a:p>
            <a:pPr algn="ctr" defTabSz="879470">
              <a:spcBef>
                <a:spcPct val="50000"/>
              </a:spcBef>
            </a:pPr>
            <a:r>
              <a:rPr lang="ja-JP" altLang="en-US" sz="1731" dirty="0">
                <a:solidFill>
                  <a:srgbClr val="000000"/>
                </a:solidFill>
                <a:latin typeface="+mj-lt"/>
                <a:ea typeface="HGP創英角ｺﾞｼｯｸUB" panose="020B0900000000000000" pitchFamily="50" charset="-128"/>
                <a:cs typeface="メイリオ" panose="020B0604030504040204" pitchFamily="50" charset="-128"/>
              </a:rPr>
              <a:t>＋</a:t>
            </a:r>
          </a:p>
        </p:txBody>
      </p:sp>
      <p:sp>
        <p:nvSpPr>
          <p:cNvPr id="47" name="テキスト ボックス 46"/>
          <p:cNvSpPr txBox="1"/>
          <p:nvPr/>
        </p:nvSpPr>
        <p:spPr bwMode="auto">
          <a:xfrm>
            <a:off x="946804" y="6314893"/>
            <a:ext cx="2151317" cy="278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0311" tIns="50155" rIns="100311" bIns="50155" rtlCol="0">
            <a:spAutoFit/>
          </a:bodyPr>
          <a:lstStyle/>
          <a:p>
            <a:pPr algn="ctr" defTabSz="879470">
              <a:spcBef>
                <a:spcPct val="50000"/>
              </a:spcBef>
            </a:pPr>
            <a:r>
              <a:rPr lang="en-US" altLang="ja-JP" sz="1154" dirty="0">
                <a:solidFill>
                  <a:srgbClr val="000000"/>
                </a:solidFill>
                <a:latin typeface="+mj-lt"/>
                <a:ea typeface="Meiryo UI" panose="020B0604030504040204" pitchFamily="50" charset="-128"/>
                <a:cs typeface="メイリオ" panose="020B0604030504040204" pitchFamily="50" charset="-128"/>
              </a:rPr>
              <a:t>Merged</a:t>
            </a:r>
            <a:r>
              <a:rPr lang="ja-JP" altLang="en-US" sz="1154" dirty="0">
                <a:solidFill>
                  <a:srgbClr val="000000"/>
                </a:solidFill>
                <a:latin typeface="+mj-lt"/>
                <a:ea typeface="Meiryo UI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1154" dirty="0">
                <a:solidFill>
                  <a:srgbClr val="000000"/>
                </a:solidFill>
                <a:latin typeface="+mj-lt"/>
                <a:ea typeface="Meiryo UI" panose="020B0604030504040204" pitchFamily="50" charset="-128"/>
                <a:cs typeface="メイリオ" panose="020B0604030504040204" pitchFamily="50" charset="-128"/>
              </a:rPr>
              <a:t>1</a:t>
            </a:r>
            <a:r>
              <a:rPr lang="en-US" altLang="ja-JP" sz="1154" baseline="30000" dirty="0">
                <a:solidFill>
                  <a:srgbClr val="000000"/>
                </a:solidFill>
                <a:latin typeface="+mj-lt"/>
                <a:ea typeface="Meiryo UI" panose="020B0604030504040204" pitchFamily="50" charset="-128"/>
                <a:cs typeface="メイリオ" panose="020B0604030504040204" pitchFamily="50" charset="-128"/>
              </a:rPr>
              <a:t>st</a:t>
            </a:r>
            <a:r>
              <a:rPr lang="en-US" altLang="ja-JP" sz="1154" dirty="0">
                <a:solidFill>
                  <a:srgbClr val="000000"/>
                </a:solidFill>
                <a:latin typeface="+mj-lt"/>
                <a:ea typeface="Meiryo UI" panose="020B0604030504040204" pitchFamily="50" charset="-128"/>
                <a:cs typeface="メイリオ" panose="020B0604030504040204" pitchFamily="50" charset="-128"/>
              </a:rPr>
              <a:t>, March, 2011</a:t>
            </a:r>
            <a:endParaRPr lang="ja-JP" altLang="en-US" sz="1154" dirty="0">
              <a:solidFill>
                <a:srgbClr val="000000"/>
              </a:solidFill>
              <a:latin typeface="+mj-lt"/>
              <a:ea typeface="Meiryo UI" panose="020B0604030504040204" pitchFamily="50" charset="-128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58445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utoShape 191"/>
          <p:cNvSpPr>
            <a:spLocks noChangeArrowheads="1"/>
          </p:cNvSpPr>
          <p:nvPr/>
        </p:nvSpPr>
        <p:spPr bwMode="auto">
          <a:xfrm flipV="1">
            <a:off x="6514715" y="5436267"/>
            <a:ext cx="352425" cy="152400"/>
          </a:xfrm>
          <a:prstGeom prst="wedgeRectCallout">
            <a:avLst>
              <a:gd name="adj1" fmla="val -422620"/>
              <a:gd name="adj2" fmla="val -364927"/>
            </a:avLst>
          </a:prstGeom>
          <a:solidFill>
            <a:srgbClr val="FFFFFF"/>
          </a:solidFill>
          <a:ln w="9525">
            <a:solidFill>
              <a:srgbClr val="F67D0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2" tIns="45706" rIns="91412" bIns="45706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ja-JP" altLang="en-US" sz="1800" ker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" name="AutoShape 192"/>
          <p:cNvSpPr>
            <a:spLocks noChangeArrowheads="1"/>
          </p:cNvSpPr>
          <p:nvPr/>
        </p:nvSpPr>
        <p:spPr bwMode="auto">
          <a:xfrm>
            <a:off x="6786177" y="4180554"/>
            <a:ext cx="360363" cy="157163"/>
          </a:xfrm>
          <a:prstGeom prst="wedgeRectCallout">
            <a:avLst>
              <a:gd name="adj1" fmla="val -491361"/>
              <a:gd name="adj2" fmla="val 884380"/>
            </a:avLst>
          </a:prstGeom>
          <a:solidFill>
            <a:srgbClr val="FFFFFF"/>
          </a:solidFill>
          <a:ln w="9525">
            <a:solidFill>
              <a:srgbClr val="F67D0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2" tIns="45706" rIns="91412" bIns="45706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ja-JP" altLang="en-US" sz="1800" ker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27" name="Group 249"/>
          <p:cNvGrpSpPr>
            <a:grpSpLocks/>
          </p:cNvGrpSpPr>
          <p:nvPr/>
        </p:nvGrpSpPr>
        <p:grpSpPr bwMode="auto">
          <a:xfrm>
            <a:off x="2196715" y="2489867"/>
            <a:ext cx="3159125" cy="4611687"/>
            <a:chOff x="1621594" y="2776092"/>
            <a:chExt cx="3422340" cy="4611986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28" name="Freeform 4"/>
            <p:cNvSpPr>
              <a:spLocks noChangeAspect="1" noEditPoints="1"/>
            </p:cNvSpPr>
            <p:nvPr/>
          </p:nvSpPr>
          <p:spPr bwMode="auto">
            <a:xfrm>
              <a:off x="3671558" y="2776092"/>
              <a:ext cx="1372376" cy="906521"/>
            </a:xfrm>
            <a:custGeom>
              <a:avLst/>
              <a:gdLst>
                <a:gd name="T0" fmla="*/ 2147483647 w 1080"/>
                <a:gd name="T1" fmla="*/ 2147483647 h 714"/>
                <a:gd name="T2" fmla="*/ 2147483647 w 1080"/>
                <a:gd name="T3" fmla="*/ 2147483647 h 714"/>
                <a:gd name="T4" fmla="*/ 2147483647 w 1080"/>
                <a:gd name="T5" fmla="*/ 2147483647 h 714"/>
                <a:gd name="T6" fmla="*/ 2147483647 w 1080"/>
                <a:gd name="T7" fmla="*/ 2147483647 h 714"/>
                <a:gd name="T8" fmla="*/ 2147483647 w 1080"/>
                <a:gd name="T9" fmla="*/ 2147483647 h 714"/>
                <a:gd name="T10" fmla="*/ 2147483647 w 1080"/>
                <a:gd name="T11" fmla="*/ 2147483647 h 714"/>
                <a:gd name="T12" fmla="*/ 2147483647 w 1080"/>
                <a:gd name="T13" fmla="*/ 2147483647 h 714"/>
                <a:gd name="T14" fmla="*/ 2147483647 w 1080"/>
                <a:gd name="T15" fmla="*/ 2147483647 h 714"/>
                <a:gd name="T16" fmla="*/ 2147483647 w 1080"/>
                <a:gd name="T17" fmla="*/ 2147483647 h 714"/>
                <a:gd name="T18" fmla="*/ 2147483647 w 1080"/>
                <a:gd name="T19" fmla="*/ 2147483647 h 714"/>
                <a:gd name="T20" fmla="*/ 2147483647 w 1080"/>
                <a:gd name="T21" fmla="*/ 2147483647 h 714"/>
                <a:gd name="T22" fmla="*/ 2147483647 w 1080"/>
                <a:gd name="T23" fmla="*/ 2147483647 h 714"/>
                <a:gd name="T24" fmla="*/ 2147483647 w 1080"/>
                <a:gd name="T25" fmla="*/ 2147483647 h 714"/>
                <a:gd name="T26" fmla="*/ 2147483647 w 1080"/>
                <a:gd name="T27" fmla="*/ 2147483647 h 714"/>
                <a:gd name="T28" fmla="*/ 2147483647 w 1080"/>
                <a:gd name="T29" fmla="*/ 2147483647 h 714"/>
                <a:gd name="T30" fmla="*/ 2147483647 w 1080"/>
                <a:gd name="T31" fmla="*/ 2147483647 h 714"/>
                <a:gd name="T32" fmla="*/ 2147483647 w 1080"/>
                <a:gd name="T33" fmla="*/ 2147483647 h 714"/>
                <a:gd name="T34" fmla="*/ 2147483647 w 1080"/>
                <a:gd name="T35" fmla="*/ 2147483647 h 714"/>
                <a:gd name="T36" fmla="*/ 2147483647 w 1080"/>
                <a:gd name="T37" fmla="*/ 2147483647 h 714"/>
                <a:gd name="T38" fmla="*/ 2147483647 w 1080"/>
                <a:gd name="T39" fmla="*/ 2147483647 h 714"/>
                <a:gd name="T40" fmla="*/ 2147483647 w 1080"/>
                <a:gd name="T41" fmla="*/ 2147483647 h 714"/>
                <a:gd name="T42" fmla="*/ 2147483647 w 1080"/>
                <a:gd name="T43" fmla="*/ 2147483647 h 714"/>
                <a:gd name="T44" fmla="*/ 2147483647 w 1080"/>
                <a:gd name="T45" fmla="*/ 2147483647 h 714"/>
                <a:gd name="T46" fmla="*/ 2147483647 w 1080"/>
                <a:gd name="T47" fmla="*/ 2147483647 h 714"/>
                <a:gd name="T48" fmla="*/ 2147483647 w 1080"/>
                <a:gd name="T49" fmla="*/ 2147483647 h 714"/>
                <a:gd name="T50" fmla="*/ 2147483647 w 1080"/>
                <a:gd name="T51" fmla="*/ 2147483647 h 714"/>
                <a:gd name="T52" fmla="*/ 2147483647 w 1080"/>
                <a:gd name="T53" fmla="*/ 2147483647 h 714"/>
                <a:gd name="T54" fmla="*/ 2147483647 w 1080"/>
                <a:gd name="T55" fmla="*/ 2147483647 h 714"/>
                <a:gd name="T56" fmla="*/ 2147483647 w 1080"/>
                <a:gd name="T57" fmla="*/ 2147483647 h 714"/>
                <a:gd name="T58" fmla="*/ 2147483647 w 1080"/>
                <a:gd name="T59" fmla="*/ 2147483647 h 714"/>
                <a:gd name="T60" fmla="*/ 2147483647 w 1080"/>
                <a:gd name="T61" fmla="*/ 2147483647 h 714"/>
                <a:gd name="T62" fmla="*/ 2147483647 w 1080"/>
                <a:gd name="T63" fmla="*/ 2147483647 h 714"/>
                <a:gd name="T64" fmla="*/ 2147483647 w 1080"/>
                <a:gd name="T65" fmla="*/ 2147483647 h 714"/>
                <a:gd name="T66" fmla="*/ 2147483647 w 1080"/>
                <a:gd name="T67" fmla="*/ 2147483647 h 714"/>
                <a:gd name="T68" fmla="*/ 2147483647 w 1080"/>
                <a:gd name="T69" fmla="*/ 2147483647 h 714"/>
                <a:gd name="T70" fmla="*/ 2147483647 w 1080"/>
                <a:gd name="T71" fmla="*/ 2147483647 h 714"/>
                <a:gd name="T72" fmla="*/ 2147483647 w 1080"/>
                <a:gd name="T73" fmla="*/ 2147483647 h 714"/>
                <a:gd name="T74" fmla="*/ 2147483647 w 1080"/>
                <a:gd name="T75" fmla="*/ 2147483647 h 714"/>
                <a:gd name="T76" fmla="*/ 2147483647 w 1080"/>
                <a:gd name="T77" fmla="*/ 2147483647 h 714"/>
                <a:gd name="T78" fmla="*/ 2147483647 w 1080"/>
                <a:gd name="T79" fmla="*/ 2147483647 h 714"/>
                <a:gd name="T80" fmla="*/ 2147483647 w 1080"/>
                <a:gd name="T81" fmla="*/ 2147483647 h 714"/>
                <a:gd name="T82" fmla="*/ 2147483647 w 1080"/>
                <a:gd name="T83" fmla="*/ 2147483647 h 714"/>
                <a:gd name="T84" fmla="*/ 2147483647 w 1080"/>
                <a:gd name="T85" fmla="*/ 2147483647 h 714"/>
                <a:gd name="T86" fmla="*/ 2147483647 w 1080"/>
                <a:gd name="T87" fmla="*/ 2147483647 h 714"/>
                <a:gd name="T88" fmla="*/ 2147483647 w 1080"/>
                <a:gd name="T89" fmla="*/ 2147483647 h 714"/>
                <a:gd name="T90" fmla="*/ 2147483647 w 1080"/>
                <a:gd name="T91" fmla="*/ 2147483647 h 714"/>
                <a:gd name="T92" fmla="*/ 2147483647 w 1080"/>
                <a:gd name="T93" fmla="*/ 2147483647 h 714"/>
                <a:gd name="T94" fmla="*/ 2147483647 w 1080"/>
                <a:gd name="T95" fmla="*/ 2147483647 h 714"/>
                <a:gd name="T96" fmla="*/ 2147483647 w 1080"/>
                <a:gd name="T97" fmla="*/ 2147483647 h 714"/>
                <a:gd name="T98" fmla="*/ 2147483647 w 1080"/>
                <a:gd name="T99" fmla="*/ 2147483647 h 714"/>
                <a:gd name="T100" fmla="*/ 2147483647 w 1080"/>
                <a:gd name="T101" fmla="*/ 2147483647 h 714"/>
                <a:gd name="T102" fmla="*/ 2147483647 w 1080"/>
                <a:gd name="T103" fmla="*/ 2147483647 h 714"/>
                <a:gd name="T104" fmla="*/ 2147483647 w 1080"/>
                <a:gd name="T105" fmla="*/ 2147483647 h 714"/>
                <a:gd name="T106" fmla="*/ 2147483647 w 1080"/>
                <a:gd name="T107" fmla="*/ 2147483647 h 714"/>
                <a:gd name="T108" fmla="*/ 2147483647 w 1080"/>
                <a:gd name="T109" fmla="*/ 2147483647 h 714"/>
                <a:gd name="T110" fmla="*/ 2147483647 w 1080"/>
                <a:gd name="T111" fmla="*/ 2147483647 h 714"/>
                <a:gd name="T112" fmla="*/ 2147483647 w 1080"/>
                <a:gd name="T113" fmla="*/ 2147483647 h 714"/>
                <a:gd name="T114" fmla="*/ 2147483647 w 1080"/>
                <a:gd name="T115" fmla="*/ 2147483647 h 714"/>
                <a:gd name="T116" fmla="*/ 2147483647 w 1080"/>
                <a:gd name="T117" fmla="*/ 2147483647 h 714"/>
                <a:gd name="T118" fmla="*/ 2147483647 w 1080"/>
                <a:gd name="T119" fmla="*/ 2147483647 h 714"/>
                <a:gd name="T120" fmla="*/ 2147483647 w 1080"/>
                <a:gd name="T121" fmla="*/ 2147483647 h 714"/>
                <a:gd name="T122" fmla="*/ 2147483647 w 1080"/>
                <a:gd name="T123" fmla="*/ 2147483647 h 71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80"/>
                <a:gd name="T187" fmla="*/ 0 h 714"/>
                <a:gd name="T188" fmla="*/ 1080 w 1080"/>
                <a:gd name="T189" fmla="*/ 714 h 71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80" h="714">
                  <a:moveTo>
                    <a:pt x="78" y="714"/>
                  </a:moveTo>
                  <a:lnTo>
                    <a:pt x="84" y="714"/>
                  </a:lnTo>
                  <a:lnTo>
                    <a:pt x="78" y="714"/>
                  </a:lnTo>
                  <a:close/>
                  <a:moveTo>
                    <a:pt x="1032" y="372"/>
                  </a:moveTo>
                  <a:lnTo>
                    <a:pt x="1032" y="366"/>
                  </a:lnTo>
                  <a:lnTo>
                    <a:pt x="1032" y="372"/>
                  </a:lnTo>
                  <a:close/>
                  <a:moveTo>
                    <a:pt x="270" y="192"/>
                  </a:moveTo>
                  <a:lnTo>
                    <a:pt x="276" y="192"/>
                  </a:lnTo>
                  <a:lnTo>
                    <a:pt x="276" y="186"/>
                  </a:lnTo>
                  <a:lnTo>
                    <a:pt x="270" y="186"/>
                  </a:lnTo>
                  <a:lnTo>
                    <a:pt x="270" y="192"/>
                  </a:lnTo>
                  <a:close/>
                  <a:moveTo>
                    <a:pt x="258" y="192"/>
                  </a:moveTo>
                  <a:lnTo>
                    <a:pt x="264" y="192"/>
                  </a:lnTo>
                  <a:lnTo>
                    <a:pt x="264" y="186"/>
                  </a:lnTo>
                  <a:lnTo>
                    <a:pt x="258" y="186"/>
                  </a:lnTo>
                  <a:lnTo>
                    <a:pt x="258" y="192"/>
                  </a:lnTo>
                  <a:close/>
                  <a:moveTo>
                    <a:pt x="0" y="690"/>
                  </a:moveTo>
                  <a:lnTo>
                    <a:pt x="6" y="690"/>
                  </a:lnTo>
                  <a:lnTo>
                    <a:pt x="6" y="684"/>
                  </a:lnTo>
                  <a:lnTo>
                    <a:pt x="0" y="684"/>
                  </a:lnTo>
                  <a:lnTo>
                    <a:pt x="0" y="690"/>
                  </a:lnTo>
                  <a:close/>
                  <a:moveTo>
                    <a:pt x="1074" y="324"/>
                  </a:moveTo>
                  <a:lnTo>
                    <a:pt x="1080" y="324"/>
                  </a:lnTo>
                  <a:lnTo>
                    <a:pt x="1080" y="330"/>
                  </a:lnTo>
                  <a:lnTo>
                    <a:pt x="1080" y="324"/>
                  </a:lnTo>
                  <a:lnTo>
                    <a:pt x="1074" y="324"/>
                  </a:lnTo>
                  <a:lnTo>
                    <a:pt x="1068" y="324"/>
                  </a:lnTo>
                  <a:lnTo>
                    <a:pt x="1074" y="324"/>
                  </a:lnTo>
                  <a:close/>
                  <a:moveTo>
                    <a:pt x="1038" y="366"/>
                  </a:moveTo>
                  <a:lnTo>
                    <a:pt x="1038" y="360"/>
                  </a:lnTo>
                  <a:lnTo>
                    <a:pt x="1044" y="360"/>
                  </a:lnTo>
                  <a:lnTo>
                    <a:pt x="1050" y="360"/>
                  </a:lnTo>
                  <a:lnTo>
                    <a:pt x="1044" y="360"/>
                  </a:lnTo>
                  <a:lnTo>
                    <a:pt x="1044" y="354"/>
                  </a:lnTo>
                  <a:lnTo>
                    <a:pt x="1044" y="360"/>
                  </a:lnTo>
                  <a:lnTo>
                    <a:pt x="1038" y="360"/>
                  </a:lnTo>
                  <a:lnTo>
                    <a:pt x="1044" y="360"/>
                  </a:lnTo>
                  <a:lnTo>
                    <a:pt x="1038" y="360"/>
                  </a:lnTo>
                  <a:lnTo>
                    <a:pt x="1032" y="360"/>
                  </a:lnTo>
                  <a:lnTo>
                    <a:pt x="1038" y="366"/>
                  </a:lnTo>
                  <a:close/>
                  <a:moveTo>
                    <a:pt x="1008" y="354"/>
                  </a:moveTo>
                  <a:lnTo>
                    <a:pt x="1014" y="354"/>
                  </a:lnTo>
                  <a:lnTo>
                    <a:pt x="1014" y="360"/>
                  </a:lnTo>
                  <a:lnTo>
                    <a:pt x="1020" y="360"/>
                  </a:lnTo>
                  <a:lnTo>
                    <a:pt x="1020" y="354"/>
                  </a:lnTo>
                  <a:lnTo>
                    <a:pt x="1014" y="354"/>
                  </a:lnTo>
                  <a:lnTo>
                    <a:pt x="1008" y="354"/>
                  </a:lnTo>
                  <a:close/>
                  <a:moveTo>
                    <a:pt x="1038" y="342"/>
                  </a:moveTo>
                  <a:lnTo>
                    <a:pt x="1044" y="342"/>
                  </a:lnTo>
                  <a:lnTo>
                    <a:pt x="1044" y="348"/>
                  </a:lnTo>
                  <a:lnTo>
                    <a:pt x="1050" y="354"/>
                  </a:lnTo>
                  <a:lnTo>
                    <a:pt x="1056" y="354"/>
                  </a:lnTo>
                  <a:lnTo>
                    <a:pt x="1056" y="348"/>
                  </a:lnTo>
                  <a:lnTo>
                    <a:pt x="1062" y="348"/>
                  </a:lnTo>
                  <a:lnTo>
                    <a:pt x="1056" y="348"/>
                  </a:lnTo>
                  <a:lnTo>
                    <a:pt x="1056" y="342"/>
                  </a:lnTo>
                  <a:lnTo>
                    <a:pt x="1062" y="342"/>
                  </a:lnTo>
                  <a:lnTo>
                    <a:pt x="1056" y="342"/>
                  </a:lnTo>
                  <a:lnTo>
                    <a:pt x="1050" y="342"/>
                  </a:lnTo>
                  <a:lnTo>
                    <a:pt x="1050" y="336"/>
                  </a:lnTo>
                  <a:lnTo>
                    <a:pt x="1050" y="342"/>
                  </a:lnTo>
                  <a:lnTo>
                    <a:pt x="1044" y="342"/>
                  </a:lnTo>
                  <a:lnTo>
                    <a:pt x="1038" y="342"/>
                  </a:lnTo>
                  <a:close/>
                  <a:moveTo>
                    <a:pt x="180" y="18"/>
                  </a:moveTo>
                  <a:lnTo>
                    <a:pt x="186" y="18"/>
                  </a:lnTo>
                  <a:lnTo>
                    <a:pt x="186" y="24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36"/>
                  </a:lnTo>
                  <a:lnTo>
                    <a:pt x="192" y="42"/>
                  </a:lnTo>
                  <a:lnTo>
                    <a:pt x="198" y="48"/>
                  </a:lnTo>
                  <a:lnTo>
                    <a:pt x="198" y="42"/>
                  </a:lnTo>
                  <a:lnTo>
                    <a:pt x="198" y="36"/>
                  </a:lnTo>
                  <a:lnTo>
                    <a:pt x="198" y="30"/>
                  </a:lnTo>
                  <a:lnTo>
                    <a:pt x="198" y="24"/>
                  </a:lnTo>
                  <a:lnTo>
                    <a:pt x="198" y="18"/>
                  </a:lnTo>
                  <a:lnTo>
                    <a:pt x="192" y="12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80" y="18"/>
                  </a:lnTo>
                  <a:close/>
                  <a:moveTo>
                    <a:pt x="0" y="576"/>
                  </a:moveTo>
                  <a:lnTo>
                    <a:pt x="6" y="582"/>
                  </a:lnTo>
                  <a:lnTo>
                    <a:pt x="6" y="588"/>
                  </a:lnTo>
                  <a:lnTo>
                    <a:pt x="6" y="594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8" y="588"/>
                  </a:lnTo>
                  <a:lnTo>
                    <a:pt x="18" y="582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24" y="570"/>
                  </a:lnTo>
                  <a:lnTo>
                    <a:pt x="24" y="564"/>
                  </a:lnTo>
                  <a:lnTo>
                    <a:pt x="24" y="558"/>
                  </a:lnTo>
                  <a:lnTo>
                    <a:pt x="24" y="564"/>
                  </a:lnTo>
                  <a:lnTo>
                    <a:pt x="18" y="564"/>
                  </a:lnTo>
                  <a:lnTo>
                    <a:pt x="12" y="564"/>
                  </a:lnTo>
                  <a:lnTo>
                    <a:pt x="6" y="564"/>
                  </a:lnTo>
                  <a:lnTo>
                    <a:pt x="0" y="570"/>
                  </a:lnTo>
                  <a:lnTo>
                    <a:pt x="0" y="576"/>
                  </a:lnTo>
                  <a:close/>
                  <a:moveTo>
                    <a:pt x="216" y="60"/>
                  </a:moveTo>
                  <a:lnTo>
                    <a:pt x="216" y="66"/>
                  </a:lnTo>
                  <a:lnTo>
                    <a:pt x="222" y="72"/>
                  </a:lnTo>
                  <a:lnTo>
                    <a:pt x="228" y="72"/>
                  </a:lnTo>
                  <a:lnTo>
                    <a:pt x="234" y="78"/>
                  </a:lnTo>
                  <a:lnTo>
                    <a:pt x="234" y="72"/>
                  </a:lnTo>
                  <a:lnTo>
                    <a:pt x="240" y="72"/>
                  </a:lnTo>
                  <a:lnTo>
                    <a:pt x="246" y="66"/>
                  </a:lnTo>
                  <a:lnTo>
                    <a:pt x="246" y="60"/>
                  </a:lnTo>
                  <a:lnTo>
                    <a:pt x="240" y="54"/>
                  </a:lnTo>
                  <a:lnTo>
                    <a:pt x="234" y="54"/>
                  </a:lnTo>
                  <a:lnTo>
                    <a:pt x="228" y="54"/>
                  </a:lnTo>
                  <a:lnTo>
                    <a:pt x="228" y="48"/>
                  </a:lnTo>
                  <a:lnTo>
                    <a:pt x="222" y="48"/>
                  </a:lnTo>
                  <a:lnTo>
                    <a:pt x="216" y="48"/>
                  </a:lnTo>
                  <a:lnTo>
                    <a:pt x="216" y="54"/>
                  </a:lnTo>
                  <a:lnTo>
                    <a:pt x="216" y="60"/>
                  </a:lnTo>
                  <a:close/>
                  <a:moveTo>
                    <a:pt x="60" y="552"/>
                  </a:moveTo>
                  <a:lnTo>
                    <a:pt x="60" y="558"/>
                  </a:lnTo>
                  <a:lnTo>
                    <a:pt x="60" y="564"/>
                  </a:lnTo>
                  <a:lnTo>
                    <a:pt x="66" y="564"/>
                  </a:lnTo>
                  <a:lnTo>
                    <a:pt x="72" y="564"/>
                  </a:lnTo>
                  <a:lnTo>
                    <a:pt x="78" y="564"/>
                  </a:lnTo>
                  <a:lnTo>
                    <a:pt x="78" y="570"/>
                  </a:lnTo>
                  <a:lnTo>
                    <a:pt x="78" y="576"/>
                  </a:lnTo>
                  <a:lnTo>
                    <a:pt x="84" y="576"/>
                  </a:lnTo>
                  <a:lnTo>
                    <a:pt x="84" y="582"/>
                  </a:lnTo>
                  <a:lnTo>
                    <a:pt x="90" y="582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02" y="588"/>
                  </a:lnTo>
                  <a:lnTo>
                    <a:pt x="108" y="588"/>
                  </a:lnTo>
                  <a:lnTo>
                    <a:pt x="108" y="594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20" y="606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120" y="636"/>
                  </a:lnTo>
                  <a:lnTo>
                    <a:pt x="114" y="636"/>
                  </a:lnTo>
                  <a:lnTo>
                    <a:pt x="114" y="642"/>
                  </a:lnTo>
                  <a:lnTo>
                    <a:pt x="114" y="648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72"/>
                  </a:lnTo>
                  <a:lnTo>
                    <a:pt x="108" y="678"/>
                  </a:lnTo>
                  <a:lnTo>
                    <a:pt x="108" y="684"/>
                  </a:lnTo>
                  <a:lnTo>
                    <a:pt x="108" y="690"/>
                  </a:lnTo>
                  <a:lnTo>
                    <a:pt x="114" y="690"/>
                  </a:lnTo>
                  <a:lnTo>
                    <a:pt x="114" y="696"/>
                  </a:lnTo>
                  <a:lnTo>
                    <a:pt x="120" y="702"/>
                  </a:lnTo>
                  <a:lnTo>
                    <a:pt x="126" y="702"/>
                  </a:lnTo>
                  <a:lnTo>
                    <a:pt x="132" y="702"/>
                  </a:lnTo>
                  <a:lnTo>
                    <a:pt x="138" y="702"/>
                  </a:lnTo>
                  <a:lnTo>
                    <a:pt x="138" y="708"/>
                  </a:lnTo>
                  <a:lnTo>
                    <a:pt x="144" y="708"/>
                  </a:lnTo>
                  <a:lnTo>
                    <a:pt x="144" y="702"/>
                  </a:lnTo>
                  <a:lnTo>
                    <a:pt x="150" y="696"/>
                  </a:lnTo>
                  <a:lnTo>
                    <a:pt x="150" y="690"/>
                  </a:lnTo>
                  <a:lnTo>
                    <a:pt x="156" y="690"/>
                  </a:lnTo>
                  <a:lnTo>
                    <a:pt x="162" y="690"/>
                  </a:lnTo>
                  <a:lnTo>
                    <a:pt x="168" y="690"/>
                  </a:lnTo>
                  <a:lnTo>
                    <a:pt x="168" y="684"/>
                  </a:lnTo>
                  <a:lnTo>
                    <a:pt x="174" y="684"/>
                  </a:lnTo>
                  <a:lnTo>
                    <a:pt x="180" y="684"/>
                  </a:lnTo>
                  <a:lnTo>
                    <a:pt x="180" y="678"/>
                  </a:lnTo>
                  <a:lnTo>
                    <a:pt x="174" y="678"/>
                  </a:lnTo>
                  <a:lnTo>
                    <a:pt x="174" y="672"/>
                  </a:lnTo>
                  <a:lnTo>
                    <a:pt x="174" y="666"/>
                  </a:lnTo>
                  <a:lnTo>
                    <a:pt x="174" y="660"/>
                  </a:lnTo>
                  <a:lnTo>
                    <a:pt x="180" y="654"/>
                  </a:lnTo>
                  <a:lnTo>
                    <a:pt x="186" y="654"/>
                  </a:lnTo>
                  <a:lnTo>
                    <a:pt x="192" y="654"/>
                  </a:lnTo>
                  <a:lnTo>
                    <a:pt x="192" y="648"/>
                  </a:lnTo>
                  <a:lnTo>
                    <a:pt x="198" y="648"/>
                  </a:lnTo>
                  <a:lnTo>
                    <a:pt x="204" y="648"/>
                  </a:lnTo>
                  <a:lnTo>
                    <a:pt x="204" y="642"/>
                  </a:lnTo>
                  <a:lnTo>
                    <a:pt x="204" y="636"/>
                  </a:lnTo>
                  <a:lnTo>
                    <a:pt x="210" y="636"/>
                  </a:lnTo>
                  <a:lnTo>
                    <a:pt x="216" y="636"/>
                  </a:lnTo>
                  <a:lnTo>
                    <a:pt x="222" y="636"/>
                  </a:lnTo>
                  <a:lnTo>
                    <a:pt x="222" y="642"/>
                  </a:lnTo>
                  <a:lnTo>
                    <a:pt x="216" y="642"/>
                  </a:lnTo>
                  <a:lnTo>
                    <a:pt x="216" y="648"/>
                  </a:lnTo>
                  <a:lnTo>
                    <a:pt x="222" y="648"/>
                  </a:lnTo>
                  <a:lnTo>
                    <a:pt x="222" y="642"/>
                  </a:lnTo>
                  <a:lnTo>
                    <a:pt x="228" y="642"/>
                  </a:lnTo>
                  <a:lnTo>
                    <a:pt x="234" y="642"/>
                  </a:lnTo>
                  <a:lnTo>
                    <a:pt x="240" y="642"/>
                  </a:lnTo>
                  <a:lnTo>
                    <a:pt x="246" y="642"/>
                  </a:lnTo>
                  <a:lnTo>
                    <a:pt x="246" y="648"/>
                  </a:lnTo>
                  <a:lnTo>
                    <a:pt x="252" y="648"/>
                  </a:lnTo>
                  <a:lnTo>
                    <a:pt x="258" y="648"/>
                  </a:lnTo>
                  <a:lnTo>
                    <a:pt x="258" y="654"/>
                  </a:lnTo>
                  <a:lnTo>
                    <a:pt x="264" y="654"/>
                  </a:lnTo>
                  <a:lnTo>
                    <a:pt x="270" y="654"/>
                  </a:lnTo>
                  <a:lnTo>
                    <a:pt x="270" y="648"/>
                  </a:lnTo>
                  <a:lnTo>
                    <a:pt x="276" y="648"/>
                  </a:lnTo>
                  <a:lnTo>
                    <a:pt x="282" y="642"/>
                  </a:lnTo>
                  <a:lnTo>
                    <a:pt x="288" y="642"/>
                  </a:lnTo>
                  <a:lnTo>
                    <a:pt x="294" y="642"/>
                  </a:lnTo>
                  <a:lnTo>
                    <a:pt x="294" y="636"/>
                  </a:lnTo>
                  <a:lnTo>
                    <a:pt x="288" y="636"/>
                  </a:lnTo>
                  <a:lnTo>
                    <a:pt x="288" y="630"/>
                  </a:lnTo>
                  <a:lnTo>
                    <a:pt x="282" y="624"/>
                  </a:lnTo>
                  <a:lnTo>
                    <a:pt x="276" y="624"/>
                  </a:lnTo>
                  <a:lnTo>
                    <a:pt x="270" y="624"/>
                  </a:lnTo>
                  <a:lnTo>
                    <a:pt x="270" y="618"/>
                  </a:lnTo>
                  <a:lnTo>
                    <a:pt x="270" y="624"/>
                  </a:lnTo>
                  <a:lnTo>
                    <a:pt x="264" y="624"/>
                  </a:lnTo>
                  <a:lnTo>
                    <a:pt x="264" y="618"/>
                  </a:lnTo>
                  <a:lnTo>
                    <a:pt x="258" y="618"/>
                  </a:lnTo>
                  <a:lnTo>
                    <a:pt x="252" y="618"/>
                  </a:lnTo>
                  <a:lnTo>
                    <a:pt x="252" y="612"/>
                  </a:lnTo>
                  <a:lnTo>
                    <a:pt x="246" y="606"/>
                  </a:lnTo>
                  <a:lnTo>
                    <a:pt x="240" y="600"/>
                  </a:lnTo>
                  <a:lnTo>
                    <a:pt x="234" y="600"/>
                  </a:lnTo>
                  <a:lnTo>
                    <a:pt x="228" y="594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22" y="582"/>
                  </a:lnTo>
                  <a:lnTo>
                    <a:pt x="216" y="582"/>
                  </a:lnTo>
                  <a:lnTo>
                    <a:pt x="210" y="582"/>
                  </a:lnTo>
                  <a:lnTo>
                    <a:pt x="204" y="582"/>
                  </a:lnTo>
                  <a:lnTo>
                    <a:pt x="198" y="582"/>
                  </a:lnTo>
                  <a:lnTo>
                    <a:pt x="192" y="582"/>
                  </a:lnTo>
                  <a:lnTo>
                    <a:pt x="186" y="582"/>
                  </a:lnTo>
                  <a:lnTo>
                    <a:pt x="180" y="582"/>
                  </a:lnTo>
                  <a:lnTo>
                    <a:pt x="180" y="576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70"/>
                  </a:lnTo>
                  <a:lnTo>
                    <a:pt x="162" y="570"/>
                  </a:lnTo>
                  <a:lnTo>
                    <a:pt x="162" y="564"/>
                  </a:lnTo>
                  <a:lnTo>
                    <a:pt x="156" y="564"/>
                  </a:lnTo>
                  <a:lnTo>
                    <a:pt x="150" y="564"/>
                  </a:lnTo>
                  <a:lnTo>
                    <a:pt x="144" y="564"/>
                  </a:lnTo>
                  <a:lnTo>
                    <a:pt x="144" y="558"/>
                  </a:lnTo>
                  <a:lnTo>
                    <a:pt x="138" y="558"/>
                  </a:lnTo>
                  <a:lnTo>
                    <a:pt x="138" y="552"/>
                  </a:lnTo>
                  <a:lnTo>
                    <a:pt x="138" y="546"/>
                  </a:lnTo>
                  <a:lnTo>
                    <a:pt x="138" y="540"/>
                  </a:lnTo>
                  <a:lnTo>
                    <a:pt x="138" y="534"/>
                  </a:lnTo>
                  <a:lnTo>
                    <a:pt x="144" y="528"/>
                  </a:lnTo>
                  <a:lnTo>
                    <a:pt x="144" y="522"/>
                  </a:lnTo>
                  <a:lnTo>
                    <a:pt x="150" y="522"/>
                  </a:lnTo>
                  <a:lnTo>
                    <a:pt x="150" y="516"/>
                  </a:lnTo>
                  <a:lnTo>
                    <a:pt x="156" y="510"/>
                  </a:lnTo>
                  <a:lnTo>
                    <a:pt x="156" y="504"/>
                  </a:lnTo>
                  <a:lnTo>
                    <a:pt x="162" y="504"/>
                  </a:lnTo>
                  <a:lnTo>
                    <a:pt x="168" y="504"/>
                  </a:lnTo>
                  <a:lnTo>
                    <a:pt x="174" y="504"/>
                  </a:lnTo>
                  <a:lnTo>
                    <a:pt x="180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8" y="504"/>
                  </a:lnTo>
                  <a:lnTo>
                    <a:pt x="204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6" y="510"/>
                  </a:lnTo>
                  <a:lnTo>
                    <a:pt x="216" y="516"/>
                  </a:lnTo>
                  <a:lnTo>
                    <a:pt x="210" y="516"/>
                  </a:lnTo>
                  <a:lnTo>
                    <a:pt x="216" y="516"/>
                  </a:lnTo>
                  <a:lnTo>
                    <a:pt x="222" y="522"/>
                  </a:lnTo>
                  <a:lnTo>
                    <a:pt x="228" y="522"/>
                  </a:lnTo>
                  <a:lnTo>
                    <a:pt x="234" y="528"/>
                  </a:lnTo>
                  <a:lnTo>
                    <a:pt x="234" y="534"/>
                  </a:lnTo>
                  <a:lnTo>
                    <a:pt x="240" y="534"/>
                  </a:lnTo>
                  <a:lnTo>
                    <a:pt x="240" y="540"/>
                  </a:lnTo>
                  <a:lnTo>
                    <a:pt x="246" y="540"/>
                  </a:lnTo>
                  <a:lnTo>
                    <a:pt x="252" y="540"/>
                  </a:lnTo>
                  <a:lnTo>
                    <a:pt x="252" y="546"/>
                  </a:lnTo>
                  <a:lnTo>
                    <a:pt x="246" y="546"/>
                  </a:lnTo>
                  <a:lnTo>
                    <a:pt x="240" y="546"/>
                  </a:lnTo>
                  <a:lnTo>
                    <a:pt x="246" y="546"/>
                  </a:lnTo>
                  <a:lnTo>
                    <a:pt x="246" y="552"/>
                  </a:lnTo>
                  <a:lnTo>
                    <a:pt x="252" y="552"/>
                  </a:lnTo>
                  <a:lnTo>
                    <a:pt x="258" y="552"/>
                  </a:lnTo>
                  <a:lnTo>
                    <a:pt x="258" y="546"/>
                  </a:lnTo>
                  <a:lnTo>
                    <a:pt x="264" y="546"/>
                  </a:lnTo>
                  <a:lnTo>
                    <a:pt x="264" y="540"/>
                  </a:lnTo>
                  <a:lnTo>
                    <a:pt x="270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8" y="522"/>
                  </a:lnTo>
                  <a:lnTo>
                    <a:pt x="294" y="522"/>
                  </a:lnTo>
                  <a:lnTo>
                    <a:pt x="300" y="516"/>
                  </a:lnTo>
                  <a:lnTo>
                    <a:pt x="306" y="510"/>
                  </a:lnTo>
                  <a:lnTo>
                    <a:pt x="312" y="510"/>
                  </a:lnTo>
                  <a:lnTo>
                    <a:pt x="312" y="504"/>
                  </a:lnTo>
                  <a:lnTo>
                    <a:pt x="318" y="504"/>
                  </a:lnTo>
                  <a:lnTo>
                    <a:pt x="330" y="498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48" y="492"/>
                  </a:lnTo>
                  <a:lnTo>
                    <a:pt x="348" y="498"/>
                  </a:lnTo>
                  <a:lnTo>
                    <a:pt x="354" y="498"/>
                  </a:lnTo>
                  <a:lnTo>
                    <a:pt x="360" y="498"/>
                  </a:lnTo>
                  <a:lnTo>
                    <a:pt x="372" y="498"/>
                  </a:lnTo>
                  <a:lnTo>
                    <a:pt x="378" y="498"/>
                  </a:lnTo>
                  <a:lnTo>
                    <a:pt x="384" y="504"/>
                  </a:lnTo>
                  <a:lnTo>
                    <a:pt x="390" y="504"/>
                  </a:lnTo>
                  <a:lnTo>
                    <a:pt x="396" y="504"/>
                  </a:lnTo>
                  <a:lnTo>
                    <a:pt x="396" y="510"/>
                  </a:lnTo>
                  <a:lnTo>
                    <a:pt x="402" y="510"/>
                  </a:lnTo>
                  <a:lnTo>
                    <a:pt x="408" y="516"/>
                  </a:lnTo>
                  <a:lnTo>
                    <a:pt x="414" y="516"/>
                  </a:lnTo>
                  <a:lnTo>
                    <a:pt x="414" y="522"/>
                  </a:lnTo>
                  <a:lnTo>
                    <a:pt x="420" y="522"/>
                  </a:lnTo>
                  <a:lnTo>
                    <a:pt x="426" y="522"/>
                  </a:lnTo>
                  <a:lnTo>
                    <a:pt x="432" y="522"/>
                  </a:lnTo>
                  <a:lnTo>
                    <a:pt x="438" y="522"/>
                  </a:lnTo>
                  <a:lnTo>
                    <a:pt x="438" y="528"/>
                  </a:lnTo>
                  <a:lnTo>
                    <a:pt x="444" y="528"/>
                  </a:lnTo>
                  <a:lnTo>
                    <a:pt x="450" y="528"/>
                  </a:lnTo>
                  <a:lnTo>
                    <a:pt x="450" y="534"/>
                  </a:lnTo>
                  <a:lnTo>
                    <a:pt x="456" y="534"/>
                  </a:lnTo>
                  <a:lnTo>
                    <a:pt x="456" y="540"/>
                  </a:lnTo>
                  <a:lnTo>
                    <a:pt x="462" y="540"/>
                  </a:lnTo>
                  <a:lnTo>
                    <a:pt x="468" y="540"/>
                  </a:lnTo>
                  <a:lnTo>
                    <a:pt x="468" y="546"/>
                  </a:lnTo>
                  <a:lnTo>
                    <a:pt x="474" y="546"/>
                  </a:lnTo>
                  <a:lnTo>
                    <a:pt x="480" y="552"/>
                  </a:lnTo>
                  <a:lnTo>
                    <a:pt x="486" y="552"/>
                  </a:lnTo>
                  <a:lnTo>
                    <a:pt x="492" y="552"/>
                  </a:lnTo>
                  <a:lnTo>
                    <a:pt x="492" y="558"/>
                  </a:lnTo>
                  <a:lnTo>
                    <a:pt x="498" y="558"/>
                  </a:lnTo>
                  <a:lnTo>
                    <a:pt x="504" y="558"/>
                  </a:lnTo>
                  <a:lnTo>
                    <a:pt x="510" y="564"/>
                  </a:lnTo>
                  <a:lnTo>
                    <a:pt x="516" y="564"/>
                  </a:lnTo>
                  <a:lnTo>
                    <a:pt x="522" y="564"/>
                  </a:lnTo>
                  <a:lnTo>
                    <a:pt x="522" y="570"/>
                  </a:lnTo>
                  <a:lnTo>
                    <a:pt x="528" y="570"/>
                  </a:lnTo>
                  <a:lnTo>
                    <a:pt x="534" y="570"/>
                  </a:lnTo>
                  <a:lnTo>
                    <a:pt x="540" y="570"/>
                  </a:lnTo>
                  <a:lnTo>
                    <a:pt x="540" y="576"/>
                  </a:lnTo>
                  <a:lnTo>
                    <a:pt x="546" y="576"/>
                  </a:lnTo>
                  <a:lnTo>
                    <a:pt x="552" y="576"/>
                  </a:lnTo>
                  <a:lnTo>
                    <a:pt x="558" y="576"/>
                  </a:lnTo>
                  <a:lnTo>
                    <a:pt x="558" y="582"/>
                  </a:lnTo>
                  <a:lnTo>
                    <a:pt x="564" y="582"/>
                  </a:lnTo>
                  <a:lnTo>
                    <a:pt x="570" y="582"/>
                  </a:lnTo>
                  <a:lnTo>
                    <a:pt x="576" y="582"/>
                  </a:lnTo>
                  <a:lnTo>
                    <a:pt x="576" y="588"/>
                  </a:lnTo>
                  <a:lnTo>
                    <a:pt x="582" y="588"/>
                  </a:lnTo>
                  <a:lnTo>
                    <a:pt x="588" y="588"/>
                  </a:lnTo>
                  <a:lnTo>
                    <a:pt x="588" y="594"/>
                  </a:lnTo>
                  <a:lnTo>
                    <a:pt x="594" y="594"/>
                  </a:lnTo>
                  <a:lnTo>
                    <a:pt x="600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06" y="606"/>
                  </a:lnTo>
                  <a:lnTo>
                    <a:pt x="612" y="606"/>
                  </a:lnTo>
                  <a:lnTo>
                    <a:pt x="618" y="612"/>
                  </a:lnTo>
                  <a:lnTo>
                    <a:pt x="624" y="612"/>
                  </a:lnTo>
                  <a:lnTo>
                    <a:pt x="624" y="618"/>
                  </a:lnTo>
                  <a:lnTo>
                    <a:pt x="624" y="612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30" y="600"/>
                  </a:lnTo>
                  <a:lnTo>
                    <a:pt x="630" y="594"/>
                  </a:lnTo>
                  <a:lnTo>
                    <a:pt x="630" y="588"/>
                  </a:lnTo>
                  <a:lnTo>
                    <a:pt x="630" y="582"/>
                  </a:lnTo>
                  <a:lnTo>
                    <a:pt x="630" y="576"/>
                  </a:lnTo>
                  <a:lnTo>
                    <a:pt x="636" y="570"/>
                  </a:lnTo>
                  <a:lnTo>
                    <a:pt x="630" y="570"/>
                  </a:lnTo>
                  <a:lnTo>
                    <a:pt x="630" y="564"/>
                  </a:lnTo>
                  <a:lnTo>
                    <a:pt x="624" y="558"/>
                  </a:lnTo>
                  <a:lnTo>
                    <a:pt x="630" y="552"/>
                  </a:lnTo>
                  <a:lnTo>
                    <a:pt x="630" y="546"/>
                  </a:lnTo>
                  <a:lnTo>
                    <a:pt x="630" y="540"/>
                  </a:lnTo>
                  <a:lnTo>
                    <a:pt x="636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42" y="522"/>
                  </a:lnTo>
                  <a:lnTo>
                    <a:pt x="648" y="516"/>
                  </a:lnTo>
                  <a:lnTo>
                    <a:pt x="654" y="510"/>
                  </a:lnTo>
                  <a:lnTo>
                    <a:pt x="654" y="504"/>
                  </a:lnTo>
                  <a:lnTo>
                    <a:pt x="660" y="498"/>
                  </a:lnTo>
                  <a:lnTo>
                    <a:pt x="666" y="492"/>
                  </a:lnTo>
                  <a:lnTo>
                    <a:pt x="678" y="480"/>
                  </a:lnTo>
                  <a:lnTo>
                    <a:pt x="684" y="474"/>
                  </a:lnTo>
                  <a:lnTo>
                    <a:pt x="690" y="474"/>
                  </a:lnTo>
                  <a:lnTo>
                    <a:pt x="690" y="468"/>
                  </a:lnTo>
                  <a:lnTo>
                    <a:pt x="702" y="462"/>
                  </a:lnTo>
                  <a:lnTo>
                    <a:pt x="720" y="450"/>
                  </a:lnTo>
                  <a:lnTo>
                    <a:pt x="726" y="444"/>
                  </a:lnTo>
                  <a:lnTo>
                    <a:pt x="732" y="444"/>
                  </a:lnTo>
                  <a:lnTo>
                    <a:pt x="738" y="438"/>
                  </a:lnTo>
                  <a:lnTo>
                    <a:pt x="744" y="438"/>
                  </a:lnTo>
                  <a:lnTo>
                    <a:pt x="750" y="432"/>
                  </a:lnTo>
                  <a:lnTo>
                    <a:pt x="756" y="432"/>
                  </a:lnTo>
                  <a:lnTo>
                    <a:pt x="762" y="432"/>
                  </a:lnTo>
                  <a:lnTo>
                    <a:pt x="768" y="432"/>
                  </a:lnTo>
                  <a:lnTo>
                    <a:pt x="774" y="432"/>
                  </a:lnTo>
                  <a:lnTo>
                    <a:pt x="780" y="432"/>
                  </a:lnTo>
                  <a:lnTo>
                    <a:pt x="780" y="438"/>
                  </a:lnTo>
                  <a:lnTo>
                    <a:pt x="786" y="438"/>
                  </a:lnTo>
                  <a:lnTo>
                    <a:pt x="792" y="444"/>
                  </a:lnTo>
                  <a:lnTo>
                    <a:pt x="798" y="444"/>
                  </a:lnTo>
                  <a:lnTo>
                    <a:pt x="804" y="444"/>
                  </a:lnTo>
                  <a:lnTo>
                    <a:pt x="810" y="444"/>
                  </a:lnTo>
                  <a:lnTo>
                    <a:pt x="816" y="444"/>
                  </a:lnTo>
                  <a:lnTo>
                    <a:pt x="822" y="444"/>
                  </a:lnTo>
                  <a:lnTo>
                    <a:pt x="828" y="444"/>
                  </a:lnTo>
                  <a:lnTo>
                    <a:pt x="834" y="444"/>
                  </a:lnTo>
                  <a:lnTo>
                    <a:pt x="840" y="444"/>
                  </a:lnTo>
                  <a:lnTo>
                    <a:pt x="846" y="444"/>
                  </a:lnTo>
                  <a:lnTo>
                    <a:pt x="840" y="438"/>
                  </a:lnTo>
                  <a:lnTo>
                    <a:pt x="834" y="438"/>
                  </a:lnTo>
                  <a:lnTo>
                    <a:pt x="834" y="432"/>
                  </a:lnTo>
                  <a:lnTo>
                    <a:pt x="840" y="432"/>
                  </a:lnTo>
                  <a:lnTo>
                    <a:pt x="840" y="426"/>
                  </a:lnTo>
                  <a:lnTo>
                    <a:pt x="846" y="426"/>
                  </a:lnTo>
                  <a:lnTo>
                    <a:pt x="852" y="426"/>
                  </a:lnTo>
                  <a:lnTo>
                    <a:pt x="858" y="426"/>
                  </a:lnTo>
                  <a:lnTo>
                    <a:pt x="858" y="420"/>
                  </a:lnTo>
                  <a:lnTo>
                    <a:pt x="864" y="420"/>
                  </a:lnTo>
                  <a:lnTo>
                    <a:pt x="870" y="420"/>
                  </a:lnTo>
                  <a:lnTo>
                    <a:pt x="870" y="426"/>
                  </a:lnTo>
                  <a:lnTo>
                    <a:pt x="864" y="426"/>
                  </a:lnTo>
                  <a:lnTo>
                    <a:pt x="864" y="432"/>
                  </a:lnTo>
                  <a:lnTo>
                    <a:pt x="858" y="426"/>
                  </a:lnTo>
                  <a:lnTo>
                    <a:pt x="852" y="426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64" y="432"/>
                  </a:lnTo>
                  <a:lnTo>
                    <a:pt x="864" y="438"/>
                  </a:lnTo>
                  <a:lnTo>
                    <a:pt x="864" y="432"/>
                  </a:lnTo>
                  <a:lnTo>
                    <a:pt x="870" y="438"/>
                  </a:lnTo>
                  <a:lnTo>
                    <a:pt x="870" y="432"/>
                  </a:lnTo>
                  <a:lnTo>
                    <a:pt x="876" y="438"/>
                  </a:lnTo>
                  <a:lnTo>
                    <a:pt x="882" y="432"/>
                  </a:lnTo>
                  <a:lnTo>
                    <a:pt x="888" y="432"/>
                  </a:lnTo>
                  <a:lnTo>
                    <a:pt x="882" y="432"/>
                  </a:lnTo>
                  <a:lnTo>
                    <a:pt x="888" y="432"/>
                  </a:lnTo>
                  <a:lnTo>
                    <a:pt x="888" y="426"/>
                  </a:lnTo>
                  <a:lnTo>
                    <a:pt x="894" y="426"/>
                  </a:lnTo>
                  <a:lnTo>
                    <a:pt x="894" y="420"/>
                  </a:lnTo>
                  <a:lnTo>
                    <a:pt x="900" y="420"/>
                  </a:lnTo>
                  <a:lnTo>
                    <a:pt x="906" y="420"/>
                  </a:lnTo>
                  <a:lnTo>
                    <a:pt x="900" y="420"/>
                  </a:lnTo>
                  <a:lnTo>
                    <a:pt x="894" y="420"/>
                  </a:lnTo>
                  <a:lnTo>
                    <a:pt x="894" y="414"/>
                  </a:lnTo>
                  <a:lnTo>
                    <a:pt x="900" y="408"/>
                  </a:lnTo>
                  <a:lnTo>
                    <a:pt x="906" y="408"/>
                  </a:lnTo>
                  <a:lnTo>
                    <a:pt x="912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402"/>
                  </a:lnTo>
                  <a:lnTo>
                    <a:pt x="936" y="402"/>
                  </a:lnTo>
                  <a:lnTo>
                    <a:pt x="942" y="402"/>
                  </a:lnTo>
                  <a:lnTo>
                    <a:pt x="954" y="402"/>
                  </a:lnTo>
                  <a:lnTo>
                    <a:pt x="960" y="402"/>
                  </a:lnTo>
                  <a:lnTo>
                    <a:pt x="954" y="402"/>
                  </a:lnTo>
                  <a:lnTo>
                    <a:pt x="954" y="408"/>
                  </a:lnTo>
                  <a:lnTo>
                    <a:pt x="960" y="408"/>
                  </a:lnTo>
                  <a:lnTo>
                    <a:pt x="960" y="402"/>
                  </a:lnTo>
                  <a:lnTo>
                    <a:pt x="960" y="396"/>
                  </a:lnTo>
                  <a:lnTo>
                    <a:pt x="966" y="396"/>
                  </a:lnTo>
                  <a:lnTo>
                    <a:pt x="966" y="390"/>
                  </a:lnTo>
                  <a:lnTo>
                    <a:pt x="966" y="384"/>
                  </a:lnTo>
                  <a:lnTo>
                    <a:pt x="972" y="384"/>
                  </a:lnTo>
                  <a:lnTo>
                    <a:pt x="972" y="378"/>
                  </a:lnTo>
                  <a:lnTo>
                    <a:pt x="978" y="378"/>
                  </a:lnTo>
                  <a:lnTo>
                    <a:pt x="984" y="378"/>
                  </a:lnTo>
                  <a:lnTo>
                    <a:pt x="990" y="378"/>
                  </a:lnTo>
                  <a:lnTo>
                    <a:pt x="996" y="378"/>
                  </a:lnTo>
                  <a:lnTo>
                    <a:pt x="996" y="372"/>
                  </a:lnTo>
                  <a:lnTo>
                    <a:pt x="1002" y="372"/>
                  </a:lnTo>
                  <a:lnTo>
                    <a:pt x="1002" y="366"/>
                  </a:lnTo>
                  <a:lnTo>
                    <a:pt x="996" y="366"/>
                  </a:lnTo>
                  <a:lnTo>
                    <a:pt x="990" y="366"/>
                  </a:lnTo>
                  <a:lnTo>
                    <a:pt x="984" y="366"/>
                  </a:lnTo>
                  <a:lnTo>
                    <a:pt x="978" y="366"/>
                  </a:lnTo>
                  <a:lnTo>
                    <a:pt x="972" y="366"/>
                  </a:lnTo>
                  <a:lnTo>
                    <a:pt x="972" y="372"/>
                  </a:lnTo>
                  <a:lnTo>
                    <a:pt x="966" y="372"/>
                  </a:lnTo>
                  <a:lnTo>
                    <a:pt x="966" y="378"/>
                  </a:lnTo>
                  <a:lnTo>
                    <a:pt x="960" y="378"/>
                  </a:lnTo>
                  <a:lnTo>
                    <a:pt x="960" y="384"/>
                  </a:lnTo>
                  <a:lnTo>
                    <a:pt x="954" y="384"/>
                  </a:lnTo>
                  <a:lnTo>
                    <a:pt x="954" y="390"/>
                  </a:lnTo>
                  <a:lnTo>
                    <a:pt x="960" y="390"/>
                  </a:lnTo>
                  <a:lnTo>
                    <a:pt x="960" y="396"/>
                  </a:lnTo>
                  <a:lnTo>
                    <a:pt x="960" y="390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36" y="384"/>
                  </a:lnTo>
                  <a:lnTo>
                    <a:pt x="942" y="384"/>
                  </a:lnTo>
                  <a:lnTo>
                    <a:pt x="936" y="384"/>
                  </a:lnTo>
                  <a:lnTo>
                    <a:pt x="942" y="384"/>
                  </a:lnTo>
                  <a:lnTo>
                    <a:pt x="948" y="384"/>
                  </a:lnTo>
                  <a:lnTo>
                    <a:pt x="948" y="390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36" y="384"/>
                  </a:lnTo>
                  <a:lnTo>
                    <a:pt x="930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24" y="384"/>
                  </a:lnTo>
                  <a:lnTo>
                    <a:pt x="930" y="378"/>
                  </a:lnTo>
                  <a:lnTo>
                    <a:pt x="924" y="378"/>
                  </a:lnTo>
                  <a:lnTo>
                    <a:pt x="918" y="378"/>
                  </a:lnTo>
                  <a:lnTo>
                    <a:pt x="912" y="378"/>
                  </a:lnTo>
                  <a:lnTo>
                    <a:pt x="912" y="372"/>
                  </a:lnTo>
                  <a:lnTo>
                    <a:pt x="912" y="378"/>
                  </a:lnTo>
                  <a:lnTo>
                    <a:pt x="912" y="372"/>
                  </a:lnTo>
                  <a:lnTo>
                    <a:pt x="918" y="372"/>
                  </a:lnTo>
                  <a:lnTo>
                    <a:pt x="924" y="372"/>
                  </a:lnTo>
                  <a:lnTo>
                    <a:pt x="924" y="378"/>
                  </a:lnTo>
                  <a:lnTo>
                    <a:pt x="930" y="378"/>
                  </a:lnTo>
                  <a:lnTo>
                    <a:pt x="936" y="378"/>
                  </a:lnTo>
                  <a:lnTo>
                    <a:pt x="936" y="384"/>
                  </a:lnTo>
                  <a:lnTo>
                    <a:pt x="936" y="378"/>
                  </a:lnTo>
                  <a:lnTo>
                    <a:pt x="930" y="378"/>
                  </a:lnTo>
                  <a:lnTo>
                    <a:pt x="924" y="372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2" y="360"/>
                  </a:lnTo>
                  <a:lnTo>
                    <a:pt x="912" y="354"/>
                  </a:lnTo>
                  <a:lnTo>
                    <a:pt x="906" y="348"/>
                  </a:lnTo>
                  <a:lnTo>
                    <a:pt x="906" y="342"/>
                  </a:lnTo>
                  <a:lnTo>
                    <a:pt x="906" y="336"/>
                  </a:lnTo>
                  <a:lnTo>
                    <a:pt x="900" y="336"/>
                  </a:lnTo>
                  <a:lnTo>
                    <a:pt x="900" y="330"/>
                  </a:lnTo>
                  <a:lnTo>
                    <a:pt x="900" y="324"/>
                  </a:lnTo>
                  <a:lnTo>
                    <a:pt x="900" y="330"/>
                  </a:lnTo>
                  <a:lnTo>
                    <a:pt x="906" y="330"/>
                  </a:lnTo>
                  <a:lnTo>
                    <a:pt x="912" y="330"/>
                  </a:lnTo>
                  <a:lnTo>
                    <a:pt x="906" y="330"/>
                  </a:lnTo>
                  <a:lnTo>
                    <a:pt x="912" y="330"/>
                  </a:lnTo>
                  <a:lnTo>
                    <a:pt x="918" y="330"/>
                  </a:lnTo>
                  <a:lnTo>
                    <a:pt x="918" y="336"/>
                  </a:lnTo>
                  <a:lnTo>
                    <a:pt x="924" y="336"/>
                  </a:lnTo>
                  <a:lnTo>
                    <a:pt x="918" y="336"/>
                  </a:lnTo>
                  <a:lnTo>
                    <a:pt x="912" y="336"/>
                  </a:lnTo>
                  <a:lnTo>
                    <a:pt x="918" y="336"/>
                  </a:lnTo>
                  <a:lnTo>
                    <a:pt x="912" y="336"/>
                  </a:lnTo>
                  <a:lnTo>
                    <a:pt x="918" y="342"/>
                  </a:lnTo>
                  <a:lnTo>
                    <a:pt x="918" y="336"/>
                  </a:lnTo>
                  <a:lnTo>
                    <a:pt x="924" y="336"/>
                  </a:lnTo>
                  <a:lnTo>
                    <a:pt x="924" y="330"/>
                  </a:lnTo>
                  <a:lnTo>
                    <a:pt x="918" y="330"/>
                  </a:lnTo>
                  <a:lnTo>
                    <a:pt x="912" y="330"/>
                  </a:lnTo>
                  <a:lnTo>
                    <a:pt x="906" y="330"/>
                  </a:lnTo>
                  <a:lnTo>
                    <a:pt x="900" y="324"/>
                  </a:lnTo>
                  <a:lnTo>
                    <a:pt x="894" y="324"/>
                  </a:lnTo>
                  <a:lnTo>
                    <a:pt x="888" y="324"/>
                  </a:lnTo>
                  <a:lnTo>
                    <a:pt x="888" y="318"/>
                  </a:lnTo>
                  <a:lnTo>
                    <a:pt x="882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76" y="288"/>
                  </a:lnTo>
                  <a:lnTo>
                    <a:pt x="876" y="282"/>
                  </a:lnTo>
                  <a:lnTo>
                    <a:pt x="876" y="276"/>
                  </a:lnTo>
                  <a:lnTo>
                    <a:pt x="876" y="270"/>
                  </a:lnTo>
                  <a:lnTo>
                    <a:pt x="882" y="270"/>
                  </a:lnTo>
                  <a:lnTo>
                    <a:pt x="882" y="264"/>
                  </a:lnTo>
                  <a:lnTo>
                    <a:pt x="888" y="264"/>
                  </a:lnTo>
                  <a:lnTo>
                    <a:pt x="888" y="258"/>
                  </a:lnTo>
                  <a:lnTo>
                    <a:pt x="894" y="252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900" y="234"/>
                  </a:lnTo>
                  <a:lnTo>
                    <a:pt x="906" y="228"/>
                  </a:lnTo>
                  <a:lnTo>
                    <a:pt x="906" y="222"/>
                  </a:lnTo>
                  <a:lnTo>
                    <a:pt x="906" y="216"/>
                  </a:lnTo>
                  <a:lnTo>
                    <a:pt x="906" y="210"/>
                  </a:lnTo>
                  <a:lnTo>
                    <a:pt x="900" y="204"/>
                  </a:lnTo>
                  <a:lnTo>
                    <a:pt x="894" y="210"/>
                  </a:lnTo>
                  <a:lnTo>
                    <a:pt x="894" y="216"/>
                  </a:lnTo>
                  <a:lnTo>
                    <a:pt x="888" y="216"/>
                  </a:lnTo>
                  <a:lnTo>
                    <a:pt x="888" y="222"/>
                  </a:lnTo>
                  <a:lnTo>
                    <a:pt x="882" y="222"/>
                  </a:lnTo>
                  <a:lnTo>
                    <a:pt x="882" y="228"/>
                  </a:lnTo>
                  <a:lnTo>
                    <a:pt x="876" y="234"/>
                  </a:lnTo>
                  <a:lnTo>
                    <a:pt x="870" y="234"/>
                  </a:lnTo>
                  <a:lnTo>
                    <a:pt x="870" y="240"/>
                  </a:lnTo>
                  <a:lnTo>
                    <a:pt x="864" y="240"/>
                  </a:lnTo>
                  <a:lnTo>
                    <a:pt x="858" y="246"/>
                  </a:lnTo>
                  <a:lnTo>
                    <a:pt x="852" y="252"/>
                  </a:lnTo>
                  <a:lnTo>
                    <a:pt x="846" y="258"/>
                  </a:lnTo>
                  <a:lnTo>
                    <a:pt x="846" y="252"/>
                  </a:lnTo>
                  <a:lnTo>
                    <a:pt x="846" y="258"/>
                  </a:lnTo>
                  <a:lnTo>
                    <a:pt x="840" y="264"/>
                  </a:lnTo>
                  <a:lnTo>
                    <a:pt x="834" y="264"/>
                  </a:lnTo>
                  <a:lnTo>
                    <a:pt x="834" y="270"/>
                  </a:lnTo>
                  <a:lnTo>
                    <a:pt x="828" y="270"/>
                  </a:lnTo>
                  <a:lnTo>
                    <a:pt x="828" y="276"/>
                  </a:lnTo>
                  <a:lnTo>
                    <a:pt x="822" y="276"/>
                  </a:lnTo>
                  <a:lnTo>
                    <a:pt x="816" y="276"/>
                  </a:lnTo>
                  <a:lnTo>
                    <a:pt x="810" y="276"/>
                  </a:lnTo>
                  <a:lnTo>
                    <a:pt x="798" y="276"/>
                  </a:lnTo>
                  <a:lnTo>
                    <a:pt x="792" y="276"/>
                  </a:lnTo>
                  <a:lnTo>
                    <a:pt x="786" y="276"/>
                  </a:lnTo>
                  <a:lnTo>
                    <a:pt x="780" y="276"/>
                  </a:lnTo>
                  <a:lnTo>
                    <a:pt x="774" y="276"/>
                  </a:lnTo>
                  <a:lnTo>
                    <a:pt x="768" y="276"/>
                  </a:lnTo>
                  <a:lnTo>
                    <a:pt x="762" y="270"/>
                  </a:lnTo>
                  <a:lnTo>
                    <a:pt x="756" y="270"/>
                  </a:lnTo>
                  <a:lnTo>
                    <a:pt x="750" y="270"/>
                  </a:lnTo>
                  <a:lnTo>
                    <a:pt x="744" y="264"/>
                  </a:lnTo>
                  <a:lnTo>
                    <a:pt x="744" y="258"/>
                  </a:lnTo>
                  <a:lnTo>
                    <a:pt x="738" y="258"/>
                  </a:lnTo>
                  <a:lnTo>
                    <a:pt x="738" y="252"/>
                  </a:lnTo>
                  <a:lnTo>
                    <a:pt x="738" y="246"/>
                  </a:lnTo>
                  <a:lnTo>
                    <a:pt x="732" y="246"/>
                  </a:lnTo>
                  <a:lnTo>
                    <a:pt x="732" y="240"/>
                  </a:lnTo>
                  <a:lnTo>
                    <a:pt x="732" y="246"/>
                  </a:lnTo>
                  <a:lnTo>
                    <a:pt x="726" y="246"/>
                  </a:lnTo>
                  <a:lnTo>
                    <a:pt x="726" y="252"/>
                  </a:lnTo>
                  <a:lnTo>
                    <a:pt x="726" y="258"/>
                  </a:lnTo>
                  <a:lnTo>
                    <a:pt x="720" y="258"/>
                  </a:lnTo>
                  <a:lnTo>
                    <a:pt x="714" y="258"/>
                  </a:lnTo>
                  <a:lnTo>
                    <a:pt x="714" y="252"/>
                  </a:lnTo>
                  <a:lnTo>
                    <a:pt x="714" y="246"/>
                  </a:lnTo>
                  <a:lnTo>
                    <a:pt x="720" y="246"/>
                  </a:lnTo>
                  <a:lnTo>
                    <a:pt x="726" y="246"/>
                  </a:lnTo>
                  <a:lnTo>
                    <a:pt x="720" y="246"/>
                  </a:lnTo>
                  <a:lnTo>
                    <a:pt x="714" y="240"/>
                  </a:lnTo>
                  <a:lnTo>
                    <a:pt x="708" y="240"/>
                  </a:lnTo>
                  <a:lnTo>
                    <a:pt x="702" y="240"/>
                  </a:lnTo>
                  <a:lnTo>
                    <a:pt x="696" y="240"/>
                  </a:lnTo>
                  <a:lnTo>
                    <a:pt x="690" y="240"/>
                  </a:lnTo>
                  <a:lnTo>
                    <a:pt x="684" y="240"/>
                  </a:lnTo>
                  <a:lnTo>
                    <a:pt x="678" y="234"/>
                  </a:lnTo>
                  <a:lnTo>
                    <a:pt x="672" y="234"/>
                  </a:lnTo>
                  <a:lnTo>
                    <a:pt x="666" y="234"/>
                  </a:lnTo>
                  <a:lnTo>
                    <a:pt x="660" y="234"/>
                  </a:lnTo>
                  <a:lnTo>
                    <a:pt x="666" y="234"/>
                  </a:lnTo>
                  <a:lnTo>
                    <a:pt x="672" y="234"/>
                  </a:lnTo>
                  <a:lnTo>
                    <a:pt x="672" y="240"/>
                  </a:lnTo>
                  <a:lnTo>
                    <a:pt x="678" y="240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96" y="240"/>
                  </a:lnTo>
                  <a:lnTo>
                    <a:pt x="690" y="240"/>
                  </a:lnTo>
                  <a:lnTo>
                    <a:pt x="690" y="246"/>
                  </a:lnTo>
                  <a:lnTo>
                    <a:pt x="684" y="246"/>
                  </a:lnTo>
                  <a:lnTo>
                    <a:pt x="678" y="246"/>
                  </a:lnTo>
                  <a:lnTo>
                    <a:pt x="684" y="246"/>
                  </a:lnTo>
                  <a:lnTo>
                    <a:pt x="678" y="246"/>
                  </a:lnTo>
                  <a:lnTo>
                    <a:pt x="672" y="246"/>
                  </a:lnTo>
                  <a:lnTo>
                    <a:pt x="666" y="246"/>
                  </a:lnTo>
                  <a:lnTo>
                    <a:pt x="660" y="246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54" y="246"/>
                  </a:lnTo>
                  <a:lnTo>
                    <a:pt x="648" y="240"/>
                  </a:lnTo>
                  <a:lnTo>
                    <a:pt x="648" y="234"/>
                  </a:lnTo>
                  <a:lnTo>
                    <a:pt x="642" y="234"/>
                  </a:lnTo>
                  <a:lnTo>
                    <a:pt x="642" y="228"/>
                  </a:lnTo>
                  <a:lnTo>
                    <a:pt x="648" y="228"/>
                  </a:lnTo>
                  <a:lnTo>
                    <a:pt x="654" y="228"/>
                  </a:lnTo>
                  <a:lnTo>
                    <a:pt x="654" y="234"/>
                  </a:lnTo>
                  <a:lnTo>
                    <a:pt x="660" y="234"/>
                  </a:lnTo>
                  <a:lnTo>
                    <a:pt x="654" y="228"/>
                  </a:lnTo>
                  <a:lnTo>
                    <a:pt x="648" y="228"/>
                  </a:lnTo>
                  <a:lnTo>
                    <a:pt x="642" y="228"/>
                  </a:lnTo>
                  <a:lnTo>
                    <a:pt x="636" y="222"/>
                  </a:lnTo>
                  <a:lnTo>
                    <a:pt x="630" y="222"/>
                  </a:lnTo>
                  <a:lnTo>
                    <a:pt x="618" y="216"/>
                  </a:lnTo>
                  <a:lnTo>
                    <a:pt x="606" y="216"/>
                  </a:lnTo>
                  <a:lnTo>
                    <a:pt x="606" y="210"/>
                  </a:lnTo>
                  <a:lnTo>
                    <a:pt x="594" y="210"/>
                  </a:lnTo>
                  <a:lnTo>
                    <a:pt x="588" y="204"/>
                  </a:lnTo>
                  <a:lnTo>
                    <a:pt x="582" y="198"/>
                  </a:lnTo>
                  <a:lnTo>
                    <a:pt x="576" y="198"/>
                  </a:lnTo>
                  <a:lnTo>
                    <a:pt x="570" y="192"/>
                  </a:lnTo>
                  <a:lnTo>
                    <a:pt x="564" y="192"/>
                  </a:lnTo>
                  <a:lnTo>
                    <a:pt x="564" y="186"/>
                  </a:lnTo>
                  <a:lnTo>
                    <a:pt x="552" y="186"/>
                  </a:lnTo>
                  <a:lnTo>
                    <a:pt x="546" y="180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22" y="162"/>
                  </a:lnTo>
                  <a:lnTo>
                    <a:pt x="516" y="162"/>
                  </a:lnTo>
                  <a:lnTo>
                    <a:pt x="516" y="156"/>
                  </a:lnTo>
                  <a:lnTo>
                    <a:pt x="510" y="156"/>
                  </a:lnTo>
                  <a:lnTo>
                    <a:pt x="504" y="150"/>
                  </a:lnTo>
                  <a:lnTo>
                    <a:pt x="498" y="150"/>
                  </a:lnTo>
                  <a:lnTo>
                    <a:pt x="498" y="144"/>
                  </a:lnTo>
                  <a:lnTo>
                    <a:pt x="492" y="144"/>
                  </a:lnTo>
                  <a:lnTo>
                    <a:pt x="486" y="138"/>
                  </a:lnTo>
                  <a:lnTo>
                    <a:pt x="480" y="138"/>
                  </a:lnTo>
                  <a:lnTo>
                    <a:pt x="480" y="132"/>
                  </a:lnTo>
                  <a:lnTo>
                    <a:pt x="474" y="132"/>
                  </a:lnTo>
                  <a:lnTo>
                    <a:pt x="474" y="126"/>
                  </a:lnTo>
                  <a:lnTo>
                    <a:pt x="468" y="120"/>
                  </a:lnTo>
                  <a:lnTo>
                    <a:pt x="462" y="120"/>
                  </a:lnTo>
                  <a:lnTo>
                    <a:pt x="462" y="114"/>
                  </a:lnTo>
                  <a:lnTo>
                    <a:pt x="462" y="108"/>
                  </a:lnTo>
                  <a:lnTo>
                    <a:pt x="456" y="108"/>
                  </a:lnTo>
                  <a:lnTo>
                    <a:pt x="450" y="108"/>
                  </a:lnTo>
                  <a:lnTo>
                    <a:pt x="450" y="102"/>
                  </a:lnTo>
                  <a:lnTo>
                    <a:pt x="450" y="96"/>
                  </a:lnTo>
                  <a:lnTo>
                    <a:pt x="444" y="96"/>
                  </a:lnTo>
                  <a:lnTo>
                    <a:pt x="444" y="90"/>
                  </a:lnTo>
                  <a:lnTo>
                    <a:pt x="438" y="90"/>
                  </a:lnTo>
                  <a:lnTo>
                    <a:pt x="438" y="84"/>
                  </a:lnTo>
                  <a:lnTo>
                    <a:pt x="432" y="84"/>
                  </a:lnTo>
                  <a:lnTo>
                    <a:pt x="432" y="78"/>
                  </a:lnTo>
                  <a:lnTo>
                    <a:pt x="426" y="78"/>
                  </a:lnTo>
                  <a:lnTo>
                    <a:pt x="420" y="72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402" y="60"/>
                  </a:lnTo>
                  <a:lnTo>
                    <a:pt x="402" y="54"/>
                  </a:lnTo>
                  <a:lnTo>
                    <a:pt x="384" y="42"/>
                  </a:lnTo>
                  <a:lnTo>
                    <a:pt x="378" y="42"/>
                  </a:lnTo>
                  <a:lnTo>
                    <a:pt x="378" y="36"/>
                  </a:lnTo>
                  <a:lnTo>
                    <a:pt x="372" y="36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48" y="18"/>
                  </a:lnTo>
                  <a:lnTo>
                    <a:pt x="348" y="12"/>
                  </a:lnTo>
                  <a:lnTo>
                    <a:pt x="342" y="12"/>
                  </a:lnTo>
                  <a:lnTo>
                    <a:pt x="342" y="6"/>
                  </a:lnTo>
                  <a:lnTo>
                    <a:pt x="336" y="6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6"/>
                  </a:lnTo>
                  <a:lnTo>
                    <a:pt x="324" y="12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24"/>
                  </a:lnTo>
                  <a:lnTo>
                    <a:pt x="312" y="24"/>
                  </a:lnTo>
                  <a:lnTo>
                    <a:pt x="306" y="24"/>
                  </a:lnTo>
                  <a:lnTo>
                    <a:pt x="300" y="24"/>
                  </a:lnTo>
                  <a:lnTo>
                    <a:pt x="294" y="24"/>
                  </a:lnTo>
                  <a:lnTo>
                    <a:pt x="294" y="18"/>
                  </a:lnTo>
                  <a:lnTo>
                    <a:pt x="288" y="18"/>
                  </a:lnTo>
                  <a:lnTo>
                    <a:pt x="288" y="24"/>
                  </a:lnTo>
                  <a:lnTo>
                    <a:pt x="294" y="30"/>
                  </a:lnTo>
                  <a:lnTo>
                    <a:pt x="294" y="36"/>
                  </a:lnTo>
                  <a:lnTo>
                    <a:pt x="288" y="36"/>
                  </a:lnTo>
                  <a:lnTo>
                    <a:pt x="288" y="42"/>
                  </a:lnTo>
                  <a:lnTo>
                    <a:pt x="288" y="48"/>
                  </a:lnTo>
                  <a:lnTo>
                    <a:pt x="282" y="48"/>
                  </a:lnTo>
                  <a:lnTo>
                    <a:pt x="282" y="54"/>
                  </a:lnTo>
                  <a:lnTo>
                    <a:pt x="282" y="60"/>
                  </a:lnTo>
                  <a:lnTo>
                    <a:pt x="288" y="60"/>
                  </a:lnTo>
                  <a:lnTo>
                    <a:pt x="288" y="66"/>
                  </a:lnTo>
                  <a:lnTo>
                    <a:pt x="294" y="72"/>
                  </a:lnTo>
                  <a:lnTo>
                    <a:pt x="300" y="84"/>
                  </a:lnTo>
                  <a:lnTo>
                    <a:pt x="306" y="90"/>
                  </a:lnTo>
                  <a:lnTo>
                    <a:pt x="312" y="96"/>
                  </a:lnTo>
                  <a:lnTo>
                    <a:pt x="312" y="108"/>
                  </a:lnTo>
                  <a:lnTo>
                    <a:pt x="318" y="114"/>
                  </a:lnTo>
                  <a:lnTo>
                    <a:pt x="324" y="120"/>
                  </a:lnTo>
                  <a:lnTo>
                    <a:pt x="324" y="126"/>
                  </a:lnTo>
                  <a:lnTo>
                    <a:pt x="324" y="132"/>
                  </a:lnTo>
                  <a:lnTo>
                    <a:pt x="324" y="138"/>
                  </a:lnTo>
                  <a:lnTo>
                    <a:pt x="330" y="144"/>
                  </a:lnTo>
                  <a:lnTo>
                    <a:pt x="330" y="150"/>
                  </a:lnTo>
                  <a:lnTo>
                    <a:pt x="330" y="156"/>
                  </a:lnTo>
                  <a:lnTo>
                    <a:pt x="330" y="162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30" y="186"/>
                  </a:lnTo>
                  <a:lnTo>
                    <a:pt x="330" y="192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18" y="198"/>
                  </a:lnTo>
                  <a:lnTo>
                    <a:pt x="318" y="204"/>
                  </a:lnTo>
                  <a:lnTo>
                    <a:pt x="318" y="210"/>
                  </a:lnTo>
                  <a:lnTo>
                    <a:pt x="318" y="216"/>
                  </a:lnTo>
                  <a:lnTo>
                    <a:pt x="318" y="222"/>
                  </a:lnTo>
                  <a:lnTo>
                    <a:pt x="318" y="228"/>
                  </a:lnTo>
                  <a:lnTo>
                    <a:pt x="318" y="234"/>
                  </a:lnTo>
                  <a:lnTo>
                    <a:pt x="318" y="240"/>
                  </a:lnTo>
                  <a:lnTo>
                    <a:pt x="324" y="246"/>
                  </a:lnTo>
                  <a:lnTo>
                    <a:pt x="324" y="252"/>
                  </a:lnTo>
                  <a:lnTo>
                    <a:pt x="324" y="258"/>
                  </a:lnTo>
                  <a:lnTo>
                    <a:pt x="324" y="264"/>
                  </a:lnTo>
                  <a:lnTo>
                    <a:pt x="324" y="270"/>
                  </a:lnTo>
                  <a:lnTo>
                    <a:pt x="318" y="270"/>
                  </a:lnTo>
                  <a:lnTo>
                    <a:pt x="324" y="270"/>
                  </a:lnTo>
                  <a:lnTo>
                    <a:pt x="324" y="276"/>
                  </a:lnTo>
                  <a:lnTo>
                    <a:pt x="318" y="276"/>
                  </a:lnTo>
                  <a:lnTo>
                    <a:pt x="318" y="282"/>
                  </a:lnTo>
                  <a:lnTo>
                    <a:pt x="312" y="282"/>
                  </a:lnTo>
                  <a:lnTo>
                    <a:pt x="312" y="288"/>
                  </a:lnTo>
                  <a:lnTo>
                    <a:pt x="306" y="288"/>
                  </a:lnTo>
                  <a:lnTo>
                    <a:pt x="300" y="288"/>
                  </a:lnTo>
                  <a:lnTo>
                    <a:pt x="294" y="288"/>
                  </a:lnTo>
                  <a:lnTo>
                    <a:pt x="294" y="294"/>
                  </a:lnTo>
                  <a:lnTo>
                    <a:pt x="288" y="294"/>
                  </a:lnTo>
                  <a:lnTo>
                    <a:pt x="282" y="294"/>
                  </a:lnTo>
                  <a:lnTo>
                    <a:pt x="282" y="300"/>
                  </a:lnTo>
                  <a:lnTo>
                    <a:pt x="282" y="306"/>
                  </a:lnTo>
                  <a:lnTo>
                    <a:pt x="276" y="306"/>
                  </a:lnTo>
                  <a:lnTo>
                    <a:pt x="276" y="312"/>
                  </a:lnTo>
                  <a:lnTo>
                    <a:pt x="282" y="312"/>
                  </a:lnTo>
                  <a:lnTo>
                    <a:pt x="282" y="318"/>
                  </a:lnTo>
                  <a:lnTo>
                    <a:pt x="282" y="324"/>
                  </a:lnTo>
                  <a:lnTo>
                    <a:pt x="288" y="330"/>
                  </a:lnTo>
                  <a:lnTo>
                    <a:pt x="288" y="336"/>
                  </a:lnTo>
                  <a:lnTo>
                    <a:pt x="288" y="342"/>
                  </a:lnTo>
                  <a:lnTo>
                    <a:pt x="288" y="348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294" y="360"/>
                  </a:lnTo>
                  <a:lnTo>
                    <a:pt x="300" y="360"/>
                  </a:lnTo>
                  <a:lnTo>
                    <a:pt x="300" y="366"/>
                  </a:lnTo>
                  <a:lnTo>
                    <a:pt x="300" y="372"/>
                  </a:lnTo>
                  <a:lnTo>
                    <a:pt x="300" y="378"/>
                  </a:lnTo>
                  <a:lnTo>
                    <a:pt x="300" y="384"/>
                  </a:lnTo>
                  <a:lnTo>
                    <a:pt x="294" y="384"/>
                  </a:lnTo>
                  <a:lnTo>
                    <a:pt x="294" y="390"/>
                  </a:lnTo>
                  <a:lnTo>
                    <a:pt x="288" y="390"/>
                  </a:lnTo>
                  <a:lnTo>
                    <a:pt x="288" y="396"/>
                  </a:lnTo>
                  <a:lnTo>
                    <a:pt x="282" y="396"/>
                  </a:lnTo>
                  <a:lnTo>
                    <a:pt x="282" y="402"/>
                  </a:lnTo>
                  <a:lnTo>
                    <a:pt x="276" y="402"/>
                  </a:lnTo>
                  <a:lnTo>
                    <a:pt x="270" y="402"/>
                  </a:lnTo>
                  <a:lnTo>
                    <a:pt x="270" y="408"/>
                  </a:lnTo>
                  <a:lnTo>
                    <a:pt x="264" y="408"/>
                  </a:lnTo>
                  <a:lnTo>
                    <a:pt x="258" y="408"/>
                  </a:lnTo>
                  <a:lnTo>
                    <a:pt x="252" y="402"/>
                  </a:lnTo>
                  <a:lnTo>
                    <a:pt x="246" y="402"/>
                  </a:lnTo>
                  <a:lnTo>
                    <a:pt x="240" y="402"/>
                  </a:lnTo>
                  <a:lnTo>
                    <a:pt x="234" y="396"/>
                  </a:lnTo>
                  <a:lnTo>
                    <a:pt x="240" y="396"/>
                  </a:lnTo>
                  <a:lnTo>
                    <a:pt x="234" y="396"/>
                  </a:lnTo>
                  <a:lnTo>
                    <a:pt x="240" y="396"/>
                  </a:lnTo>
                  <a:lnTo>
                    <a:pt x="240" y="390"/>
                  </a:lnTo>
                  <a:lnTo>
                    <a:pt x="234" y="390"/>
                  </a:lnTo>
                  <a:lnTo>
                    <a:pt x="228" y="390"/>
                  </a:lnTo>
                  <a:lnTo>
                    <a:pt x="228" y="396"/>
                  </a:lnTo>
                  <a:lnTo>
                    <a:pt x="222" y="396"/>
                  </a:lnTo>
                  <a:lnTo>
                    <a:pt x="216" y="396"/>
                  </a:lnTo>
                  <a:lnTo>
                    <a:pt x="210" y="396"/>
                  </a:lnTo>
                  <a:lnTo>
                    <a:pt x="210" y="402"/>
                  </a:lnTo>
                  <a:lnTo>
                    <a:pt x="204" y="402"/>
                  </a:lnTo>
                  <a:lnTo>
                    <a:pt x="198" y="396"/>
                  </a:lnTo>
                  <a:lnTo>
                    <a:pt x="192" y="396"/>
                  </a:lnTo>
                  <a:lnTo>
                    <a:pt x="192" y="390"/>
                  </a:lnTo>
                  <a:lnTo>
                    <a:pt x="186" y="390"/>
                  </a:lnTo>
                  <a:lnTo>
                    <a:pt x="180" y="390"/>
                  </a:lnTo>
                  <a:lnTo>
                    <a:pt x="180" y="384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378"/>
                  </a:lnTo>
                  <a:lnTo>
                    <a:pt x="162" y="378"/>
                  </a:lnTo>
                  <a:lnTo>
                    <a:pt x="162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0" y="366"/>
                  </a:lnTo>
                  <a:lnTo>
                    <a:pt x="144" y="366"/>
                  </a:lnTo>
                  <a:lnTo>
                    <a:pt x="144" y="372"/>
                  </a:lnTo>
                  <a:lnTo>
                    <a:pt x="150" y="372"/>
                  </a:lnTo>
                  <a:lnTo>
                    <a:pt x="144" y="372"/>
                  </a:lnTo>
                  <a:lnTo>
                    <a:pt x="144" y="378"/>
                  </a:lnTo>
                  <a:lnTo>
                    <a:pt x="138" y="378"/>
                  </a:lnTo>
                  <a:lnTo>
                    <a:pt x="132" y="378"/>
                  </a:lnTo>
                  <a:lnTo>
                    <a:pt x="132" y="384"/>
                  </a:lnTo>
                  <a:lnTo>
                    <a:pt x="126" y="384"/>
                  </a:lnTo>
                  <a:lnTo>
                    <a:pt x="132" y="384"/>
                  </a:lnTo>
                  <a:lnTo>
                    <a:pt x="126" y="384"/>
                  </a:lnTo>
                  <a:lnTo>
                    <a:pt x="126" y="390"/>
                  </a:lnTo>
                  <a:lnTo>
                    <a:pt x="126" y="396"/>
                  </a:lnTo>
                  <a:lnTo>
                    <a:pt x="132" y="396"/>
                  </a:lnTo>
                  <a:lnTo>
                    <a:pt x="132" y="402"/>
                  </a:lnTo>
                  <a:lnTo>
                    <a:pt x="138" y="402"/>
                  </a:lnTo>
                  <a:lnTo>
                    <a:pt x="138" y="408"/>
                  </a:lnTo>
                  <a:lnTo>
                    <a:pt x="144" y="408"/>
                  </a:lnTo>
                  <a:lnTo>
                    <a:pt x="150" y="408"/>
                  </a:lnTo>
                  <a:lnTo>
                    <a:pt x="150" y="414"/>
                  </a:lnTo>
                  <a:lnTo>
                    <a:pt x="150" y="420"/>
                  </a:lnTo>
                  <a:lnTo>
                    <a:pt x="156" y="420"/>
                  </a:lnTo>
                  <a:lnTo>
                    <a:pt x="162" y="426"/>
                  </a:lnTo>
                  <a:lnTo>
                    <a:pt x="162" y="432"/>
                  </a:lnTo>
                  <a:lnTo>
                    <a:pt x="162" y="438"/>
                  </a:lnTo>
                  <a:lnTo>
                    <a:pt x="156" y="438"/>
                  </a:lnTo>
                  <a:lnTo>
                    <a:pt x="150" y="438"/>
                  </a:lnTo>
                  <a:lnTo>
                    <a:pt x="150" y="444"/>
                  </a:lnTo>
                  <a:lnTo>
                    <a:pt x="144" y="444"/>
                  </a:lnTo>
                  <a:lnTo>
                    <a:pt x="144" y="450"/>
                  </a:lnTo>
                  <a:lnTo>
                    <a:pt x="138" y="456"/>
                  </a:lnTo>
                  <a:lnTo>
                    <a:pt x="132" y="462"/>
                  </a:lnTo>
                  <a:lnTo>
                    <a:pt x="132" y="468"/>
                  </a:lnTo>
                  <a:lnTo>
                    <a:pt x="132" y="474"/>
                  </a:lnTo>
                  <a:lnTo>
                    <a:pt x="126" y="474"/>
                  </a:lnTo>
                  <a:lnTo>
                    <a:pt x="126" y="468"/>
                  </a:lnTo>
                  <a:lnTo>
                    <a:pt x="120" y="468"/>
                  </a:lnTo>
                  <a:lnTo>
                    <a:pt x="120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74"/>
                  </a:lnTo>
                  <a:lnTo>
                    <a:pt x="102" y="474"/>
                  </a:lnTo>
                  <a:lnTo>
                    <a:pt x="102" y="480"/>
                  </a:lnTo>
                  <a:lnTo>
                    <a:pt x="96" y="480"/>
                  </a:lnTo>
                  <a:lnTo>
                    <a:pt x="96" y="486"/>
                  </a:lnTo>
                  <a:lnTo>
                    <a:pt x="90" y="486"/>
                  </a:lnTo>
                  <a:lnTo>
                    <a:pt x="84" y="486"/>
                  </a:lnTo>
                  <a:lnTo>
                    <a:pt x="78" y="486"/>
                  </a:lnTo>
                  <a:lnTo>
                    <a:pt x="72" y="486"/>
                  </a:lnTo>
                  <a:lnTo>
                    <a:pt x="66" y="486"/>
                  </a:lnTo>
                  <a:lnTo>
                    <a:pt x="66" y="492"/>
                  </a:lnTo>
                  <a:lnTo>
                    <a:pt x="60" y="498"/>
                  </a:lnTo>
                  <a:lnTo>
                    <a:pt x="60" y="504"/>
                  </a:lnTo>
                  <a:lnTo>
                    <a:pt x="60" y="510"/>
                  </a:lnTo>
                  <a:lnTo>
                    <a:pt x="66" y="510"/>
                  </a:lnTo>
                  <a:lnTo>
                    <a:pt x="66" y="516"/>
                  </a:lnTo>
                  <a:lnTo>
                    <a:pt x="66" y="522"/>
                  </a:lnTo>
                  <a:lnTo>
                    <a:pt x="66" y="528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60" y="540"/>
                  </a:lnTo>
                  <a:lnTo>
                    <a:pt x="60" y="546"/>
                  </a:lnTo>
                  <a:lnTo>
                    <a:pt x="54" y="546"/>
                  </a:lnTo>
                  <a:lnTo>
                    <a:pt x="54" y="552"/>
                  </a:lnTo>
                  <a:lnTo>
                    <a:pt x="60" y="552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29" name="Freeform 5"/>
            <p:cNvSpPr>
              <a:spLocks noChangeAspect="1"/>
            </p:cNvSpPr>
            <p:nvPr/>
          </p:nvSpPr>
          <p:spPr bwMode="auto">
            <a:xfrm>
              <a:off x="3809140" y="3644510"/>
              <a:ext cx="373189" cy="282593"/>
            </a:xfrm>
            <a:custGeom>
              <a:avLst/>
              <a:gdLst>
                <a:gd name="T0" fmla="*/ 2147483647 w 294"/>
                <a:gd name="T1" fmla="*/ 2147483647 h 222"/>
                <a:gd name="T2" fmla="*/ 2147483647 w 294"/>
                <a:gd name="T3" fmla="*/ 2147483647 h 222"/>
                <a:gd name="T4" fmla="*/ 2147483647 w 294"/>
                <a:gd name="T5" fmla="*/ 2147483647 h 222"/>
                <a:gd name="T6" fmla="*/ 2147483647 w 294"/>
                <a:gd name="T7" fmla="*/ 2147483647 h 222"/>
                <a:gd name="T8" fmla="*/ 2147483647 w 294"/>
                <a:gd name="T9" fmla="*/ 2147483647 h 222"/>
                <a:gd name="T10" fmla="*/ 2147483647 w 294"/>
                <a:gd name="T11" fmla="*/ 2147483647 h 222"/>
                <a:gd name="T12" fmla="*/ 2147483647 w 294"/>
                <a:gd name="T13" fmla="*/ 2147483647 h 222"/>
                <a:gd name="T14" fmla="*/ 2147483647 w 294"/>
                <a:gd name="T15" fmla="*/ 2147483647 h 222"/>
                <a:gd name="T16" fmla="*/ 2147483647 w 294"/>
                <a:gd name="T17" fmla="*/ 2147483647 h 222"/>
                <a:gd name="T18" fmla="*/ 2147483647 w 294"/>
                <a:gd name="T19" fmla="*/ 2147483647 h 222"/>
                <a:gd name="T20" fmla="*/ 2147483647 w 294"/>
                <a:gd name="T21" fmla="*/ 2147483647 h 222"/>
                <a:gd name="T22" fmla="*/ 2147483647 w 294"/>
                <a:gd name="T23" fmla="*/ 2147483647 h 222"/>
                <a:gd name="T24" fmla="*/ 2147483647 w 294"/>
                <a:gd name="T25" fmla="*/ 2147483647 h 222"/>
                <a:gd name="T26" fmla="*/ 2147483647 w 294"/>
                <a:gd name="T27" fmla="*/ 2147483647 h 222"/>
                <a:gd name="T28" fmla="*/ 2147483647 w 294"/>
                <a:gd name="T29" fmla="*/ 2147483647 h 222"/>
                <a:gd name="T30" fmla="*/ 2147483647 w 294"/>
                <a:gd name="T31" fmla="*/ 2147483647 h 222"/>
                <a:gd name="T32" fmla="*/ 2147483647 w 294"/>
                <a:gd name="T33" fmla="*/ 2147483647 h 222"/>
                <a:gd name="T34" fmla="*/ 2147483647 w 294"/>
                <a:gd name="T35" fmla="*/ 2147483647 h 222"/>
                <a:gd name="T36" fmla="*/ 2147483647 w 294"/>
                <a:gd name="T37" fmla="*/ 2147483647 h 222"/>
                <a:gd name="T38" fmla="*/ 2147483647 w 294"/>
                <a:gd name="T39" fmla="*/ 2147483647 h 222"/>
                <a:gd name="T40" fmla="*/ 2147483647 w 294"/>
                <a:gd name="T41" fmla="*/ 2147483647 h 222"/>
                <a:gd name="T42" fmla="*/ 2147483647 w 294"/>
                <a:gd name="T43" fmla="*/ 2147483647 h 222"/>
                <a:gd name="T44" fmla="*/ 2147483647 w 294"/>
                <a:gd name="T45" fmla="*/ 2147483647 h 222"/>
                <a:gd name="T46" fmla="*/ 2147483647 w 294"/>
                <a:gd name="T47" fmla="*/ 2147483647 h 222"/>
                <a:gd name="T48" fmla="*/ 2147483647 w 294"/>
                <a:gd name="T49" fmla="*/ 2147483647 h 222"/>
                <a:gd name="T50" fmla="*/ 2147483647 w 294"/>
                <a:gd name="T51" fmla="*/ 2147483647 h 222"/>
                <a:gd name="T52" fmla="*/ 2147483647 w 294"/>
                <a:gd name="T53" fmla="*/ 2147483647 h 222"/>
                <a:gd name="T54" fmla="*/ 2147483647 w 294"/>
                <a:gd name="T55" fmla="*/ 2147483647 h 222"/>
                <a:gd name="T56" fmla="*/ 2147483647 w 294"/>
                <a:gd name="T57" fmla="*/ 2147483647 h 222"/>
                <a:gd name="T58" fmla="*/ 2147483647 w 294"/>
                <a:gd name="T59" fmla="*/ 2147483647 h 222"/>
                <a:gd name="T60" fmla="*/ 2147483647 w 294"/>
                <a:gd name="T61" fmla="*/ 2147483647 h 222"/>
                <a:gd name="T62" fmla="*/ 2147483647 w 294"/>
                <a:gd name="T63" fmla="*/ 2147483647 h 222"/>
                <a:gd name="T64" fmla="*/ 2147483647 w 294"/>
                <a:gd name="T65" fmla="*/ 2147483647 h 222"/>
                <a:gd name="T66" fmla="*/ 2147483647 w 294"/>
                <a:gd name="T67" fmla="*/ 2147483647 h 222"/>
                <a:gd name="T68" fmla="*/ 2147483647 w 294"/>
                <a:gd name="T69" fmla="*/ 2147483647 h 222"/>
                <a:gd name="T70" fmla="*/ 2147483647 w 294"/>
                <a:gd name="T71" fmla="*/ 2147483647 h 222"/>
                <a:gd name="T72" fmla="*/ 2147483647 w 294"/>
                <a:gd name="T73" fmla="*/ 2147483647 h 222"/>
                <a:gd name="T74" fmla="*/ 2147483647 w 294"/>
                <a:gd name="T75" fmla="*/ 2147483647 h 222"/>
                <a:gd name="T76" fmla="*/ 2147483647 w 294"/>
                <a:gd name="T77" fmla="*/ 2147483647 h 222"/>
                <a:gd name="T78" fmla="*/ 2147483647 w 294"/>
                <a:gd name="T79" fmla="*/ 2147483647 h 222"/>
                <a:gd name="T80" fmla="*/ 2147483647 w 294"/>
                <a:gd name="T81" fmla="*/ 2147483647 h 222"/>
                <a:gd name="T82" fmla="*/ 2147483647 w 294"/>
                <a:gd name="T83" fmla="*/ 2147483647 h 222"/>
                <a:gd name="T84" fmla="*/ 2147483647 w 294"/>
                <a:gd name="T85" fmla="*/ 2147483647 h 222"/>
                <a:gd name="T86" fmla="*/ 2147483647 w 294"/>
                <a:gd name="T87" fmla="*/ 2147483647 h 222"/>
                <a:gd name="T88" fmla="*/ 2147483647 w 294"/>
                <a:gd name="T89" fmla="*/ 2147483647 h 222"/>
                <a:gd name="T90" fmla="*/ 2147483647 w 294"/>
                <a:gd name="T91" fmla="*/ 2147483647 h 222"/>
                <a:gd name="T92" fmla="*/ 2147483647 w 294"/>
                <a:gd name="T93" fmla="*/ 2147483647 h 222"/>
                <a:gd name="T94" fmla="*/ 2147483647 w 294"/>
                <a:gd name="T95" fmla="*/ 2147483647 h 222"/>
                <a:gd name="T96" fmla="*/ 2147483647 w 294"/>
                <a:gd name="T97" fmla="*/ 2147483647 h 222"/>
                <a:gd name="T98" fmla="*/ 2147483647 w 294"/>
                <a:gd name="T99" fmla="*/ 2147483647 h 222"/>
                <a:gd name="T100" fmla="*/ 2147483647 w 294"/>
                <a:gd name="T101" fmla="*/ 2147483647 h 222"/>
                <a:gd name="T102" fmla="*/ 2147483647 w 294"/>
                <a:gd name="T103" fmla="*/ 2147483647 h 222"/>
                <a:gd name="T104" fmla="*/ 0 w 294"/>
                <a:gd name="T105" fmla="*/ 2147483647 h 222"/>
                <a:gd name="T106" fmla="*/ 2147483647 w 294"/>
                <a:gd name="T107" fmla="*/ 2147483647 h 22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94"/>
                <a:gd name="T163" fmla="*/ 0 h 222"/>
                <a:gd name="T164" fmla="*/ 294 w 294"/>
                <a:gd name="T165" fmla="*/ 222 h 22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94" h="222">
                  <a:moveTo>
                    <a:pt x="12" y="186"/>
                  </a:moveTo>
                  <a:lnTo>
                    <a:pt x="18" y="186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30" y="180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54" y="186"/>
                  </a:lnTo>
                  <a:lnTo>
                    <a:pt x="60" y="186"/>
                  </a:lnTo>
                  <a:lnTo>
                    <a:pt x="66" y="186"/>
                  </a:lnTo>
                  <a:lnTo>
                    <a:pt x="72" y="186"/>
                  </a:lnTo>
                  <a:lnTo>
                    <a:pt x="78" y="186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0" y="180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86"/>
                  </a:lnTo>
                  <a:lnTo>
                    <a:pt x="108" y="186"/>
                  </a:lnTo>
                  <a:lnTo>
                    <a:pt x="108" y="192"/>
                  </a:lnTo>
                  <a:lnTo>
                    <a:pt x="114" y="192"/>
                  </a:lnTo>
                  <a:lnTo>
                    <a:pt x="114" y="186"/>
                  </a:lnTo>
                  <a:lnTo>
                    <a:pt x="120" y="186"/>
                  </a:lnTo>
                  <a:lnTo>
                    <a:pt x="126" y="192"/>
                  </a:lnTo>
                  <a:lnTo>
                    <a:pt x="132" y="192"/>
                  </a:lnTo>
                  <a:lnTo>
                    <a:pt x="132" y="186"/>
                  </a:lnTo>
                  <a:lnTo>
                    <a:pt x="138" y="186"/>
                  </a:lnTo>
                  <a:lnTo>
                    <a:pt x="144" y="192"/>
                  </a:lnTo>
                  <a:lnTo>
                    <a:pt x="144" y="186"/>
                  </a:lnTo>
                  <a:lnTo>
                    <a:pt x="144" y="180"/>
                  </a:lnTo>
                  <a:lnTo>
                    <a:pt x="150" y="180"/>
                  </a:lnTo>
                  <a:lnTo>
                    <a:pt x="156" y="180"/>
                  </a:lnTo>
                  <a:lnTo>
                    <a:pt x="150" y="180"/>
                  </a:lnTo>
                  <a:lnTo>
                    <a:pt x="156" y="174"/>
                  </a:lnTo>
                  <a:lnTo>
                    <a:pt x="162" y="174"/>
                  </a:lnTo>
                  <a:lnTo>
                    <a:pt x="162" y="180"/>
                  </a:lnTo>
                  <a:lnTo>
                    <a:pt x="162" y="186"/>
                  </a:lnTo>
                  <a:lnTo>
                    <a:pt x="168" y="186"/>
                  </a:lnTo>
                  <a:lnTo>
                    <a:pt x="174" y="186"/>
                  </a:lnTo>
                  <a:lnTo>
                    <a:pt x="180" y="186"/>
                  </a:lnTo>
                  <a:lnTo>
                    <a:pt x="180" y="192"/>
                  </a:lnTo>
                  <a:lnTo>
                    <a:pt x="186" y="192"/>
                  </a:lnTo>
                  <a:lnTo>
                    <a:pt x="180" y="192"/>
                  </a:lnTo>
                  <a:lnTo>
                    <a:pt x="186" y="198"/>
                  </a:lnTo>
                  <a:lnTo>
                    <a:pt x="180" y="204"/>
                  </a:lnTo>
                  <a:lnTo>
                    <a:pt x="180" y="198"/>
                  </a:lnTo>
                  <a:lnTo>
                    <a:pt x="180" y="204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2"/>
                  </a:lnTo>
                  <a:lnTo>
                    <a:pt x="192" y="222"/>
                  </a:lnTo>
                  <a:lnTo>
                    <a:pt x="198" y="222"/>
                  </a:lnTo>
                  <a:lnTo>
                    <a:pt x="198" y="216"/>
                  </a:lnTo>
                  <a:lnTo>
                    <a:pt x="204" y="216"/>
                  </a:lnTo>
                  <a:lnTo>
                    <a:pt x="204" y="210"/>
                  </a:lnTo>
                  <a:lnTo>
                    <a:pt x="210" y="210"/>
                  </a:lnTo>
                  <a:lnTo>
                    <a:pt x="216" y="210"/>
                  </a:lnTo>
                  <a:lnTo>
                    <a:pt x="222" y="210"/>
                  </a:lnTo>
                  <a:lnTo>
                    <a:pt x="222" y="204"/>
                  </a:lnTo>
                  <a:lnTo>
                    <a:pt x="228" y="204"/>
                  </a:lnTo>
                  <a:lnTo>
                    <a:pt x="234" y="204"/>
                  </a:lnTo>
                  <a:lnTo>
                    <a:pt x="234" y="198"/>
                  </a:lnTo>
                  <a:lnTo>
                    <a:pt x="240" y="198"/>
                  </a:lnTo>
                  <a:lnTo>
                    <a:pt x="240" y="204"/>
                  </a:lnTo>
                  <a:lnTo>
                    <a:pt x="246" y="204"/>
                  </a:lnTo>
                  <a:lnTo>
                    <a:pt x="246" y="198"/>
                  </a:lnTo>
                  <a:lnTo>
                    <a:pt x="252" y="198"/>
                  </a:lnTo>
                  <a:lnTo>
                    <a:pt x="258" y="198"/>
                  </a:lnTo>
                  <a:lnTo>
                    <a:pt x="264" y="198"/>
                  </a:lnTo>
                  <a:lnTo>
                    <a:pt x="270" y="198"/>
                  </a:lnTo>
                  <a:lnTo>
                    <a:pt x="276" y="198"/>
                  </a:lnTo>
                  <a:lnTo>
                    <a:pt x="282" y="198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2" y="186"/>
                  </a:lnTo>
                  <a:lnTo>
                    <a:pt x="288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88" y="180"/>
                  </a:lnTo>
                  <a:lnTo>
                    <a:pt x="288" y="174"/>
                  </a:lnTo>
                  <a:lnTo>
                    <a:pt x="282" y="174"/>
                  </a:lnTo>
                  <a:lnTo>
                    <a:pt x="276" y="174"/>
                  </a:lnTo>
                  <a:lnTo>
                    <a:pt x="276" y="168"/>
                  </a:lnTo>
                  <a:lnTo>
                    <a:pt x="270" y="168"/>
                  </a:lnTo>
                  <a:lnTo>
                    <a:pt x="264" y="168"/>
                  </a:lnTo>
                  <a:lnTo>
                    <a:pt x="264" y="162"/>
                  </a:lnTo>
                  <a:lnTo>
                    <a:pt x="258" y="162"/>
                  </a:lnTo>
                  <a:lnTo>
                    <a:pt x="258" y="156"/>
                  </a:lnTo>
                  <a:lnTo>
                    <a:pt x="252" y="150"/>
                  </a:lnTo>
                  <a:lnTo>
                    <a:pt x="252" y="144"/>
                  </a:lnTo>
                  <a:lnTo>
                    <a:pt x="246" y="144"/>
                  </a:lnTo>
                  <a:lnTo>
                    <a:pt x="246" y="132"/>
                  </a:lnTo>
                  <a:lnTo>
                    <a:pt x="240" y="120"/>
                  </a:lnTo>
                  <a:lnTo>
                    <a:pt x="240" y="114"/>
                  </a:lnTo>
                  <a:lnTo>
                    <a:pt x="240" y="108"/>
                  </a:lnTo>
                  <a:lnTo>
                    <a:pt x="240" y="102"/>
                  </a:lnTo>
                  <a:lnTo>
                    <a:pt x="234" y="96"/>
                  </a:lnTo>
                  <a:lnTo>
                    <a:pt x="234" y="84"/>
                  </a:lnTo>
                  <a:lnTo>
                    <a:pt x="234" y="78"/>
                  </a:lnTo>
                  <a:lnTo>
                    <a:pt x="234" y="72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34" y="54"/>
                  </a:lnTo>
                  <a:lnTo>
                    <a:pt x="234" y="48"/>
                  </a:lnTo>
                  <a:lnTo>
                    <a:pt x="234" y="42"/>
                  </a:lnTo>
                  <a:lnTo>
                    <a:pt x="240" y="36"/>
                  </a:lnTo>
                  <a:lnTo>
                    <a:pt x="240" y="30"/>
                  </a:lnTo>
                  <a:lnTo>
                    <a:pt x="240" y="24"/>
                  </a:lnTo>
                  <a:lnTo>
                    <a:pt x="240" y="18"/>
                  </a:lnTo>
                  <a:lnTo>
                    <a:pt x="234" y="24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0" y="30"/>
                  </a:lnTo>
                  <a:lnTo>
                    <a:pt x="204" y="30"/>
                  </a:lnTo>
                  <a:lnTo>
                    <a:pt x="198" y="24"/>
                  </a:lnTo>
                  <a:lnTo>
                    <a:pt x="192" y="24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8" y="6"/>
                  </a:lnTo>
                  <a:lnTo>
                    <a:pt x="162" y="6"/>
                  </a:lnTo>
                  <a:lnTo>
                    <a:pt x="156" y="6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44" y="18"/>
                  </a:lnTo>
                  <a:lnTo>
                    <a:pt x="138" y="18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8" y="36"/>
                  </a:lnTo>
                  <a:lnTo>
                    <a:pt x="132" y="36"/>
                  </a:lnTo>
                  <a:lnTo>
                    <a:pt x="138" y="36"/>
                  </a:lnTo>
                  <a:lnTo>
                    <a:pt x="132" y="36"/>
                  </a:lnTo>
                  <a:lnTo>
                    <a:pt x="132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32" y="60"/>
                  </a:lnTo>
                  <a:lnTo>
                    <a:pt x="132" y="66"/>
                  </a:lnTo>
                  <a:lnTo>
                    <a:pt x="138" y="66"/>
                  </a:lnTo>
                  <a:lnTo>
                    <a:pt x="144" y="66"/>
                  </a:lnTo>
                  <a:lnTo>
                    <a:pt x="150" y="60"/>
                  </a:lnTo>
                  <a:lnTo>
                    <a:pt x="156" y="60"/>
                  </a:lnTo>
                  <a:lnTo>
                    <a:pt x="162" y="60"/>
                  </a:lnTo>
                  <a:lnTo>
                    <a:pt x="168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0" y="54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8"/>
                  </a:lnTo>
                  <a:lnTo>
                    <a:pt x="192" y="42"/>
                  </a:lnTo>
                  <a:lnTo>
                    <a:pt x="198" y="42"/>
                  </a:lnTo>
                  <a:lnTo>
                    <a:pt x="204" y="48"/>
                  </a:lnTo>
                  <a:lnTo>
                    <a:pt x="210" y="54"/>
                  </a:lnTo>
                  <a:lnTo>
                    <a:pt x="210" y="60"/>
                  </a:lnTo>
                  <a:lnTo>
                    <a:pt x="216" y="60"/>
                  </a:lnTo>
                  <a:lnTo>
                    <a:pt x="216" y="66"/>
                  </a:lnTo>
                  <a:lnTo>
                    <a:pt x="210" y="72"/>
                  </a:lnTo>
                  <a:lnTo>
                    <a:pt x="210" y="78"/>
                  </a:lnTo>
                  <a:lnTo>
                    <a:pt x="210" y="84"/>
                  </a:lnTo>
                  <a:lnTo>
                    <a:pt x="210" y="90"/>
                  </a:lnTo>
                  <a:lnTo>
                    <a:pt x="210" y="96"/>
                  </a:lnTo>
                  <a:lnTo>
                    <a:pt x="210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92" y="108"/>
                  </a:lnTo>
                  <a:lnTo>
                    <a:pt x="186" y="108"/>
                  </a:lnTo>
                  <a:lnTo>
                    <a:pt x="186" y="102"/>
                  </a:lnTo>
                  <a:lnTo>
                    <a:pt x="180" y="102"/>
                  </a:lnTo>
                  <a:lnTo>
                    <a:pt x="174" y="102"/>
                  </a:lnTo>
                  <a:lnTo>
                    <a:pt x="168" y="102"/>
                  </a:lnTo>
                  <a:lnTo>
                    <a:pt x="174" y="102"/>
                  </a:lnTo>
                  <a:lnTo>
                    <a:pt x="174" y="96"/>
                  </a:lnTo>
                  <a:lnTo>
                    <a:pt x="168" y="96"/>
                  </a:lnTo>
                  <a:lnTo>
                    <a:pt x="168" y="90"/>
                  </a:lnTo>
                  <a:lnTo>
                    <a:pt x="162" y="90"/>
                  </a:lnTo>
                  <a:lnTo>
                    <a:pt x="156" y="90"/>
                  </a:lnTo>
                  <a:lnTo>
                    <a:pt x="150" y="90"/>
                  </a:lnTo>
                  <a:lnTo>
                    <a:pt x="156" y="90"/>
                  </a:lnTo>
                  <a:lnTo>
                    <a:pt x="150" y="90"/>
                  </a:lnTo>
                  <a:lnTo>
                    <a:pt x="150" y="96"/>
                  </a:lnTo>
                  <a:lnTo>
                    <a:pt x="150" y="102"/>
                  </a:lnTo>
                  <a:lnTo>
                    <a:pt x="156" y="102"/>
                  </a:lnTo>
                  <a:lnTo>
                    <a:pt x="150" y="102"/>
                  </a:lnTo>
                  <a:lnTo>
                    <a:pt x="156" y="102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50" y="108"/>
                  </a:lnTo>
                  <a:lnTo>
                    <a:pt x="150" y="114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8" y="120"/>
                  </a:lnTo>
                  <a:lnTo>
                    <a:pt x="132" y="120"/>
                  </a:lnTo>
                  <a:lnTo>
                    <a:pt x="132" y="114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0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14" y="60"/>
                  </a:lnTo>
                  <a:lnTo>
                    <a:pt x="108" y="60"/>
                  </a:lnTo>
                  <a:lnTo>
                    <a:pt x="108" y="54"/>
                  </a:lnTo>
                  <a:lnTo>
                    <a:pt x="102" y="54"/>
                  </a:lnTo>
                  <a:lnTo>
                    <a:pt x="96" y="54"/>
                  </a:lnTo>
                  <a:lnTo>
                    <a:pt x="90" y="54"/>
                  </a:lnTo>
                  <a:lnTo>
                    <a:pt x="90" y="60"/>
                  </a:lnTo>
                  <a:lnTo>
                    <a:pt x="84" y="60"/>
                  </a:lnTo>
                  <a:lnTo>
                    <a:pt x="78" y="60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60" y="54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60" y="66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84"/>
                  </a:lnTo>
                  <a:lnTo>
                    <a:pt x="66" y="90"/>
                  </a:lnTo>
                  <a:lnTo>
                    <a:pt x="66" y="96"/>
                  </a:lnTo>
                  <a:lnTo>
                    <a:pt x="66" y="102"/>
                  </a:lnTo>
                  <a:lnTo>
                    <a:pt x="60" y="102"/>
                  </a:lnTo>
                  <a:lnTo>
                    <a:pt x="66" y="108"/>
                  </a:lnTo>
                  <a:lnTo>
                    <a:pt x="60" y="108"/>
                  </a:lnTo>
                  <a:lnTo>
                    <a:pt x="60" y="114"/>
                  </a:lnTo>
                  <a:lnTo>
                    <a:pt x="60" y="120"/>
                  </a:lnTo>
                  <a:lnTo>
                    <a:pt x="54" y="126"/>
                  </a:lnTo>
                  <a:lnTo>
                    <a:pt x="48" y="126"/>
                  </a:lnTo>
                  <a:lnTo>
                    <a:pt x="42" y="126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30" y="132"/>
                  </a:lnTo>
                  <a:lnTo>
                    <a:pt x="24" y="132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6" y="144"/>
                  </a:lnTo>
                  <a:lnTo>
                    <a:pt x="6" y="150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2" y="186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0" name="Freeform 6"/>
            <p:cNvSpPr>
              <a:spLocks noChangeAspect="1"/>
            </p:cNvSpPr>
            <p:nvPr/>
          </p:nvSpPr>
          <p:spPr bwMode="auto">
            <a:xfrm>
              <a:off x="4000034" y="3881064"/>
              <a:ext cx="288921" cy="366736"/>
            </a:xfrm>
            <a:custGeom>
              <a:avLst/>
              <a:gdLst>
                <a:gd name="T0" fmla="*/ 2147483647 w 228"/>
                <a:gd name="T1" fmla="*/ 2147483647 h 288"/>
                <a:gd name="T2" fmla="*/ 2147483647 w 228"/>
                <a:gd name="T3" fmla="*/ 2147483647 h 288"/>
                <a:gd name="T4" fmla="*/ 2147483647 w 228"/>
                <a:gd name="T5" fmla="*/ 2147483647 h 288"/>
                <a:gd name="T6" fmla="*/ 2147483647 w 228"/>
                <a:gd name="T7" fmla="*/ 2147483647 h 288"/>
                <a:gd name="T8" fmla="*/ 2147483647 w 228"/>
                <a:gd name="T9" fmla="*/ 2147483647 h 288"/>
                <a:gd name="T10" fmla="*/ 2147483647 w 228"/>
                <a:gd name="T11" fmla="*/ 2147483647 h 288"/>
                <a:gd name="T12" fmla="*/ 2147483647 w 228"/>
                <a:gd name="T13" fmla="*/ 2147483647 h 288"/>
                <a:gd name="T14" fmla="*/ 2147483647 w 228"/>
                <a:gd name="T15" fmla="*/ 2147483647 h 288"/>
                <a:gd name="T16" fmla="*/ 2147483647 w 228"/>
                <a:gd name="T17" fmla="*/ 2147483647 h 288"/>
                <a:gd name="T18" fmla="*/ 2147483647 w 228"/>
                <a:gd name="T19" fmla="*/ 2147483647 h 288"/>
                <a:gd name="T20" fmla="*/ 2147483647 w 228"/>
                <a:gd name="T21" fmla="*/ 2147483647 h 288"/>
                <a:gd name="T22" fmla="*/ 2147483647 w 228"/>
                <a:gd name="T23" fmla="*/ 2147483647 h 288"/>
                <a:gd name="T24" fmla="*/ 2147483647 w 228"/>
                <a:gd name="T25" fmla="*/ 2147483647 h 288"/>
                <a:gd name="T26" fmla="*/ 2147483647 w 228"/>
                <a:gd name="T27" fmla="*/ 2147483647 h 288"/>
                <a:gd name="T28" fmla="*/ 2147483647 w 228"/>
                <a:gd name="T29" fmla="*/ 2147483647 h 288"/>
                <a:gd name="T30" fmla="*/ 2147483647 w 228"/>
                <a:gd name="T31" fmla="*/ 2147483647 h 288"/>
                <a:gd name="T32" fmla="*/ 2147483647 w 228"/>
                <a:gd name="T33" fmla="*/ 2147483647 h 288"/>
                <a:gd name="T34" fmla="*/ 2147483647 w 228"/>
                <a:gd name="T35" fmla="*/ 2147483647 h 288"/>
                <a:gd name="T36" fmla="*/ 2147483647 w 228"/>
                <a:gd name="T37" fmla="*/ 2147483647 h 288"/>
                <a:gd name="T38" fmla="*/ 2147483647 w 228"/>
                <a:gd name="T39" fmla="*/ 2147483647 h 288"/>
                <a:gd name="T40" fmla="*/ 2147483647 w 228"/>
                <a:gd name="T41" fmla="*/ 2147483647 h 288"/>
                <a:gd name="T42" fmla="*/ 2147483647 w 228"/>
                <a:gd name="T43" fmla="*/ 2147483647 h 288"/>
                <a:gd name="T44" fmla="*/ 2147483647 w 228"/>
                <a:gd name="T45" fmla="*/ 2147483647 h 288"/>
                <a:gd name="T46" fmla="*/ 2147483647 w 228"/>
                <a:gd name="T47" fmla="*/ 2147483647 h 288"/>
                <a:gd name="T48" fmla="*/ 2147483647 w 228"/>
                <a:gd name="T49" fmla="*/ 2147483647 h 288"/>
                <a:gd name="T50" fmla="*/ 2147483647 w 228"/>
                <a:gd name="T51" fmla="*/ 2147483647 h 288"/>
                <a:gd name="T52" fmla="*/ 2147483647 w 228"/>
                <a:gd name="T53" fmla="*/ 2147483647 h 288"/>
                <a:gd name="T54" fmla="*/ 2147483647 w 228"/>
                <a:gd name="T55" fmla="*/ 2147483647 h 288"/>
                <a:gd name="T56" fmla="*/ 2147483647 w 228"/>
                <a:gd name="T57" fmla="*/ 2147483647 h 288"/>
                <a:gd name="T58" fmla="*/ 2147483647 w 228"/>
                <a:gd name="T59" fmla="*/ 2147483647 h 288"/>
                <a:gd name="T60" fmla="*/ 2147483647 w 228"/>
                <a:gd name="T61" fmla="*/ 2147483647 h 288"/>
                <a:gd name="T62" fmla="*/ 2147483647 w 228"/>
                <a:gd name="T63" fmla="*/ 2147483647 h 288"/>
                <a:gd name="T64" fmla="*/ 2147483647 w 228"/>
                <a:gd name="T65" fmla="*/ 2147483647 h 288"/>
                <a:gd name="T66" fmla="*/ 2147483647 w 228"/>
                <a:gd name="T67" fmla="*/ 2147483647 h 288"/>
                <a:gd name="T68" fmla="*/ 2147483647 w 228"/>
                <a:gd name="T69" fmla="*/ 2147483647 h 288"/>
                <a:gd name="T70" fmla="*/ 2147483647 w 228"/>
                <a:gd name="T71" fmla="*/ 2147483647 h 288"/>
                <a:gd name="T72" fmla="*/ 2147483647 w 228"/>
                <a:gd name="T73" fmla="*/ 2147483647 h 288"/>
                <a:gd name="T74" fmla="*/ 2147483647 w 228"/>
                <a:gd name="T75" fmla="*/ 2147483647 h 288"/>
                <a:gd name="T76" fmla="*/ 2147483647 w 228"/>
                <a:gd name="T77" fmla="*/ 2147483647 h 288"/>
                <a:gd name="T78" fmla="*/ 2147483647 w 228"/>
                <a:gd name="T79" fmla="*/ 2147483647 h 288"/>
                <a:gd name="T80" fmla="*/ 2147483647 w 228"/>
                <a:gd name="T81" fmla="*/ 0 h 288"/>
                <a:gd name="T82" fmla="*/ 2147483647 w 228"/>
                <a:gd name="T83" fmla="*/ 2147483647 h 288"/>
                <a:gd name="T84" fmla="*/ 2147483647 w 228"/>
                <a:gd name="T85" fmla="*/ 2147483647 h 288"/>
                <a:gd name="T86" fmla="*/ 2147483647 w 228"/>
                <a:gd name="T87" fmla="*/ 2147483647 h 288"/>
                <a:gd name="T88" fmla="*/ 2147483647 w 228"/>
                <a:gd name="T89" fmla="*/ 2147483647 h 288"/>
                <a:gd name="T90" fmla="*/ 2147483647 w 228"/>
                <a:gd name="T91" fmla="*/ 2147483647 h 288"/>
                <a:gd name="T92" fmla="*/ 2147483647 w 228"/>
                <a:gd name="T93" fmla="*/ 2147483647 h 288"/>
                <a:gd name="T94" fmla="*/ 2147483647 w 228"/>
                <a:gd name="T95" fmla="*/ 2147483647 h 288"/>
                <a:gd name="T96" fmla="*/ 2147483647 w 228"/>
                <a:gd name="T97" fmla="*/ 2147483647 h 288"/>
                <a:gd name="T98" fmla="*/ 2147483647 w 228"/>
                <a:gd name="T99" fmla="*/ 2147483647 h 288"/>
                <a:gd name="T100" fmla="*/ 2147483647 w 228"/>
                <a:gd name="T101" fmla="*/ 2147483647 h 288"/>
                <a:gd name="T102" fmla="*/ 2147483647 w 228"/>
                <a:gd name="T103" fmla="*/ 2147483647 h 288"/>
                <a:gd name="T104" fmla="*/ 2147483647 w 228"/>
                <a:gd name="T105" fmla="*/ 2147483647 h 288"/>
                <a:gd name="T106" fmla="*/ 2147483647 w 228"/>
                <a:gd name="T107" fmla="*/ 2147483647 h 288"/>
                <a:gd name="T108" fmla="*/ 2147483647 w 228"/>
                <a:gd name="T109" fmla="*/ 2147483647 h 288"/>
                <a:gd name="T110" fmla="*/ 2147483647 w 228"/>
                <a:gd name="T111" fmla="*/ 2147483647 h 288"/>
                <a:gd name="T112" fmla="*/ 2147483647 w 228"/>
                <a:gd name="T113" fmla="*/ 2147483647 h 288"/>
                <a:gd name="T114" fmla="*/ 2147483647 w 228"/>
                <a:gd name="T115" fmla="*/ 2147483647 h 288"/>
                <a:gd name="T116" fmla="*/ 2147483647 w 228"/>
                <a:gd name="T117" fmla="*/ 2147483647 h 288"/>
                <a:gd name="T118" fmla="*/ 2147483647 w 228"/>
                <a:gd name="T119" fmla="*/ 2147483647 h 288"/>
                <a:gd name="T120" fmla="*/ 2147483647 w 228"/>
                <a:gd name="T121" fmla="*/ 2147483647 h 288"/>
                <a:gd name="T122" fmla="*/ 2147483647 w 228"/>
                <a:gd name="T123" fmla="*/ 2147483647 h 28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28"/>
                <a:gd name="T187" fmla="*/ 0 h 288"/>
                <a:gd name="T188" fmla="*/ 228 w 228"/>
                <a:gd name="T189" fmla="*/ 288 h 28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28" h="288">
                  <a:moveTo>
                    <a:pt x="24" y="252"/>
                  </a:moveTo>
                  <a:lnTo>
                    <a:pt x="30" y="252"/>
                  </a:lnTo>
                  <a:lnTo>
                    <a:pt x="36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60" y="258"/>
                  </a:lnTo>
                  <a:lnTo>
                    <a:pt x="60" y="264"/>
                  </a:lnTo>
                  <a:lnTo>
                    <a:pt x="66" y="264"/>
                  </a:lnTo>
                  <a:lnTo>
                    <a:pt x="72" y="264"/>
                  </a:lnTo>
                  <a:lnTo>
                    <a:pt x="78" y="264"/>
                  </a:lnTo>
                  <a:lnTo>
                    <a:pt x="84" y="264"/>
                  </a:lnTo>
                  <a:lnTo>
                    <a:pt x="90" y="264"/>
                  </a:lnTo>
                  <a:lnTo>
                    <a:pt x="90" y="270"/>
                  </a:lnTo>
                  <a:lnTo>
                    <a:pt x="84" y="270"/>
                  </a:lnTo>
                  <a:lnTo>
                    <a:pt x="84" y="276"/>
                  </a:lnTo>
                  <a:lnTo>
                    <a:pt x="90" y="276"/>
                  </a:lnTo>
                  <a:lnTo>
                    <a:pt x="90" y="282"/>
                  </a:lnTo>
                  <a:lnTo>
                    <a:pt x="96" y="282"/>
                  </a:lnTo>
                  <a:lnTo>
                    <a:pt x="102" y="288"/>
                  </a:lnTo>
                  <a:lnTo>
                    <a:pt x="108" y="288"/>
                  </a:lnTo>
                  <a:lnTo>
                    <a:pt x="108" y="282"/>
                  </a:lnTo>
                  <a:lnTo>
                    <a:pt x="114" y="282"/>
                  </a:lnTo>
                  <a:lnTo>
                    <a:pt x="114" y="276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26" y="282"/>
                  </a:lnTo>
                  <a:lnTo>
                    <a:pt x="132" y="282"/>
                  </a:lnTo>
                  <a:lnTo>
                    <a:pt x="138" y="282"/>
                  </a:lnTo>
                  <a:lnTo>
                    <a:pt x="138" y="276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44" y="264"/>
                  </a:lnTo>
                  <a:lnTo>
                    <a:pt x="144" y="258"/>
                  </a:lnTo>
                  <a:lnTo>
                    <a:pt x="144" y="252"/>
                  </a:lnTo>
                  <a:lnTo>
                    <a:pt x="138" y="246"/>
                  </a:lnTo>
                  <a:lnTo>
                    <a:pt x="144" y="246"/>
                  </a:lnTo>
                  <a:lnTo>
                    <a:pt x="150" y="246"/>
                  </a:lnTo>
                  <a:lnTo>
                    <a:pt x="156" y="246"/>
                  </a:lnTo>
                  <a:lnTo>
                    <a:pt x="162" y="246"/>
                  </a:lnTo>
                  <a:lnTo>
                    <a:pt x="162" y="252"/>
                  </a:lnTo>
                  <a:lnTo>
                    <a:pt x="168" y="252"/>
                  </a:lnTo>
                  <a:lnTo>
                    <a:pt x="168" y="246"/>
                  </a:lnTo>
                  <a:lnTo>
                    <a:pt x="162" y="246"/>
                  </a:lnTo>
                  <a:lnTo>
                    <a:pt x="168" y="246"/>
                  </a:lnTo>
                  <a:lnTo>
                    <a:pt x="174" y="246"/>
                  </a:lnTo>
                  <a:lnTo>
                    <a:pt x="168" y="246"/>
                  </a:lnTo>
                  <a:lnTo>
                    <a:pt x="174" y="252"/>
                  </a:lnTo>
                  <a:lnTo>
                    <a:pt x="180" y="252"/>
                  </a:lnTo>
                  <a:lnTo>
                    <a:pt x="174" y="252"/>
                  </a:lnTo>
                  <a:lnTo>
                    <a:pt x="180" y="246"/>
                  </a:lnTo>
                  <a:lnTo>
                    <a:pt x="180" y="240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0" y="234"/>
                  </a:lnTo>
                  <a:lnTo>
                    <a:pt x="180" y="240"/>
                  </a:lnTo>
                  <a:lnTo>
                    <a:pt x="186" y="240"/>
                  </a:lnTo>
                  <a:lnTo>
                    <a:pt x="192" y="240"/>
                  </a:lnTo>
                  <a:lnTo>
                    <a:pt x="198" y="240"/>
                  </a:lnTo>
                  <a:lnTo>
                    <a:pt x="198" y="234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34"/>
                  </a:lnTo>
                  <a:lnTo>
                    <a:pt x="198" y="234"/>
                  </a:lnTo>
                  <a:lnTo>
                    <a:pt x="192" y="234"/>
                  </a:lnTo>
                  <a:lnTo>
                    <a:pt x="192" y="228"/>
                  </a:lnTo>
                  <a:lnTo>
                    <a:pt x="198" y="228"/>
                  </a:lnTo>
                  <a:lnTo>
                    <a:pt x="204" y="228"/>
                  </a:lnTo>
                  <a:lnTo>
                    <a:pt x="210" y="228"/>
                  </a:lnTo>
                  <a:lnTo>
                    <a:pt x="204" y="222"/>
                  </a:lnTo>
                  <a:lnTo>
                    <a:pt x="198" y="222"/>
                  </a:lnTo>
                  <a:lnTo>
                    <a:pt x="198" y="216"/>
                  </a:lnTo>
                  <a:lnTo>
                    <a:pt x="204" y="216"/>
                  </a:lnTo>
                  <a:lnTo>
                    <a:pt x="210" y="216"/>
                  </a:lnTo>
                  <a:lnTo>
                    <a:pt x="210" y="210"/>
                  </a:lnTo>
                  <a:lnTo>
                    <a:pt x="204" y="210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204" y="210"/>
                  </a:lnTo>
                  <a:lnTo>
                    <a:pt x="210" y="210"/>
                  </a:lnTo>
                  <a:lnTo>
                    <a:pt x="210" y="204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204" y="204"/>
                  </a:lnTo>
                  <a:lnTo>
                    <a:pt x="204" y="198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204" y="192"/>
                  </a:lnTo>
                  <a:lnTo>
                    <a:pt x="210" y="192"/>
                  </a:lnTo>
                  <a:lnTo>
                    <a:pt x="216" y="192"/>
                  </a:lnTo>
                  <a:lnTo>
                    <a:pt x="216" y="186"/>
                  </a:lnTo>
                  <a:lnTo>
                    <a:pt x="210" y="186"/>
                  </a:lnTo>
                  <a:lnTo>
                    <a:pt x="204" y="186"/>
                  </a:lnTo>
                  <a:lnTo>
                    <a:pt x="204" y="192"/>
                  </a:lnTo>
                  <a:lnTo>
                    <a:pt x="204" y="186"/>
                  </a:lnTo>
                  <a:lnTo>
                    <a:pt x="210" y="186"/>
                  </a:lnTo>
                  <a:lnTo>
                    <a:pt x="210" y="180"/>
                  </a:lnTo>
                  <a:lnTo>
                    <a:pt x="210" y="174"/>
                  </a:lnTo>
                  <a:lnTo>
                    <a:pt x="216" y="174"/>
                  </a:lnTo>
                  <a:lnTo>
                    <a:pt x="210" y="174"/>
                  </a:lnTo>
                  <a:lnTo>
                    <a:pt x="216" y="174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2" y="162"/>
                  </a:lnTo>
                  <a:lnTo>
                    <a:pt x="216" y="168"/>
                  </a:lnTo>
                  <a:lnTo>
                    <a:pt x="210" y="168"/>
                  </a:lnTo>
                  <a:lnTo>
                    <a:pt x="210" y="162"/>
                  </a:lnTo>
                  <a:lnTo>
                    <a:pt x="216" y="162"/>
                  </a:lnTo>
                  <a:lnTo>
                    <a:pt x="222" y="156"/>
                  </a:lnTo>
                  <a:lnTo>
                    <a:pt x="228" y="150"/>
                  </a:lnTo>
                  <a:lnTo>
                    <a:pt x="222" y="150"/>
                  </a:lnTo>
                  <a:lnTo>
                    <a:pt x="216" y="144"/>
                  </a:lnTo>
                  <a:lnTo>
                    <a:pt x="216" y="138"/>
                  </a:lnTo>
                  <a:lnTo>
                    <a:pt x="216" y="132"/>
                  </a:lnTo>
                  <a:lnTo>
                    <a:pt x="210" y="132"/>
                  </a:lnTo>
                  <a:lnTo>
                    <a:pt x="210" y="138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04" y="138"/>
                  </a:lnTo>
                  <a:lnTo>
                    <a:pt x="204" y="132"/>
                  </a:lnTo>
                  <a:lnTo>
                    <a:pt x="210" y="138"/>
                  </a:lnTo>
                  <a:lnTo>
                    <a:pt x="210" y="132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20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198" y="90"/>
                  </a:lnTo>
                  <a:lnTo>
                    <a:pt x="198" y="84"/>
                  </a:lnTo>
                  <a:lnTo>
                    <a:pt x="198" y="78"/>
                  </a:lnTo>
                  <a:lnTo>
                    <a:pt x="198" y="72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6"/>
                  </a:lnTo>
                  <a:lnTo>
                    <a:pt x="174" y="60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0" y="48"/>
                  </a:lnTo>
                  <a:lnTo>
                    <a:pt x="174" y="42"/>
                  </a:lnTo>
                  <a:lnTo>
                    <a:pt x="168" y="42"/>
                  </a:lnTo>
                  <a:lnTo>
                    <a:pt x="168" y="36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8" y="24"/>
                  </a:lnTo>
                  <a:lnTo>
                    <a:pt x="162" y="24"/>
                  </a:lnTo>
                  <a:lnTo>
                    <a:pt x="162" y="18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6" y="6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42" y="36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60"/>
                  </a:lnTo>
                  <a:lnTo>
                    <a:pt x="18" y="66"/>
                  </a:lnTo>
                  <a:lnTo>
                    <a:pt x="18" y="72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24" y="96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14"/>
                  </a:lnTo>
                  <a:lnTo>
                    <a:pt x="18" y="114"/>
                  </a:lnTo>
                  <a:lnTo>
                    <a:pt x="12" y="120"/>
                  </a:lnTo>
                  <a:lnTo>
                    <a:pt x="18" y="126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18" y="144"/>
                  </a:lnTo>
                  <a:lnTo>
                    <a:pt x="12" y="144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12" y="150"/>
                  </a:lnTo>
                  <a:lnTo>
                    <a:pt x="12" y="156"/>
                  </a:lnTo>
                  <a:lnTo>
                    <a:pt x="6" y="156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0" y="168"/>
                  </a:lnTo>
                  <a:lnTo>
                    <a:pt x="6" y="174"/>
                  </a:lnTo>
                  <a:lnTo>
                    <a:pt x="0" y="174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6" y="186"/>
                  </a:lnTo>
                  <a:lnTo>
                    <a:pt x="6" y="192"/>
                  </a:lnTo>
                  <a:lnTo>
                    <a:pt x="12" y="192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204"/>
                  </a:lnTo>
                  <a:lnTo>
                    <a:pt x="24" y="204"/>
                  </a:lnTo>
                  <a:lnTo>
                    <a:pt x="24" y="210"/>
                  </a:lnTo>
                  <a:lnTo>
                    <a:pt x="18" y="210"/>
                  </a:lnTo>
                  <a:lnTo>
                    <a:pt x="24" y="210"/>
                  </a:lnTo>
                  <a:lnTo>
                    <a:pt x="24" y="216"/>
                  </a:lnTo>
                  <a:lnTo>
                    <a:pt x="18" y="222"/>
                  </a:lnTo>
                  <a:lnTo>
                    <a:pt x="24" y="222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34"/>
                  </a:lnTo>
                  <a:lnTo>
                    <a:pt x="30" y="240"/>
                  </a:lnTo>
                  <a:lnTo>
                    <a:pt x="24" y="246"/>
                  </a:lnTo>
                  <a:lnTo>
                    <a:pt x="24" y="252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1" name="Freeform 7"/>
            <p:cNvSpPr>
              <a:spLocks noChangeAspect="1" noEditPoints="1"/>
            </p:cNvSpPr>
            <p:nvPr/>
          </p:nvSpPr>
          <p:spPr bwMode="auto">
            <a:xfrm>
              <a:off x="3953601" y="4193821"/>
              <a:ext cx="266564" cy="258780"/>
            </a:xfrm>
            <a:custGeom>
              <a:avLst/>
              <a:gdLst>
                <a:gd name="T0" fmla="*/ 2147483647 w 210"/>
                <a:gd name="T1" fmla="*/ 2147483647 h 204"/>
                <a:gd name="T2" fmla="*/ 2147483647 w 210"/>
                <a:gd name="T3" fmla="*/ 2147483647 h 204"/>
                <a:gd name="T4" fmla="*/ 2147483647 w 210"/>
                <a:gd name="T5" fmla="*/ 2147483647 h 204"/>
                <a:gd name="T6" fmla="*/ 2147483647 w 210"/>
                <a:gd name="T7" fmla="*/ 2147483647 h 204"/>
                <a:gd name="T8" fmla="*/ 2147483647 w 210"/>
                <a:gd name="T9" fmla="*/ 2147483647 h 204"/>
                <a:gd name="T10" fmla="*/ 2147483647 w 210"/>
                <a:gd name="T11" fmla="*/ 2147483647 h 204"/>
                <a:gd name="T12" fmla="*/ 2147483647 w 210"/>
                <a:gd name="T13" fmla="*/ 2147483647 h 204"/>
                <a:gd name="T14" fmla="*/ 2147483647 w 210"/>
                <a:gd name="T15" fmla="*/ 2147483647 h 204"/>
                <a:gd name="T16" fmla="*/ 2147483647 w 210"/>
                <a:gd name="T17" fmla="*/ 2147483647 h 204"/>
                <a:gd name="T18" fmla="*/ 2147483647 w 210"/>
                <a:gd name="T19" fmla="*/ 2147483647 h 204"/>
                <a:gd name="T20" fmla="*/ 2147483647 w 210"/>
                <a:gd name="T21" fmla="*/ 2147483647 h 204"/>
                <a:gd name="T22" fmla="*/ 2147483647 w 210"/>
                <a:gd name="T23" fmla="*/ 2147483647 h 204"/>
                <a:gd name="T24" fmla="*/ 2147483647 w 210"/>
                <a:gd name="T25" fmla="*/ 2147483647 h 204"/>
                <a:gd name="T26" fmla="*/ 2147483647 w 210"/>
                <a:gd name="T27" fmla="*/ 2147483647 h 204"/>
                <a:gd name="T28" fmla="*/ 2147483647 w 210"/>
                <a:gd name="T29" fmla="*/ 2147483647 h 204"/>
                <a:gd name="T30" fmla="*/ 2147483647 w 210"/>
                <a:gd name="T31" fmla="*/ 2147483647 h 204"/>
                <a:gd name="T32" fmla="*/ 2147483647 w 210"/>
                <a:gd name="T33" fmla="*/ 2147483647 h 204"/>
                <a:gd name="T34" fmla="*/ 2147483647 w 210"/>
                <a:gd name="T35" fmla="*/ 2147483647 h 204"/>
                <a:gd name="T36" fmla="*/ 2147483647 w 210"/>
                <a:gd name="T37" fmla="*/ 2147483647 h 204"/>
                <a:gd name="T38" fmla="*/ 2147483647 w 210"/>
                <a:gd name="T39" fmla="*/ 2147483647 h 204"/>
                <a:gd name="T40" fmla="*/ 2147483647 w 210"/>
                <a:gd name="T41" fmla="*/ 2147483647 h 204"/>
                <a:gd name="T42" fmla="*/ 2147483647 w 210"/>
                <a:gd name="T43" fmla="*/ 2147483647 h 204"/>
                <a:gd name="T44" fmla="*/ 2147483647 w 210"/>
                <a:gd name="T45" fmla="*/ 2147483647 h 204"/>
                <a:gd name="T46" fmla="*/ 2147483647 w 210"/>
                <a:gd name="T47" fmla="*/ 2147483647 h 204"/>
                <a:gd name="T48" fmla="*/ 2147483647 w 210"/>
                <a:gd name="T49" fmla="*/ 2147483647 h 204"/>
                <a:gd name="T50" fmla="*/ 2147483647 w 210"/>
                <a:gd name="T51" fmla="*/ 2147483647 h 204"/>
                <a:gd name="T52" fmla="*/ 2147483647 w 210"/>
                <a:gd name="T53" fmla="*/ 2147483647 h 204"/>
                <a:gd name="T54" fmla="*/ 2147483647 w 210"/>
                <a:gd name="T55" fmla="*/ 2147483647 h 204"/>
                <a:gd name="T56" fmla="*/ 2147483647 w 210"/>
                <a:gd name="T57" fmla="*/ 2147483647 h 204"/>
                <a:gd name="T58" fmla="*/ 2147483647 w 210"/>
                <a:gd name="T59" fmla="*/ 2147483647 h 204"/>
                <a:gd name="T60" fmla="*/ 2147483647 w 210"/>
                <a:gd name="T61" fmla="*/ 2147483647 h 204"/>
                <a:gd name="T62" fmla="*/ 2147483647 w 210"/>
                <a:gd name="T63" fmla="*/ 2147483647 h 204"/>
                <a:gd name="T64" fmla="*/ 2147483647 w 210"/>
                <a:gd name="T65" fmla="*/ 2147483647 h 204"/>
                <a:gd name="T66" fmla="*/ 2147483647 w 210"/>
                <a:gd name="T67" fmla="*/ 0 h 204"/>
                <a:gd name="T68" fmla="*/ 2147483647 w 210"/>
                <a:gd name="T69" fmla="*/ 2147483647 h 204"/>
                <a:gd name="T70" fmla="*/ 2147483647 w 210"/>
                <a:gd name="T71" fmla="*/ 2147483647 h 204"/>
                <a:gd name="T72" fmla="*/ 2147483647 w 210"/>
                <a:gd name="T73" fmla="*/ 2147483647 h 204"/>
                <a:gd name="T74" fmla="*/ 2147483647 w 210"/>
                <a:gd name="T75" fmla="*/ 2147483647 h 204"/>
                <a:gd name="T76" fmla="*/ 2147483647 w 210"/>
                <a:gd name="T77" fmla="*/ 2147483647 h 204"/>
                <a:gd name="T78" fmla="*/ 2147483647 w 210"/>
                <a:gd name="T79" fmla="*/ 2147483647 h 204"/>
                <a:gd name="T80" fmla="*/ 2147483647 w 210"/>
                <a:gd name="T81" fmla="*/ 2147483647 h 204"/>
                <a:gd name="T82" fmla="*/ 2147483647 w 210"/>
                <a:gd name="T83" fmla="*/ 2147483647 h 204"/>
                <a:gd name="T84" fmla="*/ 2147483647 w 210"/>
                <a:gd name="T85" fmla="*/ 2147483647 h 204"/>
                <a:gd name="T86" fmla="*/ 2147483647 w 210"/>
                <a:gd name="T87" fmla="*/ 2147483647 h 204"/>
                <a:gd name="T88" fmla="*/ 2147483647 w 210"/>
                <a:gd name="T89" fmla="*/ 2147483647 h 204"/>
                <a:gd name="T90" fmla="*/ 2147483647 w 210"/>
                <a:gd name="T91" fmla="*/ 2147483647 h 204"/>
                <a:gd name="T92" fmla="*/ 2147483647 w 210"/>
                <a:gd name="T93" fmla="*/ 2147483647 h 204"/>
                <a:gd name="T94" fmla="*/ 2147483647 w 210"/>
                <a:gd name="T95" fmla="*/ 2147483647 h 204"/>
                <a:gd name="T96" fmla="*/ 2147483647 w 210"/>
                <a:gd name="T97" fmla="*/ 2147483647 h 204"/>
                <a:gd name="T98" fmla="*/ 2147483647 w 210"/>
                <a:gd name="T99" fmla="*/ 2147483647 h 204"/>
                <a:gd name="T100" fmla="*/ 0 w 210"/>
                <a:gd name="T101" fmla="*/ 2147483647 h 20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0"/>
                <a:gd name="T154" fmla="*/ 0 h 204"/>
                <a:gd name="T155" fmla="*/ 210 w 210"/>
                <a:gd name="T156" fmla="*/ 204 h 20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0" h="204">
                  <a:moveTo>
                    <a:pt x="180" y="120"/>
                  </a:moveTo>
                  <a:lnTo>
                    <a:pt x="180" y="114"/>
                  </a:lnTo>
                  <a:lnTo>
                    <a:pt x="180" y="120"/>
                  </a:lnTo>
                  <a:close/>
                  <a:moveTo>
                    <a:pt x="198" y="24"/>
                  </a:moveTo>
                  <a:lnTo>
                    <a:pt x="204" y="24"/>
                  </a:lnTo>
                  <a:lnTo>
                    <a:pt x="204" y="18"/>
                  </a:lnTo>
                  <a:lnTo>
                    <a:pt x="198" y="18"/>
                  </a:lnTo>
                  <a:lnTo>
                    <a:pt x="198" y="24"/>
                  </a:lnTo>
                  <a:close/>
                  <a:moveTo>
                    <a:pt x="198" y="120"/>
                  </a:moveTo>
                  <a:lnTo>
                    <a:pt x="204" y="120"/>
                  </a:lnTo>
                  <a:lnTo>
                    <a:pt x="204" y="126"/>
                  </a:lnTo>
                  <a:lnTo>
                    <a:pt x="204" y="120"/>
                  </a:lnTo>
                  <a:lnTo>
                    <a:pt x="204" y="114"/>
                  </a:lnTo>
                  <a:lnTo>
                    <a:pt x="198" y="114"/>
                  </a:lnTo>
                  <a:lnTo>
                    <a:pt x="198" y="120"/>
                  </a:lnTo>
                  <a:close/>
                  <a:moveTo>
                    <a:pt x="132" y="114"/>
                  </a:moveTo>
                  <a:lnTo>
                    <a:pt x="138" y="114"/>
                  </a:lnTo>
                  <a:lnTo>
                    <a:pt x="138" y="108"/>
                  </a:lnTo>
                  <a:lnTo>
                    <a:pt x="132" y="108"/>
                  </a:lnTo>
                  <a:lnTo>
                    <a:pt x="132" y="114"/>
                  </a:lnTo>
                  <a:close/>
                  <a:moveTo>
                    <a:pt x="186" y="126"/>
                  </a:moveTo>
                  <a:lnTo>
                    <a:pt x="192" y="126"/>
                  </a:lnTo>
                  <a:lnTo>
                    <a:pt x="192" y="120"/>
                  </a:lnTo>
                  <a:lnTo>
                    <a:pt x="186" y="120"/>
                  </a:lnTo>
                  <a:lnTo>
                    <a:pt x="186" y="126"/>
                  </a:lnTo>
                  <a:close/>
                  <a:moveTo>
                    <a:pt x="0" y="174"/>
                  </a:moveTo>
                  <a:lnTo>
                    <a:pt x="6" y="174"/>
                  </a:lnTo>
                  <a:lnTo>
                    <a:pt x="12" y="174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86"/>
                  </a:lnTo>
                  <a:lnTo>
                    <a:pt x="36" y="186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lnTo>
                    <a:pt x="60" y="186"/>
                  </a:lnTo>
                  <a:lnTo>
                    <a:pt x="66" y="186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96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102" y="186"/>
                  </a:lnTo>
                  <a:lnTo>
                    <a:pt x="108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2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08" y="132"/>
                  </a:lnTo>
                  <a:lnTo>
                    <a:pt x="114" y="132"/>
                  </a:lnTo>
                  <a:lnTo>
                    <a:pt x="114" y="126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20"/>
                  </a:lnTo>
                  <a:lnTo>
                    <a:pt x="126" y="114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0" y="102"/>
                  </a:lnTo>
                  <a:lnTo>
                    <a:pt x="126" y="102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102"/>
                  </a:lnTo>
                  <a:lnTo>
                    <a:pt x="132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102"/>
                  </a:lnTo>
                  <a:lnTo>
                    <a:pt x="150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96"/>
                  </a:lnTo>
                  <a:lnTo>
                    <a:pt x="162" y="102"/>
                  </a:lnTo>
                  <a:lnTo>
                    <a:pt x="168" y="102"/>
                  </a:lnTo>
                  <a:lnTo>
                    <a:pt x="174" y="102"/>
                  </a:lnTo>
                  <a:lnTo>
                    <a:pt x="180" y="102"/>
                  </a:lnTo>
                  <a:lnTo>
                    <a:pt x="180" y="108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192" y="114"/>
                  </a:lnTo>
                  <a:lnTo>
                    <a:pt x="192" y="120"/>
                  </a:lnTo>
                  <a:lnTo>
                    <a:pt x="198" y="120"/>
                  </a:lnTo>
                  <a:lnTo>
                    <a:pt x="198" y="114"/>
                  </a:lnTo>
                  <a:lnTo>
                    <a:pt x="198" y="108"/>
                  </a:lnTo>
                  <a:lnTo>
                    <a:pt x="192" y="108"/>
                  </a:lnTo>
                  <a:lnTo>
                    <a:pt x="186" y="108"/>
                  </a:lnTo>
                  <a:lnTo>
                    <a:pt x="186" y="102"/>
                  </a:lnTo>
                  <a:lnTo>
                    <a:pt x="192" y="102"/>
                  </a:lnTo>
                  <a:lnTo>
                    <a:pt x="198" y="102"/>
                  </a:lnTo>
                  <a:lnTo>
                    <a:pt x="192" y="102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96"/>
                  </a:lnTo>
                  <a:lnTo>
                    <a:pt x="180" y="96"/>
                  </a:lnTo>
                  <a:lnTo>
                    <a:pt x="180" y="90"/>
                  </a:lnTo>
                  <a:lnTo>
                    <a:pt x="186" y="96"/>
                  </a:lnTo>
                  <a:lnTo>
                    <a:pt x="192" y="96"/>
                  </a:lnTo>
                  <a:lnTo>
                    <a:pt x="192" y="90"/>
                  </a:lnTo>
                  <a:lnTo>
                    <a:pt x="186" y="90"/>
                  </a:lnTo>
                  <a:lnTo>
                    <a:pt x="192" y="90"/>
                  </a:lnTo>
                  <a:lnTo>
                    <a:pt x="186" y="90"/>
                  </a:lnTo>
                  <a:lnTo>
                    <a:pt x="186" y="84"/>
                  </a:lnTo>
                  <a:lnTo>
                    <a:pt x="186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6" y="84"/>
                  </a:lnTo>
                  <a:lnTo>
                    <a:pt x="192" y="84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192" y="78"/>
                  </a:lnTo>
                  <a:lnTo>
                    <a:pt x="186" y="78"/>
                  </a:lnTo>
                  <a:lnTo>
                    <a:pt x="186" y="72"/>
                  </a:lnTo>
                  <a:lnTo>
                    <a:pt x="180" y="72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92" y="66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80" y="60"/>
                  </a:lnTo>
                  <a:lnTo>
                    <a:pt x="174" y="60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6" y="54"/>
                  </a:lnTo>
                  <a:lnTo>
                    <a:pt x="186" y="48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98" y="48"/>
                  </a:lnTo>
                  <a:lnTo>
                    <a:pt x="192" y="48"/>
                  </a:lnTo>
                  <a:lnTo>
                    <a:pt x="192" y="42"/>
                  </a:lnTo>
                  <a:lnTo>
                    <a:pt x="186" y="42"/>
                  </a:lnTo>
                  <a:lnTo>
                    <a:pt x="186" y="36"/>
                  </a:lnTo>
                  <a:lnTo>
                    <a:pt x="192" y="36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24"/>
                  </a:lnTo>
                  <a:lnTo>
                    <a:pt x="198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24"/>
                  </a:lnTo>
                  <a:lnTo>
                    <a:pt x="210" y="24"/>
                  </a:lnTo>
                  <a:lnTo>
                    <a:pt x="210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04" y="6"/>
                  </a:lnTo>
                  <a:lnTo>
                    <a:pt x="198" y="6"/>
                  </a:lnTo>
                  <a:lnTo>
                    <a:pt x="198" y="0"/>
                  </a:lnTo>
                  <a:lnTo>
                    <a:pt x="192" y="0"/>
                  </a:lnTo>
                  <a:lnTo>
                    <a:pt x="186" y="0"/>
                  </a:lnTo>
                  <a:lnTo>
                    <a:pt x="180" y="0"/>
                  </a:lnTo>
                  <a:lnTo>
                    <a:pt x="174" y="0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74" y="30"/>
                  </a:lnTo>
                  <a:lnTo>
                    <a:pt x="174" y="36"/>
                  </a:lnTo>
                  <a:lnTo>
                    <a:pt x="168" y="36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50" y="36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8" y="42"/>
                  </a:lnTo>
                  <a:lnTo>
                    <a:pt x="132" y="36"/>
                  </a:lnTo>
                  <a:lnTo>
                    <a:pt x="126" y="36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54" y="12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54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36" y="66"/>
                  </a:lnTo>
                  <a:lnTo>
                    <a:pt x="36" y="72"/>
                  </a:lnTo>
                  <a:lnTo>
                    <a:pt x="36" y="78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42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30" y="120"/>
                  </a:lnTo>
                  <a:lnTo>
                    <a:pt x="24" y="126"/>
                  </a:lnTo>
                  <a:lnTo>
                    <a:pt x="24" y="132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12" y="156"/>
                  </a:lnTo>
                  <a:lnTo>
                    <a:pt x="12" y="162"/>
                  </a:lnTo>
                  <a:lnTo>
                    <a:pt x="6" y="162"/>
                  </a:lnTo>
                  <a:lnTo>
                    <a:pt x="0" y="162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0" y="168"/>
                  </a:lnTo>
                  <a:lnTo>
                    <a:pt x="0" y="17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2" name="Freeform 8"/>
            <p:cNvSpPr>
              <a:spLocks noChangeAspect="1"/>
            </p:cNvSpPr>
            <p:nvPr/>
          </p:nvSpPr>
          <p:spPr bwMode="auto">
            <a:xfrm>
              <a:off x="3786782" y="3866775"/>
              <a:ext cx="257965" cy="350861"/>
            </a:xfrm>
            <a:custGeom>
              <a:avLst/>
              <a:gdLst>
                <a:gd name="T0" fmla="*/ 2147483647 w 204"/>
                <a:gd name="T1" fmla="*/ 2147483647 h 276"/>
                <a:gd name="T2" fmla="*/ 2147483647 w 204"/>
                <a:gd name="T3" fmla="*/ 2147483647 h 276"/>
                <a:gd name="T4" fmla="*/ 2147483647 w 204"/>
                <a:gd name="T5" fmla="*/ 2147483647 h 276"/>
                <a:gd name="T6" fmla="*/ 2147483647 w 204"/>
                <a:gd name="T7" fmla="*/ 2147483647 h 276"/>
                <a:gd name="T8" fmla="*/ 2147483647 w 204"/>
                <a:gd name="T9" fmla="*/ 2147483647 h 276"/>
                <a:gd name="T10" fmla="*/ 2147483647 w 204"/>
                <a:gd name="T11" fmla="*/ 2147483647 h 276"/>
                <a:gd name="T12" fmla="*/ 2147483647 w 204"/>
                <a:gd name="T13" fmla="*/ 2147483647 h 276"/>
                <a:gd name="T14" fmla="*/ 2147483647 w 204"/>
                <a:gd name="T15" fmla="*/ 2147483647 h 276"/>
                <a:gd name="T16" fmla="*/ 2147483647 w 204"/>
                <a:gd name="T17" fmla="*/ 2147483647 h 276"/>
                <a:gd name="T18" fmla="*/ 2147483647 w 204"/>
                <a:gd name="T19" fmla="*/ 2147483647 h 276"/>
                <a:gd name="T20" fmla="*/ 2147483647 w 204"/>
                <a:gd name="T21" fmla="*/ 2147483647 h 276"/>
                <a:gd name="T22" fmla="*/ 2147483647 w 204"/>
                <a:gd name="T23" fmla="*/ 2147483647 h 276"/>
                <a:gd name="T24" fmla="*/ 2147483647 w 204"/>
                <a:gd name="T25" fmla="*/ 2147483647 h 276"/>
                <a:gd name="T26" fmla="*/ 2147483647 w 204"/>
                <a:gd name="T27" fmla="*/ 2147483647 h 276"/>
                <a:gd name="T28" fmla="*/ 2147483647 w 204"/>
                <a:gd name="T29" fmla="*/ 2147483647 h 276"/>
                <a:gd name="T30" fmla="*/ 2147483647 w 204"/>
                <a:gd name="T31" fmla="*/ 2147483647 h 276"/>
                <a:gd name="T32" fmla="*/ 2147483647 w 204"/>
                <a:gd name="T33" fmla="*/ 2147483647 h 276"/>
                <a:gd name="T34" fmla="*/ 2147483647 w 204"/>
                <a:gd name="T35" fmla="*/ 2147483647 h 276"/>
                <a:gd name="T36" fmla="*/ 2147483647 w 204"/>
                <a:gd name="T37" fmla="*/ 2147483647 h 276"/>
                <a:gd name="T38" fmla="*/ 2147483647 w 204"/>
                <a:gd name="T39" fmla="*/ 2147483647 h 276"/>
                <a:gd name="T40" fmla="*/ 2147483647 w 204"/>
                <a:gd name="T41" fmla="*/ 2147483647 h 276"/>
                <a:gd name="T42" fmla="*/ 2147483647 w 204"/>
                <a:gd name="T43" fmla="*/ 2147483647 h 276"/>
                <a:gd name="T44" fmla="*/ 2147483647 w 204"/>
                <a:gd name="T45" fmla="*/ 2147483647 h 276"/>
                <a:gd name="T46" fmla="*/ 2147483647 w 204"/>
                <a:gd name="T47" fmla="*/ 2147483647 h 276"/>
                <a:gd name="T48" fmla="*/ 2147483647 w 204"/>
                <a:gd name="T49" fmla="*/ 2147483647 h 276"/>
                <a:gd name="T50" fmla="*/ 2147483647 w 204"/>
                <a:gd name="T51" fmla="*/ 2147483647 h 276"/>
                <a:gd name="T52" fmla="*/ 2147483647 w 204"/>
                <a:gd name="T53" fmla="*/ 2147483647 h 276"/>
                <a:gd name="T54" fmla="*/ 2147483647 w 204"/>
                <a:gd name="T55" fmla="*/ 0 h 276"/>
                <a:gd name="T56" fmla="*/ 2147483647 w 204"/>
                <a:gd name="T57" fmla="*/ 2147483647 h 276"/>
                <a:gd name="T58" fmla="*/ 2147483647 w 204"/>
                <a:gd name="T59" fmla="*/ 2147483647 h 276"/>
                <a:gd name="T60" fmla="*/ 2147483647 w 204"/>
                <a:gd name="T61" fmla="*/ 2147483647 h 276"/>
                <a:gd name="T62" fmla="*/ 2147483647 w 204"/>
                <a:gd name="T63" fmla="*/ 2147483647 h 276"/>
                <a:gd name="T64" fmla="*/ 2147483647 w 204"/>
                <a:gd name="T65" fmla="*/ 2147483647 h 276"/>
                <a:gd name="T66" fmla="*/ 2147483647 w 204"/>
                <a:gd name="T67" fmla="*/ 2147483647 h 276"/>
                <a:gd name="T68" fmla="*/ 2147483647 w 204"/>
                <a:gd name="T69" fmla="*/ 2147483647 h 276"/>
                <a:gd name="T70" fmla="*/ 2147483647 w 204"/>
                <a:gd name="T71" fmla="*/ 2147483647 h 276"/>
                <a:gd name="T72" fmla="*/ 2147483647 w 204"/>
                <a:gd name="T73" fmla="*/ 2147483647 h 276"/>
                <a:gd name="T74" fmla="*/ 2147483647 w 204"/>
                <a:gd name="T75" fmla="*/ 2147483647 h 276"/>
                <a:gd name="T76" fmla="*/ 2147483647 w 204"/>
                <a:gd name="T77" fmla="*/ 2147483647 h 276"/>
                <a:gd name="T78" fmla="*/ 2147483647 w 204"/>
                <a:gd name="T79" fmla="*/ 2147483647 h 276"/>
                <a:gd name="T80" fmla="*/ 2147483647 w 204"/>
                <a:gd name="T81" fmla="*/ 2147483647 h 276"/>
                <a:gd name="T82" fmla="*/ 2147483647 w 204"/>
                <a:gd name="T83" fmla="*/ 2147483647 h 276"/>
                <a:gd name="T84" fmla="*/ 0 w 204"/>
                <a:gd name="T85" fmla="*/ 2147483647 h 276"/>
                <a:gd name="T86" fmla="*/ 2147483647 w 204"/>
                <a:gd name="T87" fmla="*/ 2147483647 h 276"/>
                <a:gd name="T88" fmla="*/ 2147483647 w 204"/>
                <a:gd name="T89" fmla="*/ 2147483647 h 276"/>
                <a:gd name="T90" fmla="*/ 2147483647 w 204"/>
                <a:gd name="T91" fmla="*/ 2147483647 h 276"/>
                <a:gd name="T92" fmla="*/ 2147483647 w 204"/>
                <a:gd name="T93" fmla="*/ 2147483647 h 276"/>
                <a:gd name="T94" fmla="*/ 2147483647 w 204"/>
                <a:gd name="T95" fmla="*/ 2147483647 h 276"/>
                <a:gd name="T96" fmla="*/ 2147483647 w 204"/>
                <a:gd name="T97" fmla="*/ 2147483647 h 276"/>
                <a:gd name="T98" fmla="*/ 2147483647 w 204"/>
                <a:gd name="T99" fmla="*/ 2147483647 h 276"/>
                <a:gd name="T100" fmla="*/ 2147483647 w 204"/>
                <a:gd name="T101" fmla="*/ 2147483647 h 276"/>
                <a:gd name="T102" fmla="*/ 2147483647 w 204"/>
                <a:gd name="T103" fmla="*/ 2147483647 h 276"/>
                <a:gd name="T104" fmla="*/ 2147483647 w 204"/>
                <a:gd name="T105" fmla="*/ 2147483647 h 276"/>
                <a:gd name="T106" fmla="*/ 2147483647 w 204"/>
                <a:gd name="T107" fmla="*/ 2147483647 h 276"/>
                <a:gd name="T108" fmla="*/ 2147483647 w 204"/>
                <a:gd name="T109" fmla="*/ 2147483647 h 27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04"/>
                <a:gd name="T166" fmla="*/ 0 h 276"/>
                <a:gd name="T167" fmla="*/ 204 w 204"/>
                <a:gd name="T168" fmla="*/ 276 h 27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04" h="276">
                  <a:moveTo>
                    <a:pt x="42" y="234"/>
                  </a:moveTo>
                  <a:lnTo>
                    <a:pt x="48" y="234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72" y="234"/>
                  </a:lnTo>
                  <a:lnTo>
                    <a:pt x="78" y="234"/>
                  </a:lnTo>
                  <a:lnTo>
                    <a:pt x="72" y="234"/>
                  </a:lnTo>
                  <a:lnTo>
                    <a:pt x="78" y="234"/>
                  </a:lnTo>
                  <a:lnTo>
                    <a:pt x="78" y="240"/>
                  </a:lnTo>
                  <a:lnTo>
                    <a:pt x="84" y="240"/>
                  </a:lnTo>
                  <a:lnTo>
                    <a:pt x="84" y="246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102" y="246"/>
                  </a:lnTo>
                  <a:lnTo>
                    <a:pt x="102" y="252"/>
                  </a:lnTo>
                  <a:lnTo>
                    <a:pt x="108" y="252"/>
                  </a:lnTo>
                  <a:lnTo>
                    <a:pt x="114" y="252"/>
                  </a:lnTo>
                  <a:lnTo>
                    <a:pt x="120" y="252"/>
                  </a:lnTo>
                  <a:lnTo>
                    <a:pt x="126" y="252"/>
                  </a:lnTo>
                  <a:lnTo>
                    <a:pt x="126" y="258"/>
                  </a:lnTo>
                  <a:lnTo>
                    <a:pt x="132" y="258"/>
                  </a:lnTo>
                  <a:lnTo>
                    <a:pt x="138" y="258"/>
                  </a:lnTo>
                  <a:lnTo>
                    <a:pt x="144" y="258"/>
                  </a:lnTo>
                  <a:lnTo>
                    <a:pt x="144" y="264"/>
                  </a:lnTo>
                  <a:lnTo>
                    <a:pt x="144" y="270"/>
                  </a:lnTo>
                  <a:lnTo>
                    <a:pt x="150" y="270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62" y="276"/>
                  </a:lnTo>
                  <a:lnTo>
                    <a:pt x="168" y="276"/>
                  </a:lnTo>
                  <a:lnTo>
                    <a:pt x="174" y="276"/>
                  </a:lnTo>
                  <a:lnTo>
                    <a:pt x="180" y="276"/>
                  </a:lnTo>
                  <a:lnTo>
                    <a:pt x="180" y="270"/>
                  </a:lnTo>
                  <a:lnTo>
                    <a:pt x="186" y="270"/>
                  </a:lnTo>
                  <a:lnTo>
                    <a:pt x="186" y="264"/>
                  </a:lnTo>
                  <a:lnTo>
                    <a:pt x="192" y="264"/>
                  </a:lnTo>
                  <a:lnTo>
                    <a:pt x="192" y="258"/>
                  </a:lnTo>
                  <a:lnTo>
                    <a:pt x="198" y="252"/>
                  </a:lnTo>
                  <a:lnTo>
                    <a:pt x="198" y="246"/>
                  </a:lnTo>
                  <a:lnTo>
                    <a:pt x="192" y="246"/>
                  </a:lnTo>
                  <a:lnTo>
                    <a:pt x="192" y="240"/>
                  </a:lnTo>
                  <a:lnTo>
                    <a:pt x="186" y="240"/>
                  </a:lnTo>
                  <a:lnTo>
                    <a:pt x="192" y="234"/>
                  </a:lnTo>
                  <a:lnTo>
                    <a:pt x="186" y="234"/>
                  </a:lnTo>
                  <a:lnTo>
                    <a:pt x="192" y="228"/>
                  </a:lnTo>
                  <a:lnTo>
                    <a:pt x="192" y="222"/>
                  </a:lnTo>
                  <a:lnTo>
                    <a:pt x="186" y="222"/>
                  </a:lnTo>
                  <a:lnTo>
                    <a:pt x="192" y="222"/>
                  </a:lnTo>
                  <a:lnTo>
                    <a:pt x="192" y="216"/>
                  </a:lnTo>
                  <a:lnTo>
                    <a:pt x="186" y="216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04"/>
                  </a:lnTo>
                  <a:lnTo>
                    <a:pt x="174" y="204"/>
                  </a:lnTo>
                  <a:lnTo>
                    <a:pt x="174" y="198"/>
                  </a:lnTo>
                  <a:lnTo>
                    <a:pt x="174" y="192"/>
                  </a:lnTo>
                  <a:lnTo>
                    <a:pt x="168" y="192"/>
                  </a:lnTo>
                  <a:lnTo>
                    <a:pt x="168" y="186"/>
                  </a:lnTo>
                  <a:lnTo>
                    <a:pt x="174" y="186"/>
                  </a:lnTo>
                  <a:lnTo>
                    <a:pt x="168" y="180"/>
                  </a:lnTo>
                  <a:lnTo>
                    <a:pt x="174" y="180"/>
                  </a:lnTo>
                  <a:lnTo>
                    <a:pt x="174" y="174"/>
                  </a:lnTo>
                  <a:lnTo>
                    <a:pt x="174" y="168"/>
                  </a:lnTo>
                  <a:lnTo>
                    <a:pt x="180" y="168"/>
                  </a:lnTo>
                  <a:lnTo>
                    <a:pt x="180" y="162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80" y="156"/>
                  </a:lnTo>
                  <a:lnTo>
                    <a:pt x="186" y="156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86" y="138"/>
                  </a:lnTo>
                  <a:lnTo>
                    <a:pt x="180" y="132"/>
                  </a:lnTo>
                  <a:lnTo>
                    <a:pt x="186" y="126"/>
                  </a:lnTo>
                  <a:lnTo>
                    <a:pt x="192" y="126"/>
                  </a:lnTo>
                  <a:lnTo>
                    <a:pt x="192" y="120"/>
                  </a:lnTo>
                  <a:lnTo>
                    <a:pt x="186" y="120"/>
                  </a:lnTo>
                  <a:lnTo>
                    <a:pt x="180" y="114"/>
                  </a:lnTo>
                  <a:lnTo>
                    <a:pt x="180" y="108"/>
                  </a:lnTo>
                  <a:lnTo>
                    <a:pt x="186" y="108"/>
                  </a:lnTo>
                  <a:lnTo>
                    <a:pt x="192" y="108"/>
                  </a:lnTo>
                  <a:lnTo>
                    <a:pt x="192" y="102"/>
                  </a:lnTo>
                  <a:lnTo>
                    <a:pt x="192" y="96"/>
                  </a:lnTo>
                  <a:lnTo>
                    <a:pt x="186" y="96"/>
                  </a:lnTo>
                  <a:lnTo>
                    <a:pt x="186" y="90"/>
                  </a:lnTo>
                  <a:lnTo>
                    <a:pt x="186" y="84"/>
                  </a:lnTo>
                  <a:lnTo>
                    <a:pt x="186" y="78"/>
                  </a:lnTo>
                  <a:lnTo>
                    <a:pt x="186" y="72"/>
                  </a:lnTo>
                  <a:lnTo>
                    <a:pt x="192" y="66"/>
                  </a:lnTo>
                  <a:lnTo>
                    <a:pt x="186" y="66"/>
                  </a:lnTo>
                  <a:lnTo>
                    <a:pt x="186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198" y="42"/>
                  </a:lnTo>
                  <a:lnTo>
                    <a:pt x="198" y="36"/>
                  </a:lnTo>
                  <a:lnTo>
                    <a:pt x="198" y="30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204" y="24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198" y="18"/>
                  </a:lnTo>
                  <a:lnTo>
                    <a:pt x="198" y="12"/>
                  </a:lnTo>
                  <a:lnTo>
                    <a:pt x="192" y="12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80" y="6"/>
                  </a:lnTo>
                  <a:lnTo>
                    <a:pt x="180" y="0"/>
                  </a:lnTo>
                  <a:lnTo>
                    <a:pt x="174" y="0"/>
                  </a:lnTo>
                  <a:lnTo>
                    <a:pt x="168" y="6"/>
                  </a:lnTo>
                  <a:lnTo>
                    <a:pt x="174" y="6"/>
                  </a:lnTo>
                  <a:lnTo>
                    <a:pt x="168" y="6"/>
                  </a:lnTo>
                  <a:lnTo>
                    <a:pt x="162" y="6"/>
                  </a:lnTo>
                  <a:lnTo>
                    <a:pt x="162" y="12"/>
                  </a:lnTo>
                  <a:lnTo>
                    <a:pt x="162" y="1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08" y="6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6" y="12"/>
                  </a:lnTo>
                  <a:lnTo>
                    <a:pt x="60" y="12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54"/>
                  </a:lnTo>
                  <a:lnTo>
                    <a:pt x="42" y="60"/>
                  </a:lnTo>
                  <a:lnTo>
                    <a:pt x="42" y="66"/>
                  </a:lnTo>
                  <a:lnTo>
                    <a:pt x="42" y="72"/>
                  </a:lnTo>
                  <a:lnTo>
                    <a:pt x="36" y="72"/>
                  </a:lnTo>
                  <a:lnTo>
                    <a:pt x="36" y="78"/>
                  </a:lnTo>
                  <a:lnTo>
                    <a:pt x="30" y="84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0" y="96"/>
                  </a:lnTo>
                  <a:lnTo>
                    <a:pt x="6" y="90"/>
                  </a:lnTo>
                  <a:lnTo>
                    <a:pt x="6" y="96"/>
                  </a:lnTo>
                  <a:lnTo>
                    <a:pt x="0" y="96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2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26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0" y="126"/>
                  </a:lnTo>
                  <a:lnTo>
                    <a:pt x="60" y="132"/>
                  </a:lnTo>
                  <a:lnTo>
                    <a:pt x="66" y="132"/>
                  </a:lnTo>
                  <a:lnTo>
                    <a:pt x="66" y="138"/>
                  </a:lnTo>
                  <a:lnTo>
                    <a:pt x="66" y="144"/>
                  </a:lnTo>
                  <a:lnTo>
                    <a:pt x="66" y="150"/>
                  </a:lnTo>
                  <a:lnTo>
                    <a:pt x="66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6" y="186"/>
                  </a:lnTo>
                  <a:lnTo>
                    <a:pt x="66" y="192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210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48" y="222"/>
                  </a:lnTo>
                  <a:lnTo>
                    <a:pt x="48" y="228"/>
                  </a:lnTo>
                  <a:lnTo>
                    <a:pt x="48" y="234"/>
                  </a:lnTo>
                  <a:lnTo>
                    <a:pt x="42" y="23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3" name="Freeform 9"/>
            <p:cNvSpPr>
              <a:spLocks noChangeAspect="1"/>
            </p:cNvSpPr>
            <p:nvPr/>
          </p:nvSpPr>
          <p:spPr bwMode="auto">
            <a:xfrm>
              <a:off x="3786782" y="4163657"/>
              <a:ext cx="228730" cy="304820"/>
            </a:xfrm>
            <a:custGeom>
              <a:avLst/>
              <a:gdLst>
                <a:gd name="T0" fmla="*/ 2147483647 w 180"/>
                <a:gd name="T1" fmla="*/ 2147483647 h 240"/>
                <a:gd name="T2" fmla="*/ 2147483647 w 180"/>
                <a:gd name="T3" fmla="*/ 2147483647 h 240"/>
                <a:gd name="T4" fmla="*/ 2147483647 w 180"/>
                <a:gd name="T5" fmla="*/ 2147483647 h 240"/>
                <a:gd name="T6" fmla="*/ 2147483647 w 180"/>
                <a:gd name="T7" fmla="*/ 2147483647 h 240"/>
                <a:gd name="T8" fmla="*/ 2147483647 w 180"/>
                <a:gd name="T9" fmla="*/ 2147483647 h 240"/>
                <a:gd name="T10" fmla="*/ 2147483647 w 180"/>
                <a:gd name="T11" fmla="*/ 2147483647 h 240"/>
                <a:gd name="T12" fmla="*/ 2147483647 w 180"/>
                <a:gd name="T13" fmla="*/ 2147483647 h 240"/>
                <a:gd name="T14" fmla="*/ 2147483647 w 180"/>
                <a:gd name="T15" fmla="*/ 2147483647 h 240"/>
                <a:gd name="T16" fmla="*/ 2147483647 w 180"/>
                <a:gd name="T17" fmla="*/ 2147483647 h 240"/>
                <a:gd name="T18" fmla="*/ 2147483647 w 180"/>
                <a:gd name="T19" fmla="*/ 2147483647 h 240"/>
                <a:gd name="T20" fmla="*/ 2147483647 w 180"/>
                <a:gd name="T21" fmla="*/ 2147483647 h 240"/>
                <a:gd name="T22" fmla="*/ 2147483647 w 180"/>
                <a:gd name="T23" fmla="*/ 2147483647 h 240"/>
                <a:gd name="T24" fmla="*/ 2147483647 w 180"/>
                <a:gd name="T25" fmla="*/ 2147483647 h 240"/>
                <a:gd name="T26" fmla="*/ 2147483647 w 180"/>
                <a:gd name="T27" fmla="*/ 2147483647 h 240"/>
                <a:gd name="T28" fmla="*/ 2147483647 w 180"/>
                <a:gd name="T29" fmla="*/ 2147483647 h 240"/>
                <a:gd name="T30" fmla="*/ 2147483647 w 180"/>
                <a:gd name="T31" fmla="*/ 2147483647 h 240"/>
                <a:gd name="T32" fmla="*/ 2147483647 w 180"/>
                <a:gd name="T33" fmla="*/ 2147483647 h 240"/>
                <a:gd name="T34" fmla="*/ 2147483647 w 180"/>
                <a:gd name="T35" fmla="*/ 2147483647 h 240"/>
                <a:gd name="T36" fmla="*/ 2147483647 w 180"/>
                <a:gd name="T37" fmla="*/ 2147483647 h 240"/>
                <a:gd name="T38" fmla="*/ 2147483647 w 180"/>
                <a:gd name="T39" fmla="*/ 2147483647 h 240"/>
                <a:gd name="T40" fmla="*/ 2147483647 w 180"/>
                <a:gd name="T41" fmla="*/ 2147483647 h 240"/>
                <a:gd name="T42" fmla="*/ 2147483647 w 180"/>
                <a:gd name="T43" fmla="*/ 2147483647 h 240"/>
                <a:gd name="T44" fmla="*/ 2147483647 w 180"/>
                <a:gd name="T45" fmla="*/ 2147483647 h 240"/>
                <a:gd name="T46" fmla="*/ 2147483647 w 180"/>
                <a:gd name="T47" fmla="*/ 2147483647 h 240"/>
                <a:gd name="T48" fmla="*/ 2147483647 w 180"/>
                <a:gd name="T49" fmla="*/ 2147483647 h 240"/>
                <a:gd name="T50" fmla="*/ 2147483647 w 180"/>
                <a:gd name="T51" fmla="*/ 2147483647 h 240"/>
                <a:gd name="T52" fmla="*/ 2147483647 w 180"/>
                <a:gd name="T53" fmla="*/ 2147483647 h 240"/>
                <a:gd name="T54" fmla="*/ 2147483647 w 180"/>
                <a:gd name="T55" fmla="*/ 2147483647 h 240"/>
                <a:gd name="T56" fmla="*/ 2147483647 w 180"/>
                <a:gd name="T57" fmla="*/ 2147483647 h 240"/>
                <a:gd name="T58" fmla="*/ 2147483647 w 180"/>
                <a:gd name="T59" fmla="*/ 2147483647 h 240"/>
                <a:gd name="T60" fmla="*/ 2147483647 w 180"/>
                <a:gd name="T61" fmla="*/ 2147483647 h 240"/>
                <a:gd name="T62" fmla="*/ 2147483647 w 180"/>
                <a:gd name="T63" fmla="*/ 2147483647 h 240"/>
                <a:gd name="T64" fmla="*/ 2147483647 w 180"/>
                <a:gd name="T65" fmla="*/ 2147483647 h 240"/>
                <a:gd name="T66" fmla="*/ 2147483647 w 180"/>
                <a:gd name="T67" fmla="*/ 2147483647 h 240"/>
                <a:gd name="T68" fmla="*/ 2147483647 w 180"/>
                <a:gd name="T69" fmla="*/ 2147483647 h 240"/>
                <a:gd name="T70" fmla="*/ 2147483647 w 180"/>
                <a:gd name="T71" fmla="*/ 2147483647 h 240"/>
                <a:gd name="T72" fmla="*/ 2147483647 w 180"/>
                <a:gd name="T73" fmla="*/ 2147483647 h 240"/>
                <a:gd name="T74" fmla="*/ 2147483647 w 180"/>
                <a:gd name="T75" fmla="*/ 2147483647 h 240"/>
                <a:gd name="T76" fmla="*/ 2147483647 w 180"/>
                <a:gd name="T77" fmla="*/ 2147483647 h 240"/>
                <a:gd name="T78" fmla="*/ 2147483647 w 180"/>
                <a:gd name="T79" fmla="*/ 2147483647 h 240"/>
                <a:gd name="T80" fmla="*/ 2147483647 w 180"/>
                <a:gd name="T81" fmla="*/ 2147483647 h 240"/>
                <a:gd name="T82" fmla="*/ 2147483647 w 180"/>
                <a:gd name="T83" fmla="*/ 2147483647 h 240"/>
                <a:gd name="T84" fmla="*/ 2147483647 w 180"/>
                <a:gd name="T85" fmla="*/ 2147483647 h 240"/>
                <a:gd name="T86" fmla="*/ 2147483647 w 180"/>
                <a:gd name="T87" fmla="*/ 0 h 240"/>
                <a:gd name="T88" fmla="*/ 2147483647 w 180"/>
                <a:gd name="T89" fmla="*/ 0 h 240"/>
                <a:gd name="T90" fmla="*/ 2147483647 w 180"/>
                <a:gd name="T91" fmla="*/ 0 h 240"/>
                <a:gd name="T92" fmla="*/ 2147483647 w 180"/>
                <a:gd name="T93" fmla="*/ 0 h 240"/>
                <a:gd name="T94" fmla="*/ 2147483647 w 180"/>
                <a:gd name="T95" fmla="*/ 2147483647 h 240"/>
                <a:gd name="T96" fmla="*/ 2147483647 w 180"/>
                <a:gd name="T97" fmla="*/ 2147483647 h 240"/>
                <a:gd name="T98" fmla="*/ 2147483647 w 180"/>
                <a:gd name="T99" fmla="*/ 2147483647 h 240"/>
                <a:gd name="T100" fmla="*/ 2147483647 w 180"/>
                <a:gd name="T101" fmla="*/ 2147483647 h 240"/>
                <a:gd name="T102" fmla="*/ 2147483647 w 180"/>
                <a:gd name="T103" fmla="*/ 2147483647 h 240"/>
                <a:gd name="T104" fmla="*/ 2147483647 w 180"/>
                <a:gd name="T105" fmla="*/ 214748364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0"/>
                <a:gd name="T160" fmla="*/ 0 h 240"/>
                <a:gd name="T161" fmla="*/ 180 w 180"/>
                <a:gd name="T162" fmla="*/ 240 h 2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0" h="240">
                  <a:moveTo>
                    <a:pt x="0" y="96"/>
                  </a:moveTo>
                  <a:lnTo>
                    <a:pt x="6" y="102"/>
                  </a:lnTo>
                  <a:lnTo>
                    <a:pt x="12" y="102"/>
                  </a:lnTo>
                  <a:lnTo>
                    <a:pt x="18" y="102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30" y="120"/>
                  </a:lnTo>
                  <a:lnTo>
                    <a:pt x="30" y="126"/>
                  </a:lnTo>
                  <a:lnTo>
                    <a:pt x="36" y="126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54" y="138"/>
                  </a:lnTo>
                  <a:lnTo>
                    <a:pt x="60" y="138"/>
                  </a:lnTo>
                  <a:lnTo>
                    <a:pt x="60" y="144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54" y="156"/>
                  </a:lnTo>
                  <a:lnTo>
                    <a:pt x="48" y="162"/>
                  </a:lnTo>
                  <a:lnTo>
                    <a:pt x="48" y="156"/>
                  </a:lnTo>
                  <a:lnTo>
                    <a:pt x="42" y="156"/>
                  </a:lnTo>
                  <a:lnTo>
                    <a:pt x="36" y="156"/>
                  </a:lnTo>
                  <a:lnTo>
                    <a:pt x="30" y="162"/>
                  </a:lnTo>
                  <a:lnTo>
                    <a:pt x="30" y="168"/>
                  </a:lnTo>
                  <a:lnTo>
                    <a:pt x="36" y="174"/>
                  </a:lnTo>
                  <a:lnTo>
                    <a:pt x="30" y="174"/>
                  </a:lnTo>
                  <a:lnTo>
                    <a:pt x="30" y="180"/>
                  </a:lnTo>
                  <a:lnTo>
                    <a:pt x="36" y="180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30" y="192"/>
                  </a:lnTo>
                  <a:lnTo>
                    <a:pt x="30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24" y="210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42" y="216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60" y="228"/>
                  </a:lnTo>
                  <a:lnTo>
                    <a:pt x="60" y="222"/>
                  </a:lnTo>
                  <a:lnTo>
                    <a:pt x="66" y="222"/>
                  </a:lnTo>
                  <a:lnTo>
                    <a:pt x="72" y="228"/>
                  </a:lnTo>
                  <a:lnTo>
                    <a:pt x="72" y="222"/>
                  </a:lnTo>
                  <a:lnTo>
                    <a:pt x="78" y="222"/>
                  </a:lnTo>
                  <a:lnTo>
                    <a:pt x="84" y="228"/>
                  </a:lnTo>
                  <a:lnTo>
                    <a:pt x="84" y="234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40"/>
                  </a:lnTo>
                  <a:lnTo>
                    <a:pt x="114" y="240"/>
                  </a:lnTo>
                  <a:lnTo>
                    <a:pt x="114" y="234"/>
                  </a:lnTo>
                  <a:lnTo>
                    <a:pt x="120" y="234"/>
                  </a:lnTo>
                  <a:lnTo>
                    <a:pt x="126" y="234"/>
                  </a:lnTo>
                  <a:lnTo>
                    <a:pt x="132" y="234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2" y="222"/>
                  </a:lnTo>
                  <a:lnTo>
                    <a:pt x="132" y="216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2" y="192"/>
                  </a:lnTo>
                  <a:lnTo>
                    <a:pt x="132" y="186"/>
                  </a:lnTo>
                  <a:lnTo>
                    <a:pt x="132" y="180"/>
                  </a:lnTo>
                  <a:lnTo>
                    <a:pt x="132" y="186"/>
                  </a:lnTo>
                  <a:lnTo>
                    <a:pt x="138" y="186"/>
                  </a:lnTo>
                  <a:lnTo>
                    <a:pt x="144" y="186"/>
                  </a:lnTo>
                  <a:lnTo>
                    <a:pt x="144" y="180"/>
                  </a:lnTo>
                  <a:lnTo>
                    <a:pt x="150" y="180"/>
                  </a:lnTo>
                  <a:lnTo>
                    <a:pt x="150" y="174"/>
                  </a:lnTo>
                  <a:lnTo>
                    <a:pt x="156" y="168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6" y="150"/>
                  </a:lnTo>
                  <a:lnTo>
                    <a:pt x="162" y="144"/>
                  </a:lnTo>
                  <a:lnTo>
                    <a:pt x="162" y="138"/>
                  </a:lnTo>
                  <a:lnTo>
                    <a:pt x="162" y="132"/>
                  </a:lnTo>
                  <a:lnTo>
                    <a:pt x="168" y="132"/>
                  </a:lnTo>
                  <a:lnTo>
                    <a:pt x="174" y="126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68" y="108"/>
                  </a:lnTo>
                  <a:lnTo>
                    <a:pt x="168" y="102"/>
                  </a:lnTo>
                  <a:lnTo>
                    <a:pt x="168" y="96"/>
                  </a:lnTo>
                  <a:lnTo>
                    <a:pt x="168" y="90"/>
                  </a:lnTo>
                  <a:lnTo>
                    <a:pt x="162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78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74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42"/>
                  </a:lnTo>
                  <a:lnTo>
                    <a:pt x="150" y="36"/>
                  </a:lnTo>
                  <a:lnTo>
                    <a:pt x="144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42" y="36"/>
                  </a:lnTo>
                  <a:lnTo>
                    <a:pt x="36" y="36"/>
                  </a:lnTo>
                  <a:lnTo>
                    <a:pt x="36" y="48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24" y="66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0" y="96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4" name="Freeform 10"/>
            <p:cNvSpPr>
              <a:spLocks noChangeAspect="1"/>
            </p:cNvSpPr>
            <p:nvPr/>
          </p:nvSpPr>
          <p:spPr bwMode="auto">
            <a:xfrm>
              <a:off x="3740349" y="4414498"/>
              <a:ext cx="381789" cy="252428"/>
            </a:xfrm>
            <a:custGeom>
              <a:avLst/>
              <a:gdLst>
                <a:gd name="T0" fmla="*/ 2147483647 w 300"/>
                <a:gd name="T1" fmla="*/ 2147483647 h 198"/>
                <a:gd name="T2" fmla="*/ 2147483647 w 300"/>
                <a:gd name="T3" fmla="*/ 2147483647 h 198"/>
                <a:gd name="T4" fmla="*/ 2147483647 w 300"/>
                <a:gd name="T5" fmla="*/ 2147483647 h 198"/>
                <a:gd name="T6" fmla="*/ 2147483647 w 300"/>
                <a:gd name="T7" fmla="*/ 2147483647 h 198"/>
                <a:gd name="T8" fmla="*/ 2147483647 w 300"/>
                <a:gd name="T9" fmla="*/ 2147483647 h 198"/>
                <a:gd name="T10" fmla="*/ 2147483647 w 300"/>
                <a:gd name="T11" fmla="*/ 2147483647 h 198"/>
                <a:gd name="T12" fmla="*/ 0 w 300"/>
                <a:gd name="T13" fmla="*/ 2147483647 h 198"/>
                <a:gd name="T14" fmla="*/ 2147483647 w 300"/>
                <a:gd name="T15" fmla="*/ 2147483647 h 198"/>
                <a:gd name="T16" fmla="*/ 2147483647 w 300"/>
                <a:gd name="T17" fmla="*/ 2147483647 h 198"/>
                <a:gd name="T18" fmla="*/ 2147483647 w 300"/>
                <a:gd name="T19" fmla="*/ 2147483647 h 198"/>
                <a:gd name="T20" fmla="*/ 2147483647 w 300"/>
                <a:gd name="T21" fmla="*/ 2147483647 h 198"/>
                <a:gd name="T22" fmla="*/ 2147483647 w 300"/>
                <a:gd name="T23" fmla="*/ 2147483647 h 198"/>
                <a:gd name="T24" fmla="*/ 2147483647 w 300"/>
                <a:gd name="T25" fmla="*/ 2147483647 h 198"/>
                <a:gd name="T26" fmla="*/ 2147483647 w 300"/>
                <a:gd name="T27" fmla="*/ 2147483647 h 198"/>
                <a:gd name="T28" fmla="*/ 2147483647 w 300"/>
                <a:gd name="T29" fmla="*/ 2147483647 h 198"/>
                <a:gd name="T30" fmla="*/ 2147483647 w 300"/>
                <a:gd name="T31" fmla="*/ 2147483647 h 198"/>
                <a:gd name="T32" fmla="*/ 2147483647 w 300"/>
                <a:gd name="T33" fmla="*/ 2147483647 h 198"/>
                <a:gd name="T34" fmla="*/ 2147483647 w 300"/>
                <a:gd name="T35" fmla="*/ 2147483647 h 198"/>
                <a:gd name="T36" fmla="*/ 2147483647 w 300"/>
                <a:gd name="T37" fmla="*/ 2147483647 h 198"/>
                <a:gd name="T38" fmla="*/ 2147483647 w 300"/>
                <a:gd name="T39" fmla="*/ 2147483647 h 198"/>
                <a:gd name="T40" fmla="*/ 2147483647 w 300"/>
                <a:gd name="T41" fmla="*/ 2147483647 h 198"/>
                <a:gd name="T42" fmla="*/ 2147483647 w 300"/>
                <a:gd name="T43" fmla="*/ 2147483647 h 198"/>
                <a:gd name="T44" fmla="*/ 2147483647 w 300"/>
                <a:gd name="T45" fmla="*/ 2147483647 h 198"/>
                <a:gd name="T46" fmla="*/ 2147483647 w 300"/>
                <a:gd name="T47" fmla="*/ 2147483647 h 198"/>
                <a:gd name="T48" fmla="*/ 2147483647 w 300"/>
                <a:gd name="T49" fmla="*/ 2147483647 h 198"/>
                <a:gd name="T50" fmla="*/ 2147483647 w 300"/>
                <a:gd name="T51" fmla="*/ 2147483647 h 198"/>
                <a:gd name="T52" fmla="*/ 2147483647 w 300"/>
                <a:gd name="T53" fmla="*/ 2147483647 h 198"/>
                <a:gd name="T54" fmla="*/ 2147483647 w 300"/>
                <a:gd name="T55" fmla="*/ 2147483647 h 198"/>
                <a:gd name="T56" fmla="*/ 2147483647 w 300"/>
                <a:gd name="T57" fmla="*/ 2147483647 h 198"/>
                <a:gd name="T58" fmla="*/ 2147483647 w 300"/>
                <a:gd name="T59" fmla="*/ 2147483647 h 198"/>
                <a:gd name="T60" fmla="*/ 2147483647 w 300"/>
                <a:gd name="T61" fmla="*/ 2147483647 h 198"/>
                <a:gd name="T62" fmla="*/ 2147483647 w 300"/>
                <a:gd name="T63" fmla="*/ 2147483647 h 198"/>
                <a:gd name="T64" fmla="*/ 2147483647 w 300"/>
                <a:gd name="T65" fmla="*/ 2147483647 h 198"/>
                <a:gd name="T66" fmla="*/ 2147483647 w 300"/>
                <a:gd name="T67" fmla="*/ 2147483647 h 198"/>
                <a:gd name="T68" fmla="*/ 2147483647 w 300"/>
                <a:gd name="T69" fmla="*/ 2147483647 h 198"/>
                <a:gd name="T70" fmla="*/ 2147483647 w 300"/>
                <a:gd name="T71" fmla="*/ 2147483647 h 198"/>
                <a:gd name="T72" fmla="*/ 2147483647 w 300"/>
                <a:gd name="T73" fmla="*/ 2147483647 h 198"/>
                <a:gd name="T74" fmla="*/ 2147483647 w 300"/>
                <a:gd name="T75" fmla="*/ 2147483647 h 198"/>
                <a:gd name="T76" fmla="*/ 2147483647 w 300"/>
                <a:gd name="T77" fmla="*/ 2147483647 h 198"/>
                <a:gd name="T78" fmla="*/ 2147483647 w 300"/>
                <a:gd name="T79" fmla="*/ 2147483647 h 198"/>
                <a:gd name="T80" fmla="*/ 2147483647 w 300"/>
                <a:gd name="T81" fmla="*/ 2147483647 h 198"/>
                <a:gd name="T82" fmla="*/ 2147483647 w 300"/>
                <a:gd name="T83" fmla="*/ 2147483647 h 198"/>
                <a:gd name="T84" fmla="*/ 2147483647 w 300"/>
                <a:gd name="T85" fmla="*/ 2147483647 h 198"/>
                <a:gd name="T86" fmla="*/ 2147483647 w 300"/>
                <a:gd name="T87" fmla="*/ 0 h 198"/>
                <a:gd name="T88" fmla="*/ 2147483647 w 300"/>
                <a:gd name="T89" fmla="*/ 2147483647 h 198"/>
                <a:gd name="T90" fmla="*/ 2147483647 w 300"/>
                <a:gd name="T91" fmla="*/ 2147483647 h 198"/>
                <a:gd name="T92" fmla="*/ 2147483647 w 300"/>
                <a:gd name="T93" fmla="*/ 2147483647 h 198"/>
                <a:gd name="T94" fmla="*/ 2147483647 w 300"/>
                <a:gd name="T95" fmla="*/ 2147483647 h 198"/>
                <a:gd name="T96" fmla="*/ 2147483647 w 300"/>
                <a:gd name="T97" fmla="*/ 2147483647 h 198"/>
                <a:gd name="T98" fmla="*/ 2147483647 w 300"/>
                <a:gd name="T99" fmla="*/ 2147483647 h 198"/>
                <a:gd name="T100" fmla="*/ 2147483647 w 300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98"/>
                <a:gd name="T155" fmla="*/ 300 w 300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98">
                  <a:moveTo>
                    <a:pt x="84" y="24"/>
                  </a:moveTo>
                  <a:lnTo>
                    <a:pt x="78" y="30"/>
                  </a:lnTo>
                  <a:lnTo>
                    <a:pt x="72" y="30"/>
                  </a:lnTo>
                  <a:lnTo>
                    <a:pt x="72" y="36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60" y="54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60" y="60"/>
                  </a:lnTo>
                  <a:lnTo>
                    <a:pt x="60" y="66"/>
                  </a:lnTo>
                  <a:lnTo>
                    <a:pt x="60" y="72"/>
                  </a:lnTo>
                  <a:lnTo>
                    <a:pt x="66" y="72"/>
                  </a:lnTo>
                  <a:lnTo>
                    <a:pt x="66" y="78"/>
                  </a:lnTo>
                  <a:lnTo>
                    <a:pt x="60" y="78"/>
                  </a:lnTo>
                  <a:lnTo>
                    <a:pt x="54" y="78"/>
                  </a:lnTo>
                  <a:lnTo>
                    <a:pt x="48" y="78"/>
                  </a:lnTo>
                  <a:lnTo>
                    <a:pt x="42" y="78"/>
                  </a:lnTo>
                  <a:lnTo>
                    <a:pt x="36" y="78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0" y="96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32"/>
                  </a:lnTo>
                  <a:lnTo>
                    <a:pt x="18" y="138"/>
                  </a:lnTo>
                  <a:lnTo>
                    <a:pt x="12" y="144"/>
                  </a:lnTo>
                  <a:lnTo>
                    <a:pt x="12" y="150"/>
                  </a:lnTo>
                  <a:lnTo>
                    <a:pt x="18" y="156"/>
                  </a:lnTo>
                  <a:lnTo>
                    <a:pt x="18" y="162"/>
                  </a:lnTo>
                  <a:lnTo>
                    <a:pt x="18" y="168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8" y="174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24" y="180"/>
                  </a:lnTo>
                  <a:lnTo>
                    <a:pt x="30" y="180"/>
                  </a:lnTo>
                  <a:lnTo>
                    <a:pt x="36" y="180"/>
                  </a:lnTo>
                  <a:lnTo>
                    <a:pt x="42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60" y="168"/>
                  </a:lnTo>
                  <a:lnTo>
                    <a:pt x="66" y="168"/>
                  </a:lnTo>
                  <a:lnTo>
                    <a:pt x="66" y="162"/>
                  </a:lnTo>
                  <a:lnTo>
                    <a:pt x="72" y="162"/>
                  </a:lnTo>
                  <a:lnTo>
                    <a:pt x="78" y="162"/>
                  </a:lnTo>
                  <a:lnTo>
                    <a:pt x="78" y="156"/>
                  </a:lnTo>
                  <a:lnTo>
                    <a:pt x="84" y="156"/>
                  </a:lnTo>
                  <a:lnTo>
                    <a:pt x="90" y="156"/>
                  </a:lnTo>
                  <a:lnTo>
                    <a:pt x="96" y="150"/>
                  </a:lnTo>
                  <a:lnTo>
                    <a:pt x="102" y="150"/>
                  </a:lnTo>
                  <a:lnTo>
                    <a:pt x="108" y="150"/>
                  </a:lnTo>
                  <a:lnTo>
                    <a:pt x="108" y="144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20" y="138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44" y="144"/>
                  </a:lnTo>
                  <a:lnTo>
                    <a:pt x="150" y="144"/>
                  </a:lnTo>
                  <a:lnTo>
                    <a:pt x="156" y="144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74" y="156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80" y="168"/>
                  </a:lnTo>
                  <a:lnTo>
                    <a:pt x="180" y="174"/>
                  </a:lnTo>
                  <a:lnTo>
                    <a:pt x="186" y="174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04" y="192"/>
                  </a:lnTo>
                  <a:lnTo>
                    <a:pt x="210" y="192"/>
                  </a:lnTo>
                  <a:lnTo>
                    <a:pt x="210" y="198"/>
                  </a:lnTo>
                  <a:lnTo>
                    <a:pt x="216" y="198"/>
                  </a:lnTo>
                  <a:lnTo>
                    <a:pt x="222" y="198"/>
                  </a:lnTo>
                  <a:lnTo>
                    <a:pt x="228" y="192"/>
                  </a:lnTo>
                  <a:lnTo>
                    <a:pt x="234" y="192"/>
                  </a:lnTo>
                  <a:lnTo>
                    <a:pt x="234" y="186"/>
                  </a:lnTo>
                  <a:lnTo>
                    <a:pt x="240" y="186"/>
                  </a:lnTo>
                  <a:lnTo>
                    <a:pt x="234" y="180"/>
                  </a:lnTo>
                  <a:lnTo>
                    <a:pt x="234" y="174"/>
                  </a:lnTo>
                  <a:lnTo>
                    <a:pt x="240" y="180"/>
                  </a:lnTo>
                  <a:lnTo>
                    <a:pt x="246" y="180"/>
                  </a:lnTo>
                  <a:lnTo>
                    <a:pt x="252" y="186"/>
                  </a:lnTo>
                  <a:lnTo>
                    <a:pt x="258" y="186"/>
                  </a:lnTo>
                  <a:lnTo>
                    <a:pt x="264" y="186"/>
                  </a:lnTo>
                  <a:lnTo>
                    <a:pt x="270" y="192"/>
                  </a:lnTo>
                  <a:lnTo>
                    <a:pt x="270" y="186"/>
                  </a:lnTo>
                  <a:lnTo>
                    <a:pt x="276" y="180"/>
                  </a:lnTo>
                  <a:lnTo>
                    <a:pt x="282" y="180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294" y="174"/>
                  </a:lnTo>
                  <a:lnTo>
                    <a:pt x="294" y="168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300" y="156"/>
                  </a:lnTo>
                  <a:lnTo>
                    <a:pt x="300" y="150"/>
                  </a:lnTo>
                  <a:lnTo>
                    <a:pt x="300" y="144"/>
                  </a:lnTo>
                  <a:lnTo>
                    <a:pt x="300" y="138"/>
                  </a:lnTo>
                  <a:lnTo>
                    <a:pt x="300" y="132"/>
                  </a:lnTo>
                  <a:lnTo>
                    <a:pt x="300" y="126"/>
                  </a:lnTo>
                  <a:lnTo>
                    <a:pt x="300" y="120"/>
                  </a:lnTo>
                  <a:lnTo>
                    <a:pt x="300" y="114"/>
                  </a:lnTo>
                  <a:lnTo>
                    <a:pt x="300" y="108"/>
                  </a:lnTo>
                  <a:lnTo>
                    <a:pt x="300" y="102"/>
                  </a:lnTo>
                  <a:lnTo>
                    <a:pt x="300" y="96"/>
                  </a:lnTo>
                  <a:lnTo>
                    <a:pt x="300" y="90"/>
                  </a:lnTo>
                  <a:lnTo>
                    <a:pt x="300" y="84"/>
                  </a:lnTo>
                  <a:lnTo>
                    <a:pt x="300" y="78"/>
                  </a:lnTo>
                  <a:lnTo>
                    <a:pt x="300" y="72"/>
                  </a:lnTo>
                  <a:lnTo>
                    <a:pt x="294" y="72"/>
                  </a:lnTo>
                  <a:lnTo>
                    <a:pt x="294" y="66"/>
                  </a:lnTo>
                  <a:lnTo>
                    <a:pt x="294" y="60"/>
                  </a:lnTo>
                  <a:lnTo>
                    <a:pt x="294" y="54"/>
                  </a:lnTo>
                  <a:lnTo>
                    <a:pt x="294" y="48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30"/>
                  </a:lnTo>
                  <a:lnTo>
                    <a:pt x="282" y="24"/>
                  </a:lnTo>
                  <a:lnTo>
                    <a:pt x="282" y="30"/>
                  </a:lnTo>
                  <a:lnTo>
                    <a:pt x="282" y="24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76" y="24"/>
                  </a:lnTo>
                  <a:lnTo>
                    <a:pt x="276" y="18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64" y="18"/>
                  </a:lnTo>
                  <a:lnTo>
                    <a:pt x="264" y="24"/>
                  </a:lnTo>
                  <a:lnTo>
                    <a:pt x="264" y="30"/>
                  </a:lnTo>
                  <a:lnTo>
                    <a:pt x="258" y="30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52" y="30"/>
                  </a:lnTo>
                  <a:lnTo>
                    <a:pt x="246" y="30"/>
                  </a:lnTo>
                  <a:lnTo>
                    <a:pt x="240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34" y="18"/>
                  </a:lnTo>
                  <a:lnTo>
                    <a:pt x="234" y="12"/>
                  </a:lnTo>
                  <a:lnTo>
                    <a:pt x="228" y="12"/>
                  </a:lnTo>
                  <a:lnTo>
                    <a:pt x="222" y="12"/>
                  </a:lnTo>
                  <a:lnTo>
                    <a:pt x="216" y="12"/>
                  </a:lnTo>
                  <a:lnTo>
                    <a:pt x="216" y="6"/>
                  </a:lnTo>
                  <a:lnTo>
                    <a:pt x="216" y="12"/>
                  </a:lnTo>
                  <a:lnTo>
                    <a:pt x="210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6"/>
                  </a:lnTo>
                  <a:lnTo>
                    <a:pt x="192" y="0"/>
                  </a:lnTo>
                  <a:lnTo>
                    <a:pt x="186" y="0"/>
                  </a:lnTo>
                  <a:lnTo>
                    <a:pt x="180" y="0"/>
                  </a:lnTo>
                  <a:lnTo>
                    <a:pt x="174" y="0"/>
                  </a:lnTo>
                  <a:lnTo>
                    <a:pt x="168" y="0"/>
                  </a:lnTo>
                  <a:lnTo>
                    <a:pt x="168" y="6"/>
                  </a:lnTo>
                  <a:lnTo>
                    <a:pt x="168" y="12"/>
                  </a:lnTo>
                  <a:lnTo>
                    <a:pt x="168" y="18"/>
                  </a:lnTo>
                  <a:lnTo>
                    <a:pt x="168" y="24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8" y="36"/>
                  </a:lnTo>
                  <a:lnTo>
                    <a:pt x="162" y="36"/>
                  </a:lnTo>
                  <a:lnTo>
                    <a:pt x="156" y="36"/>
                  </a:lnTo>
                  <a:lnTo>
                    <a:pt x="150" y="36"/>
                  </a:lnTo>
                  <a:lnTo>
                    <a:pt x="150" y="42"/>
                  </a:lnTo>
                  <a:lnTo>
                    <a:pt x="144" y="42"/>
                  </a:lnTo>
                  <a:lnTo>
                    <a:pt x="144" y="36"/>
                  </a:lnTo>
                  <a:lnTo>
                    <a:pt x="138" y="36"/>
                  </a:lnTo>
                  <a:lnTo>
                    <a:pt x="132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0" y="24"/>
                  </a:lnTo>
                  <a:lnTo>
                    <a:pt x="84" y="2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5" name="Freeform 11"/>
            <p:cNvSpPr>
              <a:spLocks noChangeAspect="1"/>
            </p:cNvSpPr>
            <p:nvPr/>
          </p:nvSpPr>
          <p:spPr bwMode="auto">
            <a:xfrm>
              <a:off x="3869331" y="4636763"/>
              <a:ext cx="252807" cy="258779"/>
            </a:xfrm>
            <a:custGeom>
              <a:avLst/>
              <a:gdLst>
                <a:gd name="T0" fmla="*/ 0 w 198"/>
                <a:gd name="T1" fmla="*/ 2147483647 h 204"/>
                <a:gd name="T2" fmla="*/ 2147483647 w 198"/>
                <a:gd name="T3" fmla="*/ 2147483647 h 204"/>
                <a:gd name="T4" fmla="*/ 2147483647 w 198"/>
                <a:gd name="T5" fmla="*/ 2147483647 h 204"/>
                <a:gd name="T6" fmla="*/ 2147483647 w 198"/>
                <a:gd name="T7" fmla="*/ 2147483647 h 204"/>
                <a:gd name="T8" fmla="*/ 2147483647 w 198"/>
                <a:gd name="T9" fmla="*/ 2147483647 h 204"/>
                <a:gd name="T10" fmla="*/ 2147483647 w 198"/>
                <a:gd name="T11" fmla="*/ 2147483647 h 204"/>
                <a:gd name="T12" fmla="*/ 2147483647 w 198"/>
                <a:gd name="T13" fmla="*/ 2147483647 h 204"/>
                <a:gd name="T14" fmla="*/ 2147483647 w 198"/>
                <a:gd name="T15" fmla="*/ 2147483647 h 204"/>
                <a:gd name="T16" fmla="*/ 2147483647 w 198"/>
                <a:gd name="T17" fmla="*/ 2147483647 h 204"/>
                <a:gd name="T18" fmla="*/ 2147483647 w 198"/>
                <a:gd name="T19" fmla="*/ 2147483647 h 204"/>
                <a:gd name="T20" fmla="*/ 2147483647 w 198"/>
                <a:gd name="T21" fmla="*/ 2147483647 h 204"/>
                <a:gd name="T22" fmla="*/ 2147483647 w 198"/>
                <a:gd name="T23" fmla="*/ 2147483647 h 204"/>
                <a:gd name="T24" fmla="*/ 2147483647 w 198"/>
                <a:gd name="T25" fmla="*/ 2147483647 h 204"/>
                <a:gd name="T26" fmla="*/ 2147483647 w 198"/>
                <a:gd name="T27" fmla="*/ 2147483647 h 204"/>
                <a:gd name="T28" fmla="*/ 2147483647 w 198"/>
                <a:gd name="T29" fmla="*/ 2147483647 h 204"/>
                <a:gd name="T30" fmla="*/ 2147483647 w 198"/>
                <a:gd name="T31" fmla="*/ 2147483647 h 204"/>
                <a:gd name="T32" fmla="*/ 2147483647 w 198"/>
                <a:gd name="T33" fmla="*/ 2147483647 h 204"/>
                <a:gd name="T34" fmla="*/ 2147483647 w 198"/>
                <a:gd name="T35" fmla="*/ 2147483647 h 204"/>
                <a:gd name="T36" fmla="*/ 2147483647 w 198"/>
                <a:gd name="T37" fmla="*/ 2147483647 h 204"/>
                <a:gd name="T38" fmla="*/ 2147483647 w 198"/>
                <a:gd name="T39" fmla="*/ 2147483647 h 204"/>
                <a:gd name="T40" fmla="*/ 2147483647 w 198"/>
                <a:gd name="T41" fmla="*/ 2147483647 h 204"/>
                <a:gd name="T42" fmla="*/ 2147483647 w 198"/>
                <a:gd name="T43" fmla="*/ 2147483647 h 204"/>
                <a:gd name="T44" fmla="*/ 2147483647 w 198"/>
                <a:gd name="T45" fmla="*/ 2147483647 h 204"/>
                <a:gd name="T46" fmla="*/ 2147483647 w 198"/>
                <a:gd name="T47" fmla="*/ 2147483647 h 204"/>
                <a:gd name="T48" fmla="*/ 2147483647 w 198"/>
                <a:gd name="T49" fmla="*/ 2147483647 h 204"/>
                <a:gd name="T50" fmla="*/ 2147483647 w 198"/>
                <a:gd name="T51" fmla="*/ 2147483647 h 204"/>
                <a:gd name="T52" fmla="*/ 2147483647 w 198"/>
                <a:gd name="T53" fmla="*/ 2147483647 h 204"/>
                <a:gd name="T54" fmla="*/ 2147483647 w 198"/>
                <a:gd name="T55" fmla="*/ 2147483647 h 204"/>
                <a:gd name="T56" fmla="*/ 2147483647 w 198"/>
                <a:gd name="T57" fmla="*/ 2147483647 h 204"/>
                <a:gd name="T58" fmla="*/ 2147483647 w 198"/>
                <a:gd name="T59" fmla="*/ 2147483647 h 204"/>
                <a:gd name="T60" fmla="*/ 2147483647 w 198"/>
                <a:gd name="T61" fmla="*/ 2147483647 h 204"/>
                <a:gd name="T62" fmla="*/ 2147483647 w 198"/>
                <a:gd name="T63" fmla="*/ 2147483647 h 204"/>
                <a:gd name="T64" fmla="*/ 2147483647 w 198"/>
                <a:gd name="T65" fmla="*/ 2147483647 h 204"/>
                <a:gd name="T66" fmla="*/ 2147483647 w 198"/>
                <a:gd name="T67" fmla="*/ 2147483647 h 204"/>
                <a:gd name="T68" fmla="*/ 2147483647 w 198"/>
                <a:gd name="T69" fmla="*/ 2147483647 h 204"/>
                <a:gd name="T70" fmla="*/ 2147483647 w 198"/>
                <a:gd name="T71" fmla="*/ 2147483647 h 204"/>
                <a:gd name="T72" fmla="*/ 2147483647 w 198"/>
                <a:gd name="T73" fmla="*/ 2147483647 h 204"/>
                <a:gd name="T74" fmla="*/ 2147483647 w 198"/>
                <a:gd name="T75" fmla="*/ 2147483647 h 204"/>
                <a:gd name="T76" fmla="*/ 2147483647 w 198"/>
                <a:gd name="T77" fmla="*/ 2147483647 h 204"/>
                <a:gd name="T78" fmla="*/ 2147483647 w 198"/>
                <a:gd name="T79" fmla="*/ 2147483647 h 204"/>
                <a:gd name="T80" fmla="*/ 2147483647 w 198"/>
                <a:gd name="T81" fmla="*/ 2147483647 h 204"/>
                <a:gd name="T82" fmla="*/ 2147483647 w 198"/>
                <a:gd name="T83" fmla="*/ 2147483647 h 204"/>
                <a:gd name="T84" fmla="*/ 2147483647 w 198"/>
                <a:gd name="T85" fmla="*/ 2147483647 h 204"/>
                <a:gd name="T86" fmla="*/ 2147483647 w 198"/>
                <a:gd name="T87" fmla="*/ 2147483647 h 204"/>
                <a:gd name="T88" fmla="*/ 2147483647 w 198"/>
                <a:gd name="T89" fmla="*/ 2147483647 h 204"/>
                <a:gd name="T90" fmla="*/ 2147483647 w 198"/>
                <a:gd name="T91" fmla="*/ 0 h 204"/>
                <a:gd name="T92" fmla="*/ 2147483647 w 198"/>
                <a:gd name="T93" fmla="*/ 2147483647 h 204"/>
                <a:gd name="T94" fmla="*/ 2147483647 w 198"/>
                <a:gd name="T95" fmla="*/ 2147483647 h 204"/>
                <a:gd name="T96" fmla="*/ 2147483647 w 198"/>
                <a:gd name="T97" fmla="*/ 2147483647 h 204"/>
                <a:gd name="T98" fmla="*/ 2147483647 w 198"/>
                <a:gd name="T99" fmla="*/ 2147483647 h 204"/>
                <a:gd name="T100" fmla="*/ 2147483647 w 198"/>
                <a:gd name="T101" fmla="*/ 2147483647 h 204"/>
                <a:gd name="T102" fmla="*/ 2147483647 w 198"/>
                <a:gd name="T103" fmla="*/ 2147483647 h 204"/>
                <a:gd name="T104" fmla="*/ 2147483647 w 198"/>
                <a:gd name="T105" fmla="*/ 2147483647 h 204"/>
                <a:gd name="T106" fmla="*/ 2147483647 w 198"/>
                <a:gd name="T107" fmla="*/ 2147483647 h 204"/>
                <a:gd name="T108" fmla="*/ 2147483647 w 198"/>
                <a:gd name="T109" fmla="*/ 2147483647 h 204"/>
                <a:gd name="T110" fmla="*/ 2147483647 w 198"/>
                <a:gd name="T111" fmla="*/ 2147483647 h 204"/>
                <a:gd name="T112" fmla="*/ 2147483647 w 198"/>
                <a:gd name="T113" fmla="*/ 2147483647 h 204"/>
                <a:gd name="T114" fmla="*/ 2147483647 w 198"/>
                <a:gd name="T115" fmla="*/ 2147483647 h 204"/>
                <a:gd name="T116" fmla="*/ 2147483647 w 198"/>
                <a:gd name="T117" fmla="*/ 2147483647 h 204"/>
                <a:gd name="T118" fmla="*/ 2147483647 w 198"/>
                <a:gd name="T119" fmla="*/ 2147483647 h 204"/>
                <a:gd name="T120" fmla="*/ 2147483647 w 198"/>
                <a:gd name="T121" fmla="*/ 2147483647 h 2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98"/>
                <a:gd name="T184" fmla="*/ 0 h 204"/>
                <a:gd name="T185" fmla="*/ 198 w 198"/>
                <a:gd name="T186" fmla="*/ 204 h 2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98" h="204">
                  <a:moveTo>
                    <a:pt x="0" y="126"/>
                  </a:move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12" y="144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6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54" y="174"/>
                  </a:lnTo>
                  <a:lnTo>
                    <a:pt x="60" y="174"/>
                  </a:lnTo>
                  <a:lnTo>
                    <a:pt x="60" y="180"/>
                  </a:lnTo>
                  <a:lnTo>
                    <a:pt x="66" y="180"/>
                  </a:lnTo>
                  <a:lnTo>
                    <a:pt x="72" y="180"/>
                  </a:lnTo>
                  <a:lnTo>
                    <a:pt x="78" y="186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6" y="186"/>
                  </a:lnTo>
                  <a:lnTo>
                    <a:pt x="102" y="186"/>
                  </a:lnTo>
                  <a:lnTo>
                    <a:pt x="108" y="186"/>
                  </a:lnTo>
                  <a:lnTo>
                    <a:pt x="114" y="180"/>
                  </a:lnTo>
                  <a:lnTo>
                    <a:pt x="120" y="180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32" y="174"/>
                  </a:lnTo>
                  <a:lnTo>
                    <a:pt x="138" y="180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2" y="168"/>
                  </a:lnTo>
                  <a:lnTo>
                    <a:pt x="126" y="168"/>
                  </a:lnTo>
                  <a:lnTo>
                    <a:pt x="126" y="162"/>
                  </a:lnTo>
                  <a:lnTo>
                    <a:pt x="120" y="162"/>
                  </a:lnTo>
                  <a:lnTo>
                    <a:pt x="114" y="162"/>
                  </a:lnTo>
                  <a:lnTo>
                    <a:pt x="114" y="156"/>
                  </a:lnTo>
                  <a:lnTo>
                    <a:pt x="108" y="156"/>
                  </a:lnTo>
                  <a:lnTo>
                    <a:pt x="102" y="156"/>
                  </a:lnTo>
                  <a:lnTo>
                    <a:pt x="96" y="156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102" y="150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08" y="144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26" y="150"/>
                  </a:lnTo>
                  <a:lnTo>
                    <a:pt x="126" y="156"/>
                  </a:lnTo>
                  <a:lnTo>
                    <a:pt x="132" y="162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62" y="186"/>
                  </a:lnTo>
                  <a:lnTo>
                    <a:pt x="168" y="186"/>
                  </a:lnTo>
                  <a:lnTo>
                    <a:pt x="174" y="192"/>
                  </a:lnTo>
                  <a:lnTo>
                    <a:pt x="180" y="198"/>
                  </a:lnTo>
                  <a:lnTo>
                    <a:pt x="186" y="204"/>
                  </a:lnTo>
                  <a:lnTo>
                    <a:pt x="192" y="204"/>
                  </a:lnTo>
                  <a:lnTo>
                    <a:pt x="198" y="204"/>
                  </a:lnTo>
                  <a:lnTo>
                    <a:pt x="192" y="204"/>
                  </a:lnTo>
                  <a:lnTo>
                    <a:pt x="186" y="198"/>
                  </a:lnTo>
                  <a:lnTo>
                    <a:pt x="180" y="186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68" y="168"/>
                  </a:lnTo>
                  <a:lnTo>
                    <a:pt x="162" y="168"/>
                  </a:lnTo>
                  <a:lnTo>
                    <a:pt x="162" y="162"/>
                  </a:lnTo>
                  <a:lnTo>
                    <a:pt x="162" y="156"/>
                  </a:lnTo>
                  <a:lnTo>
                    <a:pt x="156" y="156"/>
                  </a:lnTo>
                  <a:lnTo>
                    <a:pt x="156" y="150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38"/>
                  </a:lnTo>
                  <a:lnTo>
                    <a:pt x="144" y="132"/>
                  </a:lnTo>
                  <a:lnTo>
                    <a:pt x="144" y="126"/>
                  </a:lnTo>
                  <a:lnTo>
                    <a:pt x="144" y="120"/>
                  </a:lnTo>
                  <a:lnTo>
                    <a:pt x="138" y="120"/>
                  </a:lnTo>
                  <a:lnTo>
                    <a:pt x="138" y="114"/>
                  </a:lnTo>
                  <a:lnTo>
                    <a:pt x="138" y="108"/>
                  </a:lnTo>
                  <a:lnTo>
                    <a:pt x="144" y="108"/>
                  </a:lnTo>
                  <a:lnTo>
                    <a:pt x="144" y="102"/>
                  </a:lnTo>
                  <a:lnTo>
                    <a:pt x="150" y="102"/>
                  </a:lnTo>
                  <a:lnTo>
                    <a:pt x="150" y="96"/>
                  </a:lnTo>
                  <a:lnTo>
                    <a:pt x="144" y="90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50" y="66"/>
                  </a:lnTo>
                  <a:lnTo>
                    <a:pt x="150" y="60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56" y="48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62" y="42"/>
                  </a:lnTo>
                  <a:lnTo>
                    <a:pt x="156" y="42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2" y="24"/>
                  </a:lnTo>
                  <a:lnTo>
                    <a:pt x="168" y="24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44" y="6"/>
                  </a:lnTo>
                  <a:lnTo>
                    <a:pt x="138" y="6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84" y="36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84" y="60"/>
                  </a:lnTo>
                  <a:lnTo>
                    <a:pt x="84" y="66"/>
                  </a:lnTo>
                  <a:lnTo>
                    <a:pt x="84" y="72"/>
                  </a:lnTo>
                  <a:lnTo>
                    <a:pt x="90" y="72"/>
                  </a:lnTo>
                  <a:lnTo>
                    <a:pt x="84" y="72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78" y="84"/>
                  </a:lnTo>
                  <a:lnTo>
                    <a:pt x="78" y="90"/>
                  </a:lnTo>
                  <a:lnTo>
                    <a:pt x="78" y="96"/>
                  </a:lnTo>
                  <a:lnTo>
                    <a:pt x="72" y="96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6" y="96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0" y="96"/>
                  </a:lnTo>
                  <a:lnTo>
                    <a:pt x="54" y="96"/>
                  </a:lnTo>
                  <a:lnTo>
                    <a:pt x="48" y="96"/>
                  </a:lnTo>
                  <a:lnTo>
                    <a:pt x="42" y="96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24" y="114"/>
                  </a:lnTo>
                  <a:lnTo>
                    <a:pt x="24" y="12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6" y="126"/>
                  </a:lnTo>
                  <a:lnTo>
                    <a:pt x="0" y="126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6" name="Freeform 12"/>
            <p:cNvSpPr>
              <a:spLocks noChangeAspect="1"/>
            </p:cNvSpPr>
            <p:nvPr/>
          </p:nvSpPr>
          <p:spPr bwMode="auto">
            <a:xfrm>
              <a:off x="3786782" y="4590722"/>
              <a:ext cx="197774" cy="204801"/>
            </a:xfrm>
            <a:custGeom>
              <a:avLst/>
              <a:gdLst>
                <a:gd name="T0" fmla="*/ 2147483647 w 156"/>
                <a:gd name="T1" fmla="*/ 2147483647 h 162"/>
                <a:gd name="T2" fmla="*/ 2147483647 w 156"/>
                <a:gd name="T3" fmla="*/ 2147483647 h 162"/>
                <a:gd name="T4" fmla="*/ 2147483647 w 156"/>
                <a:gd name="T5" fmla="*/ 2147483647 h 162"/>
                <a:gd name="T6" fmla="*/ 2147483647 w 156"/>
                <a:gd name="T7" fmla="*/ 2147483647 h 162"/>
                <a:gd name="T8" fmla="*/ 2147483647 w 156"/>
                <a:gd name="T9" fmla="*/ 2147483647 h 162"/>
                <a:gd name="T10" fmla="*/ 2147483647 w 156"/>
                <a:gd name="T11" fmla="*/ 2147483647 h 162"/>
                <a:gd name="T12" fmla="*/ 2147483647 w 156"/>
                <a:gd name="T13" fmla="*/ 2147483647 h 162"/>
                <a:gd name="T14" fmla="*/ 2147483647 w 156"/>
                <a:gd name="T15" fmla="*/ 2147483647 h 162"/>
                <a:gd name="T16" fmla="*/ 2147483647 w 156"/>
                <a:gd name="T17" fmla="*/ 2147483647 h 162"/>
                <a:gd name="T18" fmla="*/ 2147483647 w 156"/>
                <a:gd name="T19" fmla="*/ 2147483647 h 162"/>
                <a:gd name="T20" fmla="*/ 2147483647 w 156"/>
                <a:gd name="T21" fmla="*/ 2147483647 h 162"/>
                <a:gd name="T22" fmla="*/ 2147483647 w 156"/>
                <a:gd name="T23" fmla="*/ 2147483647 h 162"/>
                <a:gd name="T24" fmla="*/ 2147483647 w 156"/>
                <a:gd name="T25" fmla="*/ 2147483647 h 162"/>
                <a:gd name="T26" fmla="*/ 2147483647 w 156"/>
                <a:gd name="T27" fmla="*/ 2147483647 h 162"/>
                <a:gd name="T28" fmla="*/ 2147483647 w 156"/>
                <a:gd name="T29" fmla="*/ 2147483647 h 162"/>
                <a:gd name="T30" fmla="*/ 2147483647 w 156"/>
                <a:gd name="T31" fmla="*/ 2147483647 h 162"/>
                <a:gd name="T32" fmla="*/ 2147483647 w 156"/>
                <a:gd name="T33" fmla="*/ 2147483647 h 162"/>
                <a:gd name="T34" fmla="*/ 2147483647 w 156"/>
                <a:gd name="T35" fmla="*/ 2147483647 h 162"/>
                <a:gd name="T36" fmla="*/ 2147483647 w 156"/>
                <a:gd name="T37" fmla="*/ 2147483647 h 162"/>
                <a:gd name="T38" fmla="*/ 2147483647 w 156"/>
                <a:gd name="T39" fmla="*/ 2147483647 h 162"/>
                <a:gd name="T40" fmla="*/ 2147483647 w 156"/>
                <a:gd name="T41" fmla="*/ 2147483647 h 162"/>
                <a:gd name="T42" fmla="*/ 2147483647 w 156"/>
                <a:gd name="T43" fmla="*/ 2147483647 h 162"/>
                <a:gd name="T44" fmla="*/ 2147483647 w 156"/>
                <a:gd name="T45" fmla="*/ 2147483647 h 162"/>
                <a:gd name="T46" fmla="*/ 2147483647 w 156"/>
                <a:gd name="T47" fmla="*/ 2147483647 h 162"/>
                <a:gd name="T48" fmla="*/ 2147483647 w 156"/>
                <a:gd name="T49" fmla="*/ 2147483647 h 162"/>
                <a:gd name="T50" fmla="*/ 2147483647 w 156"/>
                <a:gd name="T51" fmla="*/ 2147483647 h 162"/>
                <a:gd name="T52" fmla="*/ 2147483647 w 156"/>
                <a:gd name="T53" fmla="*/ 2147483647 h 162"/>
                <a:gd name="T54" fmla="*/ 2147483647 w 156"/>
                <a:gd name="T55" fmla="*/ 2147483647 h 162"/>
                <a:gd name="T56" fmla="*/ 2147483647 w 156"/>
                <a:gd name="T57" fmla="*/ 0 h 162"/>
                <a:gd name="T58" fmla="*/ 2147483647 w 156"/>
                <a:gd name="T59" fmla="*/ 0 h 162"/>
                <a:gd name="T60" fmla="*/ 2147483647 w 156"/>
                <a:gd name="T61" fmla="*/ 0 h 162"/>
                <a:gd name="T62" fmla="*/ 2147483647 w 156"/>
                <a:gd name="T63" fmla="*/ 2147483647 h 162"/>
                <a:gd name="T64" fmla="*/ 2147483647 w 156"/>
                <a:gd name="T65" fmla="*/ 2147483647 h 162"/>
                <a:gd name="T66" fmla="*/ 2147483647 w 156"/>
                <a:gd name="T67" fmla="*/ 2147483647 h 162"/>
                <a:gd name="T68" fmla="*/ 2147483647 w 156"/>
                <a:gd name="T69" fmla="*/ 2147483647 h 162"/>
                <a:gd name="T70" fmla="*/ 2147483647 w 156"/>
                <a:gd name="T71" fmla="*/ 2147483647 h 162"/>
                <a:gd name="T72" fmla="*/ 2147483647 w 156"/>
                <a:gd name="T73" fmla="*/ 2147483647 h 162"/>
                <a:gd name="T74" fmla="*/ 2147483647 w 156"/>
                <a:gd name="T75" fmla="*/ 2147483647 h 162"/>
                <a:gd name="T76" fmla="*/ 2147483647 w 156"/>
                <a:gd name="T77" fmla="*/ 2147483647 h 162"/>
                <a:gd name="T78" fmla="*/ 2147483647 w 156"/>
                <a:gd name="T79" fmla="*/ 2147483647 h 162"/>
                <a:gd name="T80" fmla="*/ 0 w 156"/>
                <a:gd name="T81" fmla="*/ 2147483647 h 162"/>
                <a:gd name="T82" fmla="*/ 2147483647 w 156"/>
                <a:gd name="T83" fmla="*/ 2147483647 h 162"/>
                <a:gd name="T84" fmla="*/ 2147483647 w 156"/>
                <a:gd name="T85" fmla="*/ 2147483647 h 162"/>
                <a:gd name="T86" fmla="*/ 0 w 156"/>
                <a:gd name="T87" fmla="*/ 2147483647 h 162"/>
                <a:gd name="T88" fmla="*/ 2147483647 w 156"/>
                <a:gd name="T89" fmla="*/ 2147483647 h 162"/>
                <a:gd name="T90" fmla="*/ 0 w 156"/>
                <a:gd name="T91" fmla="*/ 2147483647 h 162"/>
                <a:gd name="T92" fmla="*/ 2147483647 w 156"/>
                <a:gd name="T93" fmla="*/ 2147483647 h 162"/>
                <a:gd name="T94" fmla="*/ 2147483647 w 156"/>
                <a:gd name="T95" fmla="*/ 2147483647 h 162"/>
                <a:gd name="T96" fmla="*/ 2147483647 w 156"/>
                <a:gd name="T97" fmla="*/ 2147483647 h 162"/>
                <a:gd name="T98" fmla="*/ 2147483647 w 156"/>
                <a:gd name="T99" fmla="*/ 2147483647 h 162"/>
                <a:gd name="T100" fmla="*/ 2147483647 w 156"/>
                <a:gd name="T101" fmla="*/ 2147483647 h 162"/>
                <a:gd name="T102" fmla="*/ 2147483647 w 156"/>
                <a:gd name="T103" fmla="*/ 2147483647 h 162"/>
                <a:gd name="T104" fmla="*/ 2147483647 w 156"/>
                <a:gd name="T105" fmla="*/ 2147483647 h 162"/>
                <a:gd name="T106" fmla="*/ 2147483647 w 156"/>
                <a:gd name="T107" fmla="*/ 2147483647 h 162"/>
                <a:gd name="T108" fmla="*/ 2147483647 w 156"/>
                <a:gd name="T109" fmla="*/ 2147483647 h 162"/>
                <a:gd name="T110" fmla="*/ 2147483647 w 156"/>
                <a:gd name="T111" fmla="*/ 2147483647 h 162"/>
                <a:gd name="T112" fmla="*/ 2147483647 w 156"/>
                <a:gd name="T113" fmla="*/ 2147483647 h 162"/>
                <a:gd name="T114" fmla="*/ 2147483647 w 156"/>
                <a:gd name="T115" fmla="*/ 2147483647 h 162"/>
                <a:gd name="T116" fmla="*/ 2147483647 w 156"/>
                <a:gd name="T117" fmla="*/ 2147483647 h 16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6"/>
                <a:gd name="T178" fmla="*/ 0 h 162"/>
                <a:gd name="T179" fmla="*/ 156 w 156"/>
                <a:gd name="T180" fmla="*/ 162 h 16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6" h="162">
                  <a:moveTo>
                    <a:pt x="60" y="162"/>
                  </a:moveTo>
                  <a:lnTo>
                    <a:pt x="66" y="162"/>
                  </a:lnTo>
                  <a:lnTo>
                    <a:pt x="72" y="162"/>
                  </a:lnTo>
                  <a:lnTo>
                    <a:pt x="78" y="162"/>
                  </a:lnTo>
                  <a:lnTo>
                    <a:pt x="78" y="156"/>
                  </a:lnTo>
                  <a:lnTo>
                    <a:pt x="84" y="156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08" y="132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26" y="132"/>
                  </a:lnTo>
                  <a:lnTo>
                    <a:pt x="132" y="132"/>
                  </a:lnTo>
                  <a:lnTo>
                    <a:pt x="132" y="126"/>
                  </a:lnTo>
                  <a:lnTo>
                    <a:pt x="138" y="126"/>
                  </a:lnTo>
                  <a:lnTo>
                    <a:pt x="138" y="132"/>
                  </a:lnTo>
                  <a:lnTo>
                    <a:pt x="144" y="132"/>
                  </a:lnTo>
                  <a:lnTo>
                    <a:pt x="144" y="126"/>
                  </a:lnTo>
                  <a:lnTo>
                    <a:pt x="144" y="120"/>
                  </a:lnTo>
                  <a:lnTo>
                    <a:pt x="150" y="120"/>
                  </a:lnTo>
                  <a:lnTo>
                    <a:pt x="150" y="114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50" y="108"/>
                  </a:lnTo>
                  <a:lnTo>
                    <a:pt x="150" y="102"/>
                  </a:lnTo>
                  <a:lnTo>
                    <a:pt x="150" y="96"/>
                  </a:lnTo>
                  <a:lnTo>
                    <a:pt x="150" y="90"/>
                  </a:lnTo>
                  <a:lnTo>
                    <a:pt x="150" y="84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50" y="78"/>
                  </a:lnTo>
                  <a:lnTo>
                    <a:pt x="156" y="78"/>
                  </a:lnTo>
                  <a:lnTo>
                    <a:pt x="156" y="72"/>
                  </a:lnTo>
                  <a:lnTo>
                    <a:pt x="150" y="72"/>
                  </a:lnTo>
                  <a:lnTo>
                    <a:pt x="150" y="66"/>
                  </a:lnTo>
                  <a:lnTo>
                    <a:pt x="150" y="60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48"/>
                  </a:lnTo>
                  <a:lnTo>
                    <a:pt x="144" y="42"/>
                  </a:lnTo>
                  <a:lnTo>
                    <a:pt x="144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38" y="18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0" y="6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02" y="0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66" y="12"/>
                  </a:lnTo>
                  <a:lnTo>
                    <a:pt x="60" y="12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0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18" y="96"/>
                  </a:lnTo>
                  <a:lnTo>
                    <a:pt x="24" y="96"/>
                  </a:lnTo>
                  <a:lnTo>
                    <a:pt x="24" y="102"/>
                  </a:lnTo>
                  <a:lnTo>
                    <a:pt x="18" y="102"/>
                  </a:lnTo>
                  <a:lnTo>
                    <a:pt x="18" y="108"/>
                  </a:lnTo>
                  <a:lnTo>
                    <a:pt x="18" y="114"/>
                  </a:lnTo>
                  <a:lnTo>
                    <a:pt x="18" y="120"/>
                  </a:lnTo>
                  <a:lnTo>
                    <a:pt x="12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38"/>
                  </a:lnTo>
                  <a:lnTo>
                    <a:pt x="18" y="144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54" y="150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0" y="162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7" name="Freeform 13"/>
            <p:cNvSpPr>
              <a:spLocks noChangeAspect="1"/>
            </p:cNvSpPr>
            <p:nvPr/>
          </p:nvSpPr>
          <p:spPr bwMode="auto">
            <a:xfrm>
              <a:off x="3595889" y="4612948"/>
              <a:ext cx="266564" cy="228615"/>
            </a:xfrm>
            <a:custGeom>
              <a:avLst/>
              <a:gdLst>
                <a:gd name="T0" fmla="*/ 2147483647 w 210"/>
                <a:gd name="T1" fmla="*/ 2147483647 h 180"/>
                <a:gd name="T2" fmla="*/ 2147483647 w 210"/>
                <a:gd name="T3" fmla="*/ 2147483647 h 180"/>
                <a:gd name="T4" fmla="*/ 2147483647 w 210"/>
                <a:gd name="T5" fmla="*/ 2147483647 h 180"/>
                <a:gd name="T6" fmla="*/ 2147483647 w 210"/>
                <a:gd name="T7" fmla="*/ 2147483647 h 180"/>
                <a:gd name="T8" fmla="*/ 2147483647 w 210"/>
                <a:gd name="T9" fmla="*/ 2147483647 h 180"/>
                <a:gd name="T10" fmla="*/ 2147483647 w 210"/>
                <a:gd name="T11" fmla="*/ 2147483647 h 180"/>
                <a:gd name="T12" fmla="*/ 2147483647 w 210"/>
                <a:gd name="T13" fmla="*/ 2147483647 h 180"/>
                <a:gd name="T14" fmla="*/ 2147483647 w 210"/>
                <a:gd name="T15" fmla="*/ 2147483647 h 180"/>
                <a:gd name="T16" fmla="*/ 2147483647 w 210"/>
                <a:gd name="T17" fmla="*/ 2147483647 h 180"/>
                <a:gd name="T18" fmla="*/ 2147483647 w 210"/>
                <a:gd name="T19" fmla="*/ 2147483647 h 180"/>
                <a:gd name="T20" fmla="*/ 2147483647 w 210"/>
                <a:gd name="T21" fmla="*/ 2147483647 h 180"/>
                <a:gd name="T22" fmla="*/ 2147483647 w 210"/>
                <a:gd name="T23" fmla="*/ 2147483647 h 180"/>
                <a:gd name="T24" fmla="*/ 2147483647 w 210"/>
                <a:gd name="T25" fmla="*/ 2147483647 h 180"/>
                <a:gd name="T26" fmla="*/ 2147483647 w 210"/>
                <a:gd name="T27" fmla="*/ 2147483647 h 180"/>
                <a:gd name="T28" fmla="*/ 2147483647 w 210"/>
                <a:gd name="T29" fmla="*/ 2147483647 h 180"/>
                <a:gd name="T30" fmla="*/ 2147483647 w 210"/>
                <a:gd name="T31" fmla="*/ 2147483647 h 180"/>
                <a:gd name="T32" fmla="*/ 2147483647 w 210"/>
                <a:gd name="T33" fmla="*/ 2147483647 h 180"/>
                <a:gd name="T34" fmla="*/ 2147483647 w 210"/>
                <a:gd name="T35" fmla="*/ 2147483647 h 180"/>
                <a:gd name="T36" fmla="*/ 2147483647 w 210"/>
                <a:gd name="T37" fmla="*/ 2147483647 h 180"/>
                <a:gd name="T38" fmla="*/ 2147483647 w 210"/>
                <a:gd name="T39" fmla="*/ 2147483647 h 180"/>
                <a:gd name="T40" fmla="*/ 2147483647 w 210"/>
                <a:gd name="T41" fmla="*/ 2147483647 h 180"/>
                <a:gd name="T42" fmla="*/ 2147483647 w 210"/>
                <a:gd name="T43" fmla="*/ 2147483647 h 180"/>
                <a:gd name="T44" fmla="*/ 2147483647 w 210"/>
                <a:gd name="T45" fmla="*/ 2147483647 h 180"/>
                <a:gd name="T46" fmla="*/ 2147483647 w 210"/>
                <a:gd name="T47" fmla="*/ 2147483647 h 180"/>
                <a:gd name="T48" fmla="*/ 2147483647 w 210"/>
                <a:gd name="T49" fmla="*/ 2147483647 h 180"/>
                <a:gd name="T50" fmla="*/ 2147483647 w 210"/>
                <a:gd name="T51" fmla="*/ 2147483647 h 180"/>
                <a:gd name="T52" fmla="*/ 2147483647 w 210"/>
                <a:gd name="T53" fmla="*/ 2147483647 h 180"/>
                <a:gd name="T54" fmla="*/ 2147483647 w 210"/>
                <a:gd name="T55" fmla="*/ 2147483647 h 180"/>
                <a:gd name="T56" fmla="*/ 2147483647 w 210"/>
                <a:gd name="T57" fmla="*/ 2147483647 h 180"/>
                <a:gd name="T58" fmla="*/ 2147483647 w 210"/>
                <a:gd name="T59" fmla="*/ 0 h 180"/>
                <a:gd name="T60" fmla="*/ 2147483647 w 210"/>
                <a:gd name="T61" fmla="*/ 2147483647 h 180"/>
                <a:gd name="T62" fmla="*/ 2147483647 w 210"/>
                <a:gd name="T63" fmla="*/ 2147483647 h 180"/>
                <a:gd name="T64" fmla="*/ 2147483647 w 210"/>
                <a:gd name="T65" fmla="*/ 2147483647 h 180"/>
                <a:gd name="T66" fmla="*/ 2147483647 w 210"/>
                <a:gd name="T67" fmla="*/ 2147483647 h 180"/>
                <a:gd name="T68" fmla="*/ 2147483647 w 210"/>
                <a:gd name="T69" fmla="*/ 2147483647 h 180"/>
                <a:gd name="T70" fmla="*/ 2147483647 w 210"/>
                <a:gd name="T71" fmla="*/ 2147483647 h 180"/>
                <a:gd name="T72" fmla="*/ 2147483647 w 210"/>
                <a:gd name="T73" fmla="*/ 2147483647 h 180"/>
                <a:gd name="T74" fmla="*/ 2147483647 w 210"/>
                <a:gd name="T75" fmla="*/ 2147483647 h 180"/>
                <a:gd name="T76" fmla="*/ 2147483647 w 210"/>
                <a:gd name="T77" fmla="*/ 2147483647 h 180"/>
                <a:gd name="T78" fmla="*/ 2147483647 w 210"/>
                <a:gd name="T79" fmla="*/ 2147483647 h 180"/>
                <a:gd name="T80" fmla="*/ 2147483647 w 210"/>
                <a:gd name="T81" fmla="*/ 2147483647 h 180"/>
                <a:gd name="T82" fmla="*/ 0 w 210"/>
                <a:gd name="T83" fmla="*/ 2147483647 h 180"/>
                <a:gd name="T84" fmla="*/ 0 w 210"/>
                <a:gd name="T85" fmla="*/ 2147483647 h 180"/>
                <a:gd name="T86" fmla="*/ 2147483647 w 210"/>
                <a:gd name="T87" fmla="*/ 2147483647 h 180"/>
                <a:gd name="T88" fmla="*/ 2147483647 w 210"/>
                <a:gd name="T89" fmla="*/ 2147483647 h 180"/>
                <a:gd name="T90" fmla="*/ 2147483647 w 210"/>
                <a:gd name="T91" fmla="*/ 2147483647 h 180"/>
                <a:gd name="T92" fmla="*/ 2147483647 w 210"/>
                <a:gd name="T93" fmla="*/ 2147483647 h 180"/>
                <a:gd name="T94" fmla="*/ 2147483647 w 210"/>
                <a:gd name="T95" fmla="*/ 2147483647 h 180"/>
                <a:gd name="T96" fmla="*/ 2147483647 w 210"/>
                <a:gd name="T97" fmla="*/ 2147483647 h 180"/>
                <a:gd name="T98" fmla="*/ 2147483647 w 210"/>
                <a:gd name="T99" fmla="*/ 2147483647 h 180"/>
                <a:gd name="T100" fmla="*/ 2147483647 w 210"/>
                <a:gd name="T101" fmla="*/ 2147483647 h 180"/>
                <a:gd name="T102" fmla="*/ 2147483647 w 210"/>
                <a:gd name="T103" fmla="*/ 2147483647 h 180"/>
                <a:gd name="T104" fmla="*/ 2147483647 w 210"/>
                <a:gd name="T105" fmla="*/ 2147483647 h 18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10"/>
                <a:gd name="T160" fmla="*/ 0 h 180"/>
                <a:gd name="T161" fmla="*/ 210 w 210"/>
                <a:gd name="T162" fmla="*/ 180 h 18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10" h="180">
                  <a:moveTo>
                    <a:pt x="60" y="180"/>
                  </a:moveTo>
                  <a:lnTo>
                    <a:pt x="66" y="180"/>
                  </a:lnTo>
                  <a:lnTo>
                    <a:pt x="66" y="174"/>
                  </a:lnTo>
                  <a:lnTo>
                    <a:pt x="72" y="174"/>
                  </a:lnTo>
                  <a:lnTo>
                    <a:pt x="78" y="174"/>
                  </a:lnTo>
                  <a:lnTo>
                    <a:pt x="78" y="168"/>
                  </a:lnTo>
                  <a:lnTo>
                    <a:pt x="84" y="168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6" y="132"/>
                  </a:lnTo>
                  <a:lnTo>
                    <a:pt x="132" y="132"/>
                  </a:lnTo>
                  <a:lnTo>
                    <a:pt x="138" y="132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8" y="144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50"/>
                  </a:lnTo>
                  <a:lnTo>
                    <a:pt x="186" y="144"/>
                  </a:lnTo>
                  <a:lnTo>
                    <a:pt x="192" y="144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04" y="138"/>
                  </a:lnTo>
                  <a:lnTo>
                    <a:pt x="204" y="132"/>
                  </a:lnTo>
                  <a:lnTo>
                    <a:pt x="198" y="132"/>
                  </a:lnTo>
                  <a:lnTo>
                    <a:pt x="192" y="132"/>
                  </a:lnTo>
                  <a:lnTo>
                    <a:pt x="186" y="132"/>
                  </a:lnTo>
                  <a:lnTo>
                    <a:pt x="180" y="132"/>
                  </a:lnTo>
                  <a:lnTo>
                    <a:pt x="174" y="132"/>
                  </a:lnTo>
                  <a:lnTo>
                    <a:pt x="174" y="126"/>
                  </a:lnTo>
                  <a:lnTo>
                    <a:pt x="168" y="126"/>
                  </a:lnTo>
                  <a:lnTo>
                    <a:pt x="168" y="120"/>
                  </a:lnTo>
                  <a:lnTo>
                    <a:pt x="162" y="120"/>
                  </a:lnTo>
                  <a:lnTo>
                    <a:pt x="162" y="114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8" y="96"/>
                  </a:lnTo>
                  <a:lnTo>
                    <a:pt x="168" y="90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78"/>
                  </a:lnTo>
                  <a:lnTo>
                    <a:pt x="168" y="78"/>
                  </a:lnTo>
                  <a:lnTo>
                    <a:pt x="162" y="78"/>
                  </a:lnTo>
                  <a:lnTo>
                    <a:pt x="156" y="78"/>
                  </a:lnTo>
                  <a:lnTo>
                    <a:pt x="156" y="72"/>
                  </a:lnTo>
                  <a:lnTo>
                    <a:pt x="150" y="72"/>
                  </a:lnTo>
                  <a:lnTo>
                    <a:pt x="150" y="66"/>
                  </a:lnTo>
                  <a:lnTo>
                    <a:pt x="150" y="60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50" y="48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6" y="36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56" y="24"/>
                  </a:lnTo>
                  <a:lnTo>
                    <a:pt x="150" y="24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38" y="18"/>
                  </a:lnTo>
                  <a:lnTo>
                    <a:pt x="132" y="18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14" y="6"/>
                  </a:lnTo>
                  <a:lnTo>
                    <a:pt x="108" y="0"/>
                  </a:lnTo>
                  <a:lnTo>
                    <a:pt x="102" y="0"/>
                  </a:lnTo>
                  <a:lnTo>
                    <a:pt x="102" y="6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90" y="24"/>
                  </a:lnTo>
                  <a:lnTo>
                    <a:pt x="84" y="30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2" y="36"/>
                  </a:lnTo>
                  <a:lnTo>
                    <a:pt x="72" y="42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60" y="54"/>
                  </a:lnTo>
                  <a:lnTo>
                    <a:pt x="54" y="54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66"/>
                  </a:lnTo>
                  <a:lnTo>
                    <a:pt x="18" y="72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0" y="96"/>
                  </a:lnTo>
                  <a:lnTo>
                    <a:pt x="0" y="102"/>
                  </a:lnTo>
                  <a:lnTo>
                    <a:pt x="0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30" y="108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2" y="114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36" y="138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50"/>
                  </a:lnTo>
                  <a:lnTo>
                    <a:pt x="36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42" y="168"/>
                  </a:lnTo>
                  <a:lnTo>
                    <a:pt x="48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54" y="180"/>
                  </a:lnTo>
                  <a:lnTo>
                    <a:pt x="60" y="180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8" name="Freeform 14"/>
            <p:cNvSpPr>
              <a:spLocks noChangeAspect="1"/>
            </p:cNvSpPr>
            <p:nvPr/>
          </p:nvSpPr>
          <p:spPr bwMode="auto">
            <a:xfrm>
              <a:off x="3671558" y="4781234"/>
              <a:ext cx="251086" cy="106370"/>
            </a:xfrm>
            <a:custGeom>
              <a:avLst/>
              <a:gdLst>
                <a:gd name="T0" fmla="*/ 2147483647 w 198"/>
                <a:gd name="T1" fmla="*/ 2147483647 h 84"/>
                <a:gd name="T2" fmla="*/ 2147483647 w 198"/>
                <a:gd name="T3" fmla="*/ 2147483647 h 84"/>
                <a:gd name="T4" fmla="*/ 2147483647 w 198"/>
                <a:gd name="T5" fmla="*/ 2147483647 h 84"/>
                <a:gd name="T6" fmla="*/ 2147483647 w 198"/>
                <a:gd name="T7" fmla="*/ 2147483647 h 84"/>
                <a:gd name="T8" fmla="*/ 2147483647 w 198"/>
                <a:gd name="T9" fmla="*/ 2147483647 h 84"/>
                <a:gd name="T10" fmla="*/ 2147483647 w 198"/>
                <a:gd name="T11" fmla="*/ 2147483647 h 84"/>
                <a:gd name="T12" fmla="*/ 2147483647 w 198"/>
                <a:gd name="T13" fmla="*/ 2147483647 h 84"/>
                <a:gd name="T14" fmla="*/ 2147483647 w 198"/>
                <a:gd name="T15" fmla="*/ 2147483647 h 84"/>
                <a:gd name="T16" fmla="*/ 2147483647 w 198"/>
                <a:gd name="T17" fmla="*/ 2147483647 h 84"/>
                <a:gd name="T18" fmla="*/ 2147483647 w 198"/>
                <a:gd name="T19" fmla="*/ 2147483647 h 84"/>
                <a:gd name="T20" fmla="*/ 2147483647 w 198"/>
                <a:gd name="T21" fmla="*/ 2147483647 h 84"/>
                <a:gd name="T22" fmla="*/ 2147483647 w 198"/>
                <a:gd name="T23" fmla="*/ 2147483647 h 84"/>
                <a:gd name="T24" fmla="*/ 2147483647 w 198"/>
                <a:gd name="T25" fmla="*/ 2147483647 h 84"/>
                <a:gd name="T26" fmla="*/ 2147483647 w 198"/>
                <a:gd name="T27" fmla="*/ 2147483647 h 84"/>
                <a:gd name="T28" fmla="*/ 2147483647 w 198"/>
                <a:gd name="T29" fmla="*/ 2147483647 h 84"/>
                <a:gd name="T30" fmla="*/ 2147483647 w 198"/>
                <a:gd name="T31" fmla="*/ 2147483647 h 84"/>
                <a:gd name="T32" fmla="*/ 2147483647 w 198"/>
                <a:gd name="T33" fmla="*/ 2147483647 h 84"/>
                <a:gd name="T34" fmla="*/ 2147483647 w 198"/>
                <a:gd name="T35" fmla="*/ 2147483647 h 84"/>
                <a:gd name="T36" fmla="*/ 2147483647 w 198"/>
                <a:gd name="T37" fmla="*/ 2147483647 h 84"/>
                <a:gd name="T38" fmla="*/ 2147483647 w 198"/>
                <a:gd name="T39" fmla="*/ 2147483647 h 84"/>
                <a:gd name="T40" fmla="*/ 2147483647 w 198"/>
                <a:gd name="T41" fmla="*/ 2147483647 h 84"/>
                <a:gd name="T42" fmla="*/ 2147483647 w 198"/>
                <a:gd name="T43" fmla="*/ 2147483647 h 84"/>
                <a:gd name="T44" fmla="*/ 2147483647 w 198"/>
                <a:gd name="T45" fmla="*/ 2147483647 h 84"/>
                <a:gd name="T46" fmla="*/ 2147483647 w 198"/>
                <a:gd name="T47" fmla="*/ 2147483647 h 84"/>
                <a:gd name="T48" fmla="*/ 2147483647 w 198"/>
                <a:gd name="T49" fmla="*/ 2147483647 h 84"/>
                <a:gd name="T50" fmla="*/ 2147483647 w 198"/>
                <a:gd name="T51" fmla="*/ 2147483647 h 84"/>
                <a:gd name="T52" fmla="*/ 2147483647 w 198"/>
                <a:gd name="T53" fmla="*/ 2147483647 h 84"/>
                <a:gd name="T54" fmla="*/ 2147483647 w 198"/>
                <a:gd name="T55" fmla="*/ 2147483647 h 84"/>
                <a:gd name="T56" fmla="*/ 2147483647 w 198"/>
                <a:gd name="T57" fmla="*/ 2147483647 h 84"/>
                <a:gd name="T58" fmla="*/ 2147483647 w 198"/>
                <a:gd name="T59" fmla="*/ 2147483647 h 84"/>
                <a:gd name="T60" fmla="*/ 2147483647 w 198"/>
                <a:gd name="T61" fmla="*/ 2147483647 h 84"/>
                <a:gd name="T62" fmla="*/ 2147483647 w 198"/>
                <a:gd name="T63" fmla="*/ 2147483647 h 84"/>
                <a:gd name="T64" fmla="*/ 2147483647 w 198"/>
                <a:gd name="T65" fmla="*/ 2147483647 h 84"/>
                <a:gd name="T66" fmla="*/ 2147483647 w 198"/>
                <a:gd name="T67" fmla="*/ 2147483647 h 84"/>
                <a:gd name="T68" fmla="*/ 2147483647 w 198"/>
                <a:gd name="T69" fmla="*/ 2147483647 h 84"/>
                <a:gd name="T70" fmla="*/ 2147483647 w 198"/>
                <a:gd name="T71" fmla="*/ 2147483647 h 84"/>
                <a:gd name="T72" fmla="*/ 2147483647 w 198"/>
                <a:gd name="T73" fmla="*/ 0 h 84"/>
                <a:gd name="T74" fmla="*/ 2147483647 w 198"/>
                <a:gd name="T75" fmla="*/ 0 h 84"/>
                <a:gd name="T76" fmla="*/ 2147483647 w 198"/>
                <a:gd name="T77" fmla="*/ 2147483647 h 84"/>
                <a:gd name="T78" fmla="*/ 2147483647 w 198"/>
                <a:gd name="T79" fmla="*/ 2147483647 h 84"/>
                <a:gd name="T80" fmla="*/ 2147483647 w 198"/>
                <a:gd name="T81" fmla="*/ 2147483647 h 84"/>
                <a:gd name="T82" fmla="*/ 2147483647 w 198"/>
                <a:gd name="T83" fmla="*/ 2147483647 h 84"/>
                <a:gd name="T84" fmla="*/ 2147483647 w 198"/>
                <a:gd name="T85" fmla="*/ 2147483647 h 84"/>
                <a:gd name="T86" fmla="*/ 2147483647 w 198"/>
                <a:gd name="T87" fmla="*/ 2147483647 h 84"/>
                <a:gd name="T88" fmla="*/ 2147483647 w 198"/>
                <a:gd name="T89" fmla="*/ 2147483647 h 84"/>
                <a:gd name="T90" fmla="*/ 2147483647 w 198"/>
                <a:gd name="T91" fmla="*/ 2147483647 h 84"/>
                <a:gd name="T92" fmla="*/ 2147483647 w 198"/>
                <a:gd name="T93" fmla="*/ 2147483647 h 84"/>
                <a:gd name="T94" fmla="*/ 0 w 198"/>
                <a:gd name="T95" fmla="*/ 2147483647 h 84"/>
                <a:gd name="T96" fmla="*/ 2147483647 w 198"/>
                <a:gd name="T97" fmla="*/ 2147483647 h 8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8"/>
                <a:gd name="T148" fmla="*/ 0 h 84"/>
                <a:gd name="T149" fmla="*/ 198 w 198"/>
                <a:gd name="T150" fmla="*/ 84 h 8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8" h="84">
                  <a:moveTo>
                    <a:pt x="6" y="66"/>
                  </a:moveTo>
                  <a:lnTo>
                    <a:pt x="12" y="66"/>
                  </a:lnTo>
                  <a:lnTo>
                    <a:pt x="18" y="66"/>
                  </a:lnTo>
                  <a:lnTo>
                    <a:pt x="18" y="72"/>
                  </a:lnTo>
                  <a:lnTo>
                    <a:pt x="24" y="72"/>
                  </a:lnTo>
                  <a:lnTo>
                    <a:pt x="30" y="72"/>
                  </a:lnTo>
                  <a:lnTo>
                    <a:pt x="36" y="72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0" y="72"/>
                  </a:lnTo>
                  <a:lnTo>
                    <a:pt x="66" y="72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84" y="72"/>
                  </a:lnTo>
                  <a:lnTo>
                    <a:pt x="90" y="72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0" y="84"/>
                  </a:lnTo>
                  <a:lnTo>
                    <a:pt x="126" y="84"/>
                  </a:lnTo>
                  <a:lnTo>
                    <a:pt x="132" y="84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2" y="78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6" y="84"/>
                  </a:lnTo>
                  <a:lnTo>
                    <a:pt x="192" y="84"/>
                  </a:lnTo>
                  <a:lnTo>
                    <a:pt x="198" y="84"/>
                  </a:lnTo>
                  <a:lnTo>
                    <a:pt x="198" y="78"/>
                  </a:lnTo>
                  <a:lnTo>
                    <a:pt x="192" y="72"/>
                  </a:lnTo>
                  <a:lnTo>
                    <a:pt x="192" y="66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80" y="48"/>
                  </a:lnTo>
                  <a:lnTo>
                    <a:pt x="180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62" y="24"/>
                  </a:lnTo>
                  <a:lnTo>
                    <a:pt x="156" y="24"/>
                  </a:lnTo>
                  <a:lnTo>
                    <a:pt x="156" y="1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6" y="60"/>
                  </a:lnTo>
                  <a:lnTo>
                    <a:pt x="6" y="66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9" name="Freeform 15"/>
            <p:cNvSpPr>
              <a:spLocks noChangeAspect="1"/>
            </p:cNvSpPr>
            <p:nvPr/>
          </p:nvSpPr>
          <p:spPr bwMode="auto">
            <a:xfrm>
              <a:off x="3893408" y="4819336"/>
              <a:ext cx="228730" cy="258780"/>
            </a:xfrm>
            <a:custGeom>
              <a:avLst/>
              <a:gdLst>
                <a:gd name="T0" fmla="*/ 2147483647 w 180"/>
                <a:gd name="T1" fmla="*/ 2147483647 h 204"/>
                <a:gd name="T2" fmla="*/ 2147483647 w 180"/>
                <a:gd name="T3" fmla="*/ 2147483647 h 204"/>
                <a:gd name="T4" fmla="*/ 2147483647 w 180"/>
                <a:gd name="T5" fmla="*/ 2147483647 h 204"/>
                <a:gd name="T6" fmla="*/ 2147483647 w 180"/>
                <a:gd name="T7" fmla="*/ 2147483647 h 204"/>
                <a:gd name="T8" fmla="*/ 2147483647 w 180"/>
                <a:gd name="T9" fmla="*/ 2147483647 h 204"/>
                <a:gd name="T10" fmla="*/ 2147483647 w 180"/>
                <a:gd name="T11" fmla="*/ 2147483647 h 204"/>
                <a:gd name="T12" fmla="*/ 2147483647 w 180"/>
                <a:gd name="T13" fmla="*/ 2147483647 h 204"/>
                <a:gd name="T14" fmla="*/ 2147483647 w 180"/>
                <a:gd name="T15" fmla="*/ 2147483647 h 204"/>
                <a:gd name="T16" fmla="*/ 2147483647 w 180"/>
                <a:gd name="T17" fmla="*/ 2147483647 h 204"/>
                <a:gd name="T18" fmla="*/ 2147483647 w 180"/>
                <a:gd name="T19" fmla="*/ 2147483647 h 204"/>
                <a:gd name="T20" fmla="*/ 2147483647 w 180"/>
                <a:gd name="T21" fmla="*/ 2147483647 h 204"/>
                <a:gd name="T22" fmla="*/ 2147483647 w 180"/>
                <a:gd name="T23" fmla="*/ 2147483647 h 204"/>
                <a:gd name="T24" fmla="*/ 2147483647 w 180"/>
                <a:gd name="T25" fmla="*/ 2147483647 h 204"/>
                <a:gd name="T26" fmla="*/ 2147483647 w 180"/>
                <a:gd name="T27" fmla="*/ 2147483647 h 204"/>
                <a:gd name="T28" fmla="*/ 2147483647 w 180"/>
                <a:gd name="T29" fmla="*/ 2147483647 h 204"/>
                <a:gd name="T30" fmla="*/ 2147483647 w 180"/>
                <a:gd name="T31" fmla="*/ 2147483647 h 204"/>
                <a:gd name="T32" fmla="*/ 2147483647 w 180"/>
                <a:gd name="T33" fmla="*/ 2147483647 h 204"/>
                <a:gd name="T34" fmla="*/ 2147483647 w 180"/>
                <a:gd name="T35" fmla="*/ 2147483647 h 204"/>
                <a:gd name="T36" fmla="*/ 2147483647 w 180"/>
                <a:gd name="T37" fmla="*/ 2147483647 h 204"/>
                <a:gd name="T38" fmla="*/ 2147483647 w 180"/>
                <a:gd name="T39" fmla="*/ 2147483647 h 204"/>
                <a:gd name="T40" fmla="*/ 2147483647 w 180"/>
                <a:gd name="T41" fmla="*/ 2147483647 h 204"/>
                <a:gd name="T42" fmla="*/ 2147483647 w 180"/>
                <a:gd name="T43" fmla="*/ 2147483647 h 204"/>
                <a:gd name="T44" fmla="*/ 2147483647 w 180"/>
                <a:gd name="T45" fmla="*/ 2147483647 h 204"/>
                <a:gd name="T46" fmla="*/ 2147483647 w 180"/>
                <a:gd name="T47" fmla="*/ 2147483647 h 204"/>
                <a:gd name="T48" fmla="*/ 2147483647 w 180"/>
                <a:gd name="T49" fmla="*/ 2147483647 h 204"/>
                <a:gd name="T50" fmla="*/ 2147483647 w 180"/>
                <a:gd name="T51" fmla="*/ 2147483647 h 204"/>
                <a:gd name="T52" fmla="*/ 2147483647 w 180"/>
                <a:gd name="T53" fmla="*/ 2147483647 h 204"/>
                <a:gd name="T54" fmla="*/ 2147483647 w 180"/>
                <a:gd name="T55" fmla="*/ 2147483647 h 204"/>
                <a:gd name="T56" fmla="*/ 2147483647 w 180"/>
                <a:gd name="T57" fmla="*/ 2147483647 h 204"/>
                <a:gd name="T58" fmla="*/ 2147483647 w 180"/>
                <a:gd name="T59" fmla="*/ 2147483647 h 204"/>
                <a:gd name="T60" fmla="*/ 2147483647 w 180"/>
                <a:gd name="T61" fmla="*/ 2147483647 h 204"/>
                <a:gd name="T62" fmla="*/ 2147483647 w 180"/>
                <a:gd name="T63" fmla="*/ 2147483647 h 204"/>
                <a:gd name="T64" fmla="*/ 2147483647 w 180"/>
                <a:gd name="T65" fmla="*/ 2147483647 h 204"/>
                <a:gd name="T66" fmla="*/ 2147483647 w 180"/>
                <a:gd name="T67" fmla="*/ 2147483647 h 204"/>
                <a:gd name="T68" fmla="*/ 2147483647 w 180"/>
                <a:gd name="T69" fmla="*/ 2147483647 h 204"/>
                <a:gd name="T70" fmla="*/ 2147483647 w 180"/>
                <a:gd name="T71" fmla="*/ 2147483647 h 204"/>
                <a:gd name="T72" fmla="*/ 2147483647 w 180"/>
                <a:gd name="T73" fmla="*/ 2147483647 h 204"/>
                <a:gd name="T74" fmla="*/ 2147483647 w 180"/>
                <a:gd name="T75" fmla="*/ 2147483647 h 204"/>
                <a:gd name="T76" fmla="*/ 2147483647 w 180"/>
                <a:gd name="T77" fmla="*/ 2147483647 h 204"/>
                <a:gd name="T78" fmla="*/ 2147483647 w 180"/>
                <a:gd name="T79" fmla="*/ 2147483647 h 204"/>
                <a:gd name="T80" fmla="*/ 2147483647 w 180"/>
                <a:gd name="T81" fmla="*/ 2147483647 h 204"/>
                <a:gd name="T82" fmla="*/ 2147483647 w 180"/>
                <a:gd name="T83" fmla="*/ 2147483647 h 204"/>
                <a:gd name="T84" fmla="*/ 2147483647 w 180"/>
                <a:gd name="T85" fmla="*/ 2147483647 h 204"/>
                <a:gd name="T86" fmla="*/ 2147483647 w 180"/>
                <a:gd name="T87" fmla="*/ 2147483647 h 204"/>
                <a:gd name="T88" fmla="*/ 2147483647 w 180"/>
                <a:gd name="T89" fmla="*/ 2147483647 h 204"/>
                <a:gd name="T90" fmla="*/ 2147483647 w 180"/>
                <a:gd name="T91" fmla="*/ 2147483647 h 204"/>
                <a:gd name="T92" fmla="*/ 2147483647 w 180"/>
                <a:gd name="T93" fmla="*/ 2147483647 h 204"/>
                <a:gd name="T94" fmla="*/ 2147483647 w 180"/>
                <a:gd name="T95" fmla="*/ 2147483647 h 204"/>
                <a:gd name="T96" fmla="*/ 2147483647 w 180"/>
                <a:gd name="T97" fmla="*/ 2147483647 h 204"/>
                <a:gd name="T98" fmla="*/ 2147483647 w 180"/>
                <a:gd name="T99" fmla="*/ 2147483647 h 204"/>
                <a:gd name="T100" fmla="*/ 2147483647 w 180"/>
                <a:gd name="T101" fmla="*/ 2147483647 h 204"/>
                <a:gd name="T102" fmla="*/ 2147483647 w 180"/>
                <a:gd name="T103" fmla="*/ 2147483647 h 204"/>
                <a:gd name="T104" fmla="*/ 2147483647 w 180"/>
                <a:gd name="T105" fmla="*/ 2147483647 h 204"/>
                <a:gd name="T106" fmla="*/ 2147483647 w 180"/>
                <a:gd name="T107" fmla="*/ 2147483647 h 204"/>
                <a:gd name="T108" fmla="*/ 0 w 180"/>
                <a:gd name="T109" fmla="*/ 0 h 2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80"/>
                <a:gd name="T166" fmla="*/ 0 h 204"/>
                <a:gd name="T167" fmla="*/ 180 w 180"/>
                <a:gd name="T168" fmla="*/ 204 h 2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80" h="204">
                  <a:moveTo>
                    <a:pt x="0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24" y="66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30" y="66"/>
                  </a:lnTo>
                  <a:lnTo>
                    <a:pt x="30" y="72"/>
                  </a:lnTo>
                  <a:lnTo>
                    <a:pt x="36" y="72"/>
                  </a:lnTo>
                  <a:lnTo>
                    <a:pt x="42" y="72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54" y="84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54" y="90"/>
                  </a:lnTo>
                  <a:lnTo>
                    <a:pt x="60" y="90"/>
                  </a:lnTo>
                  <a:lnTo>
                    <a:pt x="60" y="96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54" y="96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48" y="102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36" y="108"/>
                  </a:lnTo>
                  <a:lnTo>
                    <a:pt x="42" y="114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30" y="114"/>
                  </a:lnTo>
                  <a:lnTo>
                    <a:pt x="30" y="120"/>
                  </a:lnTo>
                  <a:lnTo>
                    <a:pt x="30" y="126"/>
                  </a:lnTo>
                  <a:lnTo>
                    <a:pt x="24" y="126"/>
                  </a:lnTo>
                  <a:lnTo>
                    <a:pt x="18" y="126"/>
                  </a:lnTo>
                  <a:lnTo>
                    <a:pt x="24" y="126"/>
                  </a:lnTo>
                  <a:lnTo>
                    <a:pt x="18" y="126"/>
                  </a:lnTo>
                  <a:lnTo>
                    <a:pt x="18" y="132"/>
                  </a:lnTo>
                  <a:lnTo>
                    <a:pt x="12" y="132"/>
                  </a:lnTo>
                  <a:lnTo>
                    <a:pt x="18" y="138"/>
                  </a:lnTo>
                  <a:lnTo>
                    <a:pt x="24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18" y="156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24" y="168"/>
                  </a:lnTo>
                  <a:lnTo>
                    <a:pt x="24" y="174"/>
                  </a:lnTo>
                  <a:lnTo>
                    <a:pt x="24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30" y="186"/>
                  </a:lnTo>
                  <a:lnTo>
                    <a:pt x="30" y="192"/>
                  </a:lnTo>
                  <a:lnTo>
                    <a:pt x="24" y="192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18" y="198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30" y="204"/>
                  </a:lnTo>
                  <a:lnTo>
                    <a:pt x="36" y="204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8" y="198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54" y="186"/>
                  </a:lnTo>
                  <a:lnTo>
                    <a:pt x="54" y="180"/>
                  </a:lnTo>
                  <a:lnTo>
                    <a:pt x="60" y="180"/>
                  </a:lnTo>
                  <a:lnTo>
                    <a:pt x="66" y="180"/>
                  </a:lnTo>
                  <a:lnTo>
                    <a:pt x="66" y="174"/>
                  </a:lnTo>
                  <a:lnTo>
                    <a:pt x="66" y="168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84" y="168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14" y="132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14" y="96"/>
                  </a:lnTo>
                  <a:lnTo>
                    <a:pt x="120" y="96"/>
                  </a:lnTo>
                  <a:lnTo>
                    <a:pt x="126" y="90"/>
                  </a:lnTo>
                  <a:lnTo>
                    <a:pt x="126" y="84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8" y="72"/>
                  </a:lnTo>
                  <a:lnTo>
                    <a:pt x="144" y="72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62" y="72"/>
                  </a:lnTo>
                  <a:lnTo>
                    <a:pt x="162" y="66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80" y="66"/>
                  </a:lnTo>
                  <a:lnTo>
                    <a:pt x="180" y="60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50" y="42"/>
                  </a:lnTo>
                  <a:lnTo>
                    <a:pt x="144" y="42"/>
                  </a:lnTo>
                  <a:lnTo>
                    <a:pt x="138" y="42"/>
                  </a:lnTo>
                  <a:lnTo>
                    <a:pt x="138" y="36"/>
                  </a:lnTo>
                  <a:lnTo>
                    <a:pt x="132" y="36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0" y="24"/>
                  </a:lnTo>
                  <a:lnTo>
                    <a:pt x="120" y="30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2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0" name="Freeform 16"/>
            <p:cNvSpPr>
              <a:spLocks noChangeAspect="1" noEditPoints="1"/>
            </p:cNvSpPr>
            <p:nvPr/>
          </p:nvSpPr>
          <p:spPr bwMode="auto">
            <a:xfrm>
              <a:off x="3717992" y="4865377"/>
              <a:ext cx="853005" cy="2522701"/>
            </a:xfrm>
            <a:custGeom>
              <a:avLst/>
              <a:gdLst>
                <a:gd name="T0" fmla="*/ 2147483647 w 672"/>
                <a:gd name="T1" fmla="*/ 2147483647 h 1986"/>
                <a:gd name="T2" fmla="*/ 2147483647 w 672"/>
                <a:gd name="T3" fmla="*/ 2147483647 h 1986"/>
                <a:gd name="T4" fmla="*/ 2147483647 w 672"/>
                <a:gd name="T5" fmla="*/ 2147483647 h 1986"/>
                <a:gd name="T6" fmla="*/ 2147483647 w 672"/>
                <a:gd name="T7" fmla="*/ 2147483647 h 1986"/>
                <a:gd name="T8" fmla="*/ 2147483647 w 672"/>
                <a:gd name="T9" fmla="*/ 2147483647 h 1986"/>
                <a:gd name="T10" fmla="*/ 2147483647 w 672"/>
                <a:gd name="T11" fmla="*/ 2147483647 h 1986"/>
                <a:gd name="T12" fmla="*/ 2147483647 w 672"/>
                <a:gd name="T13" fmla="*/ 2147483647 h 1986"/>
                <a:gd name="T14" fmla="*/ 2147483647 w 672"/>
                <a:gd name="T15" fmla="*/ 2147483647 h 1986"/>
                <a:gd name="T16" fmla="*/ 2147483647 w 672"/>
                <a:gd name="T17" fmla="*/ 2147483647 h 1986"/>
                <a:gd name="T18" fmla="*/ 2147483647 w 672"/>
                <a:gd name="T19" fmla="*/ 2147483647 h 1986"/>
                <a:gd name="T20" fmla="*/ 2147483647 w 672"/>
                <a:gd name="T21" fmla="*/ 2147483647 h 1986"/>
                <a:gd name="T22" fmla="*/ 2147483647 w 672"/>
                <a:gd name="T23" fmla="*/ 2147483647 h 1986"/>
                <a:gd name="T24" fmla="*/ 2147483647 w 672"/>
                <a:gd name="T25" fmla="*/ 2147483647 h 1986"/>
                <a:gd name="T26" fmla="*/ 2147483647 w 672"/>
                <a:gd name="T27" fmla="*/ 2147483647 h 1986"/>
                <a:gd name="T28" fmla="*/ 2147483647 w 672"/>
                <a:gd name="T29" fmla="*/ 2147483647 h 1986"/>
                <a:gd name="T30" fmla="*/ 2147483647 w 672"/>
                <a:gd name="T31" fmla="*/ 2147483647 h 1986"/>
                <a:gd name="T32" fmla="*/ 2147483647 w 672"/>
                <a:gd name="T33" fmla="*/ 2147483647 h 1986"/>
                <a:gd name="T34" fmla="*/ 2147483647 w 672"/>
                <a:gd name="T35" fmla="*/ 2147483647 h 1986"/>
                <a:gd name="T36" fmla="*/ 2147483647 w 672"/>
                <a:gd name="T37" fmla="*/ 2147483647 h 1986"/>
                <a:gd name="T38" fmla="*/ 2147483647 w 672"/>
                <a:gd name="T39" fmla="*/ 2147483647 h 1986"/>
                <a:gd name="T40" fmla="*/ 2147483647 w 672"/>
                <a:gd name="T41" fmla="*/ 2147483647 h 1986"/>
                <a:gd name="T42" fmla="*/ 2147483647 w 672"/>
                <a:gd name="T43" fmla="*/ 2147483647 h 1986"/>
                <a:gd name="T44" fmla="*/ 2147483647 w 672"/>
                <a:gd name="T45" fmla="*/ 2147483647 h 1986"/>
                <a:gd name="T46" fmla="*/ 2147483647 w 672"/>
                <a:gd name="T47" fmla="*/ 2147483647 h 1986"/>
                <a:gd name="T48" fmla="*/ 2147483647 w 672"/>
                <a:gd name="T49" fmla="*/ 2147483647 h 1986"/>
                <a:gd name="T50" fmla="*/ 2147483647 w 672"/>
                <a:gd name="T51" fmla="*/ 2147483647 h 1986"/>
                <a:gd name="T52" fmla="*/ 2147483647 w 672"/>
                <a:gd name="T53" fmla="*/ 2147483647 h 1986"/>
                <a:gd name="T54" fmla="*/ 2147483647 w 672"/>
                <a:gd name="T55" fmla="*/ 2147483647 h 1986"/>
                <a:gd name="T56" fmla="*/ 2147483647 w 672"/>
                <a:gd name="T57" fmla="*/ 2147483647 h 1986"/>
                <a:gd name="T58" fmla="*/ 2147483647 w 672"/>
                <a:gd name="T59" fmla="*/ 2147483647 h 1986"/>
                <a:gd name="T60" fmla="*/ 2147483647 w 672"/>
                <a:gd name="T61" fmla="*/ 2147483647 h 1986"/>
                <a:gd name="T62" fmla="*/ 2147483647 w 672"/>
                <a:gd name="T63" fmla="*/ 2147483647 h 1986"/>
                <a:gd name="T64" fmla="*/ 2147483647 w 672"/>
                <a:gd name="T65" fmla="*/ 2147483647 h 1986"/>
                <a:gd name="T66" fmla="*/ 2147483647 w 672"/>
                <a:gd name="T67" fmla="*/ 2147483647 h 1986"/>
                <a:gd name="T68" fmla="*/ 2147483647 w 672"/>
                <a:gd name="T69" fmla="*/ 2147483647 h 1986"/>
                <a:gd name="T70" fmla="*/ 2147483647 w 672"/>
                <a:gd name="T71" fmla="*/ 2147483647 h 1986"/>
                <a:gd name="T72" fmla="*/ 2147483647 w 672"/>
                <a:gd name="T73" fmla="*/ 2147483647 h 1986"/>
                <a:gd name="T74" fmla="*/ 2147483647 w 672"/>
                <a:gd name="T75" fmla="*/ 2147483647 h 1986"/>
                <a:gd name="T76" fmla="*/ 2147483647 w 672"/>
                <a:gd name="T77" fmla="*/ 2147483647 h 1986"/>
                <a:gd name="T78" fmla="*/ 2147483647 w 672"/>
                <a:gd name="T79" fmla="*/ 2147483647 h 1986"/>
                <a:gd name="T80" fmla="*/ 2147483647 w 672"/>
                <a:gd name="T81" fmla="*/ 2147483647 h 1986"/>
                <a:gd name="T82" fmla="*/ 2147483647 w 672"/>
                <a:gd name="T83" fmla="*/ 2147483647 h 1986"/>
                <a:gd name="T84" fmla="*/ 2147483647 w 672"/>
                <a:gd name="T85" fmla="*/ 2147483647 h 1986"/>
                <a:gd name="T86" fmla="*/ 2147483647 w 672"/>
                <a:gd name="T87" fmla="*/ 2147483647 h 1986"/>
                <a:gd name="T88" fmla="*/ 2147483647 w 672"/>
                <a:gd name="T89" fmla="*/ 2147483647 h 1986"/>
                <a:gd name="T90" fmla="*/ 2147483647 w 672"/>
                <a:gd name="T91" fmla="*/ 2147483647 h 1986"/>
                <a:gd name="T92" fmla="*/ 2147483647 w 672"/>
                <a:gd name="T93" fmla="*/ 2147483647 h 1986"/>
                <a:gd name="T94" fmla="*/ 2147483647 w 672"/>
                <a:gd name="T95" fmla="*/ 2147483647 h 1986"/>
                <a:gd name="T96" fmla="*/ 2147483647 w 672"/>
                <a:gd name="T97" fmla="*/ 2147483647 h 1986"/>
                <a:gd name="T98" fmla="*/ 2147483647 w 672"/>
                <a:gd name="T99" fmla="*/ 2147483647 h 1986"/>
                <a:gd name="T100" fmla="*/ 2147483647 w 672"/>
                <a:gd name="T101" fmla="*/ 2147483647 h 1986"/>
                <a:gd name="T102" fmla="*/ 2147483647 w 672"/>
                <a:gd name="T103" fmla="*/ 2147483647 h 1986"/>
                <a:gd name="T104" fmla="*/ 2147483647 w 672"/>
                <a:gd name="T105" fmla="*/ 2147483647 h 1986"/>
                <a:gd name="T106" fmla="*/ 2147483647 w 672"/>
                <a:gd name="T107" fmla="*/ 0 h 198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72"/>
                <a:gd name="T163" fmla="*/ 0 h 1986"/>
                <a:gd name="T164" fmla="*/ 672 w 672"/>
                <a:gd name="T165" fmla="*/ 1986 h 198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72" h="1986">
                  <a:moveTo>
                    <a:pt x="660" y="1512"/>
                  </a:moveTo>
                  <a:lnTo>
                    <a:pt x="660" y="1506"/>
                  </a:lnTo>
                  <a:lnTo>
                    <a:pt x="660" y="1512"/>
                  </a:lnTo>
                  <a:close/>
                  <a:moveTo>
                    <a:pt x="660" y="1584"/>
                  </a:moveTo>
                  <a:lnTo>
                    <a:pt x="660" y="1578"/>
                  </a:lnTo>
                  <a:lnTo>
                    <a:pt x="660" y="1584"/>
                  </a:lnTo>
                  <a:close/>
                  <a:moveTo>
                    <a:pt x="654" y="1410"/>
                  </a:moveTo>
                  <a:lnTo>
                    <a:pt x="654" y="1404"/>
                  </a:lnTo>
                  <a:lnTo>
                    <a:pt x="654" y="1410"/>
                  </a:lnTo>
                  <a:close/>
                  <a:moveTo>
                    <a:pt x="576" y="1986"/>
                  </a:moveTo>
                  <a:lnTo>
                    <a:pt x="576" y="1980"/>
                  </a:lnTo>
                  <a:lnTo>
                    <a:pt x="576" y="1986"/>
                  </a:lnTo>
                  <a:close/>
                  <a:moveTo>
                    <a:pt x="306" y="924"/>
                  </a:moveTo>
                  <a:lnTo>
                    <a:pt x="312" y="924"/>
                  </a:lnTo>
                  <a:lnTo>
                    <a:pt x="312" y="918"/>
                  </a:lnTo>
                  <a:lnTo>
                    <a:pt x="306" y="918"/>
                  </a:lnTo>
                  <a:lnTo>
                    <a:pt x="306" y="924"/>
                  </a:lnTo>
                  <a:close/>
                  <a:moveTo>
                    <a:pt x="168" y="474"/>
                  </a:moveTo>
                  <a:lnTo>
                    <a:pt x="174" y="474"/>
                  </a:lnTo>
                  <a:lnTo>
                    <a:pt x="168" y="468"/>
                  </a:lnTo>
                  <a:lnTo>
                    <a:pt x="168" y="474"/>
                  </a:lnTo>
                  <a:close/>
                  <a:moveTo>
                    <a:pt x="78" y="234"/>
                  </a:moveTo>
                  <a:lnTo>
                    <a:pt x="84" y="234"/>
                  </a:lnTo>
                  <a:lnTo>
                    <a:pt x="78" y="234"/>
                  </a:lnTo>
                  <a:close/>
                  <a:moveTo>
                    <a:pt x="534" y="1782"/>
                  </a:moveTo>
                  <a:lnTo>
                    <a:pt x="534" y="1776"/>
                  </a:lnTo>
                  <a:lnTo>
                    <a:pt x="534" y="1782"/>
                  </a:lnTo>
                  <a:close/>
                  <a:moveTo>
                    <a:pt x="72" y="270"/>
                  </a:moveTo>
                  <a:lnTo>
                    <a:pt x="72" y="264"/>
                  </a:lnTo>
                  <a:lnTo>
                    <a:pt x="66" y="270"/>
                  </a:lnTo>
                  <a:lnTo>
                    <a:pt x="72" y="270"/>
                  </a:lnTo>
                  <a:close/>
                  <a:moveTo>
                    <a:pt x="660" y="1488"/>
                  </a:moveTo>
                  <a:lnTo>
                    <a:pt x="666" y="1488"/>
                  </a:lnTo>
                  <a:lnTo>
                    <a:pt x="666" y="1482"/>
                  </a:lnTo>
                  <a:lnTo>
                    <a:pt x="660" y="1482"/>
                  </a:lnTo>
                  <a:lnTo>
                    <a:pt x="660" y="1488"/>
                  </a:lnTo>
                  <a:close/>
                  <a:moveTo>
                    <a:pt x="192" y="588"/>
                  </a:moveTo>
                  <a:lnTo>
                    <a:pt x="192" y="582"/>
                  </a:lnTo>
                  <a:lnTo>
                    <a:pt x="186" y="582"/>
                  </a:lnTo>
                  <a:lnTo>
                    <a:pt x="192" y="588"/>
                  </a:lnTo>
                  <a:close/>
                  <a:moveTo>
                    <a:pt x="666" y="1494"/>
                  </a:moveTo>
                  <a:lnTo>
                    <a:pt x="672" y="1494"/>
                  </a:lnTo>
                  <a:lnTo>
                    <a:pt x="666" y="1494"/>
                  </a:lnTo>
                  <a:lnTo>
                    <a:pt x="666" y="1488"/>
                  </a:lnTo>
                  <a:lnTo>
                    <a:pt x="666" y="1494"/>
                  </a:lnTo>
                  <a:close/>
                  <a:moveTo>
                    <a:pt x="144" y="348"/>
                  </a:moveTo>
                  <a:lnTo>
                    <a:pt x="150" y="342"/>
                  </a:lnTo>
                  <a:lnTo>
                    <a:pt x="144" y="336"/>
                  </a:lnTo>
                  <a:lnTo>
                    <a:pt x="138" y="342"/>
                  </a:lnTo>
                  <a:lnTo>
                    <a:pt x="138" y="348"/>
                  </a:lnTo>
                  <a:lnTo>
                    <a:pt x="144" y="348"/>
                  </a:lnTo>
                  <a:close/>
                  <a:moveTo>
                    <a:pt x="60" y="288"/>
                  </a:moveTo>
                  <a:lnTo>
                    <a:pt x="66" y="288"/>
                  </a:lnTo>
                  <a:lnTo>
                    <a:pt x="66" y="282"/>
                  </a:lnTo>
                  <a:lnTo>
                    <a:pt x="60" y="282"/>
                  </a:lnTo>
                  <a:lnTo>
                    <a:pt x="60" y="288"/>
                  </a:lnTo>
                  <a:close/>
                  <a:moveTo>
                    <a:pt x="660" y="1500"/>
                  </a:moveTo>
                  <a:lnTo>
                    <a:pt x="666" y="1500"/>
                  </a:lnTo>
                  <a:lnTo>
                    <a:pt x="666" y="1506"/>
                  </a:lnTo>
                  <a:lnTo>
                    <a:pt x="672" y="1506"/>
                  </a:lnTo>
                  <a:lnTo>
                    <a:pt x="672" y="1500"/>
                  </a:lnTo>
                  <a:lnTo>
                    <a:pt x="666" y="1500"/>
                  </a:lnTo>
                  <a:lnTo>
                    <a:pt x="666" y="1494"/>
                  </a:lnTo>
                  <a:lnTo>
                    <a:pt x="660" y="1494"/>
                  </a:lnTo>
                  <a:lnTo>
                    <a:pt x="660" y="1500"/>
                  </a:lnTo>
                  <a:close/>
                  <a:moveTo>
                    <a:pt x="546" y="1896"/>
                  </a:moveTo>
                  <a:lnTo>
                    <a:pt x="552" y="1890"/>
                  </a:lnTo>
                  <a:lnTo>
                    <a:pt x="552" y="1884"/>
                  </a:lnTo>
                  <a:lnTo>
                    <a:pt x="546" y="1884"/>
                  </a:lnTo>
                  <a:lnTo>
                    <a:pt x="546" y="1890"/>
                  </a:lnTo>
                  <a:lnTo>
                    <a:pt x="540" y="1890"/>
                  </a:lnTo>
                  <a:lnTo>
                    <a:pt x="546" y="1896"/>
                  </a:lnTo>
                  <a:lnTo>
                    <a:pt x="540" y="1896"/>
                  </a:lnTo>
                  <a:lnTo>
                    <a:pt x="546" y="1896"/>
                  </a:lnTo>
                  <a:close/>
                  <a:moveTo>
                    <a:pt x="78" y="264"/>
                  </a:moveTo>
                  <a:lnTo>
                    <a:pt x="84" y="264"/>
                  </a:lnTo>
                  <a:lnTo>
                    <a:pt x="78" y="258"/>
                  </a:lnTo>
                  <a:lnTo>
                    <a:pt x="84" y="258"/>
                  </a:lnTo>
                  <a:lnTo>
                    <a:pt x="84" y="252"/>
                  </a:lnTo>
                  <a:lnTo>
                    <a:pt x="78" y="246"/>
                  </a:lnTo>
                  <a:lnTo>
                    <a:pt x="78" y="252"/>
                  </a:lnTo>
                  <a:lnTo>
                    <a:pt x="78" y="258"/>
                  </a:lnTo>
                  <a:lnTo>
                    <a:pt x="78" y="264"/>
                  </a:lnTo>
                  <a:close/>
                  <a:moveTo>
                    <a:pt x="660" y="1566"/>
                  </a:moveTo>
                  <a:lnTo>
                    <a:pt x="660" y="1572"/>
                  </a:lnTo>
                  <a:lnTo>
                    <a:pt x="666" y="1572"/>
                  </a:lnTo>
                  <a:lnTo>
                    <a:pt x="666" y="1578"/>
                  </a:lnTo>
                  <a:lnTo>
                    <a:pt x="666" y="1584"/>
                  </a:lnTo>
                  <a:lnTo>
                    <a:pt x="666" y="1578"/>
                  </a:lnTo>
                  <a:lnTo>
                    <a:pt x="666" y="1572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66" y="1566"/>
                  </a:lnTo>
                  <a:lnTo>
                    <a:pt x="660" y="1566"/>
                  </a:lnTo>
                  <a:close/>
                  <a:moveTo>
                    <a:pt x="120" y="312"/>
                  </a:moveTo>
                  <a:lnTo>
                    <a:pt x="126" y="312"/>
                  </a:lnTo>
                  <a:lnTo>
                    <a:pt x="132" y="312"/>
                  </a:lnTo>
                  <a:lnTo>
                    <a:pt x="132" y="306"/>
                  </a:lnTo>
                  <a:lnTo>
                    <a:pt x="132" y="300"/>
                  </a:lnTo>
                  <a:lnTo>
                    <a:pt x="126" y="300"/>
                  </a:lnTo>
                  <a:lnTo>
                    <a:pt x="120" y="300"/>
                  </a:lnTo>
                  <a:lnTo>
                    <a:pt x="120" y="306"/>
                  </a:lnTo>
                  <a:lnTo>
                    <a:pt x="120" y="312"/>
                  </a:lnTo>
                  <a:close/>
                  <a:moveTo>
                    <a:pt x="90" y="192"/>
                  </a:moveTo>
                  <a:lnTo>
                    <a:pt x="90" y="198"/>
                  </a:lnTo>
                  <a:lnTo>
                    <a:pt x="90" y="204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102" y="192"/>
                  </a:lnTo>
                  <a:lnTo>
                    <a:pt x="96" y="186"/>
                  </a:lnTo>
                  <a:lnTo>
                    <a:pt x="90" y="186"/>
                  </a:lnTo>
                  <a:lnTo>
                    <a:pt x="90" y="192"/>
                  </a:lnTo>
                  <a:close/>
                  <a:moveTo>
                    <a:pt x="180" y="474"/>
                  </a:moveTo>
                  <a:lnTo>
                    <a:pt x="186" y="474"/>
                  </a:lnTo>
                  <a:lnTo>
                    <a:pt x="186" y="480"/>
                  </a:lnTo>
                  <a:lnTo>
                    <a:pt x="192" y="480"/>
                  </a:lnTo>
                  <a:lnTo>
                    <a:pt x="192" y="486"/>
                  </a:lnTo>
                  <a:lnTo>
                    <a:pt x="192" y="480"/>
                  </a:lnTo>
                  <a:lnTo>
                    <a:pt x="198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68"/>
                  </a:lnTo>
                  <a:lnTo>
                    <a:pt x="180" y="462"/>
                  </a:lnTo>
                  <a:lnTo>
                    <a:pt x="180" y="468"/>
                  </a:lnTo>
                  <a:lnTo>
                    <a:pt x="174" y="468"/>
                  </a:lnTo>
                  <a:lnTo>
                    <a:pt x="180" y="474"/>
                  </a:lnTo>
                  <a:close/>
                  <a:moveTo>
                    <a:pt x="0" y="6"/>
                  </a:moveTo>
                  <a:lnTo>
                    <a:pt x="6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24" y="30"/>
                  </a:lnTo>
                  <a:lnTo>
                    <a:pt x="30" y="36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6" y="48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90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54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96" y="48"/>
                  </a:lnTo>
                  <a:lnTo>
                    <a:pt x="102" y="48"/>
                  </a:lnTo>
                  <a:lnTo>
                    <a:pt x="108" y="48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26" y="54"/>
                  </a:lnTo>
                  <a:lnTo>
                    <a:pt x="132" y="54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44" y="54"/>
                  </a:lnTo>
                  <a:lnTo>
                    <a:pt x="144" y="48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44" y="48"/>
                  </a:lnTo>
                  <a:lnTo>
                    <a:pt x="150" y="42"/>
                  </a:lnTo>
                  <a:lnTo>
                    <a:pt x="150" y="48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2" y="24"/>
                  </a:lnTo>
                  <a:lnTo>
                    <a:pt x="162" y="18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60" y="12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1" name="Freeform 17"/>
            <p:cNvSpPr>
              <a:spLocks noChangeAspect="1" noEditPoints="1"/>
            </p:cNvSpPr>
            <p:nvPr/>
          </p:nvSpPr>
          <p:spPr bwMode="auto">
            <a:xfrm>
              <a:off x="3724871" y="4909830"/>
              <a:ext cx="175416" cy="114307"/>
            </a:xfrm>
            <a:custGeom>
              <a:avLst/>
              <a:gdLst>
                <a:gd name="T0" fmla="*/ 2147483647 w 138"/>
                <a:gd name="T1" fmla="*/ 2147483647 h 90"/>
                <a:gd name="T2" fmla="*/ 2147483647 w 138"/>
                <a:gd name="T3" fmla="*/ 2147483647 h 90"/>
                <a:gd name="T4" fmla="*/ 2147483647 w 138"/>
                <a:gd name="T5" fmla="*/ 2147483647 h 90"/>
                <a:gd name="T6" fmla="*/ 2147483647 w 138"/>
                <a:gd name="T7" fmla="*/ 2147483647 h 90"/>
                <a:gd name="T8" fmla="*/ 0 w 138"/>
                <a:gd name="T9" fmla="*/ 2147483647 h 90"/>
                <a:gd name="T10" fmla="*/ 2147483647 w 138"/>
                <a:gd name="T11" fmla="*/ 2147483647 h 90"/>
                <a:gd name="T12" fmla="*/ 2147483647 w 138"/>
                <a:gd name="T13" fmla="*/ 2147483647 h 90"/>
                <a:gd name="T14" fmla="*/ 2147483647 w 138"/>
                <a:gd name="T15" fmla="*/ 2147483647 h 90"/>
                <a:gd name="T16" fmla="*/ 2147483647 w 138"/>
                <a:gd name="T17" fmla="*/ 2147483647 h 90"/>
                <a:gd name="T18" fmla="*/ 2147483647 w 138"/>
                <a:gd name="T19" fmla="*/ 2147483647 h 90"/>
                <a:gd name="T20" fmla="*/ 2147483647 w 138"/>
                <a:gd name="T21" fmla="*/ 2147483647 h 90"/>
                <a:gd name="T22" fmla="*/ 2147483647 w 138"/>
                <a:gd name="T23" fmla="*/ 2147483647 h 90"/>
                <a:gd name="T24" fmla="*/ 2147483647 w 138"/>
                <a:gd name="T25" fmla="*/ 2147483647 h 90"/>
                <a:gd name="T26" fmla="*/ 2147483647 w 138"/>
                <a:gd name="T27" fmla="*/ 2147483647 h 90"/>
                <a:gd name="T28" fmla="*/ 2147483647 w 138"/>
                <a:gd name="T29" fmla="*/ 2147483647 h 90"/>
                <a:gd name="T30" fmla="*/ 2147483647 w 138"/>
                <a:gd name="T31" fmla="*/ 2147483647 h 90"/>
                <a:gd name="T32" fmla="*/ 2147483647 w 138"/>
                <a:gd name="T33" fmla="*/ 2147483647 h 90"/>
                <a:gd name="T34" fmla="*/ 2147483647 w 138"/>
                <a:gd name="T35" fmla="*/ 2147483647 h 90"/>
                <a:gd name="T36" fmla="*/ 2147483647 w 138"/>
                <a:gd name="T37" fmla="*/ 2147483647 h 90"/>
                <a:gd name="T38" fmla="*/ 2147483647 w 138"/>
                <a:gd name="T39" fmla="*/ 2147483647 h 90"/>
                <a:gd name="T40" fmla="*/ 2147483647 w 138"/>
                <a:gd name="T41" fmla="*/ 2147483647 h 90"/>
                <a:gd name="T42" fmla="*/ 2147483647 w 138"/>
                <a:gd name="T43" fmla="*/ 2147483647 h 90"/>
                <a:gd name="T44" fmla="*/ 2147483647 w 138"/>
                <a:gd name="T45" fmla="*/ 2147483647 h 90"/>
                <a:gd name="T46" fmla="*/ 2147483647 w 138"/>
                <a:gd name="T47" fmla="*/ 2147483647 h 90"/>
                <a:gd name="T48" fmla="*/ 2147483647 w 138"/>
                <a:gd name="T49" fmla="*/ 2147483647 h 90"/>
                <a:gd name="T50" fmla="*/ 2147483647 w 138"/>
                <a:gd name="T51" fmla="*/ 2147483647 h 90"/>
                <a:gd name="T52" fmla="*/ 2147483647 w 138"/>
                <a:gd name="T53" fmla="*/ 2147483647 h 90"/>
                <a:gd name="T54" fmla="*/ 2147483647 w 138"/>
                <a:gd name="T55" fmla="*/ 2147483647 h 90"/>
                <a:gd name="T56" fmla="*/ 2147483647 w 138"/>
                <a:gd name="T57" fmla="*/ 2147483647 h 90"/>
                <a:gd name="T58" fmla="*/ 2147483647 w 138"/>
                <a:gd name="T59" fmla="*/ 2147483647 h 90"/>
                <a:gd name="T60" fmla="*/ 2147483647 w 138"/>
                <a:gd name="T61" fmla="*/ 2147483647 h 90"/>
                <a:gd name="T62" fmla="*/ 2147483647 w 138"/>
                <a:gd name="T63" fmla="*/ 2147483647 h 90"/>
                <a:gd name="T64" fmla="*/ 2147483647 w 138"/>
                <a:gd name="T65" fmla="*/ 2147483647 h 90"/>
                <a:gd name="T66" fmla="*/ 2147483647 w 138"/>
                <a:gd name="T67" fmla="*/ 2147483647 h 90"/>
                <a:gd name="T68" fmla="*/ 2147483647 w 138"/>
                <a:gd name="T69" fmla="*/ 2147483647 h 90"/>
                <a:gd name="T70" fmla="*/ 2147483647 w 138"/>
                <a:gd name="T71" fmla="*/ 2147483647 h 90"/>
                <a:gd name="T72" fmla="*/ 2147483647 w 138"/>
                <a:gd name="T73" fmla="*/ 2147483647 h 90"/>
                <a:gd name="T74" fmla="*/ 2147483647 w 138"/>
                <a:gd name="T75" fmla="*/ 2147483647 h 90"/>
                <a:gd name="T76" fmla="*/ 2147483647 w 138"/>
                <a:gd name="T77" fmla="*/ 2147483647 h 90"/>
                <a:gd name="T78" fmla="*/ 2147483647 w 138"/>
                <a:gd name="T79" fmla="*/ 2147483647 h 90"/>
                <a:gd name="T80" fmla="*/ 2147483647 w 138"/>
                <a:gd name="T81" fmla="*/ 2147483647 h 90"/>
                <a:gd name="T82" fmla="*/ 2147483647 w 138"/>
                <a:gd name="T83" fmla="*/ 2147483647 h 90"/>
                <a:gd name="T84" fmla="*/ 2147483647 w 138"/>
                <a:gd name="T85" fmla="*/ 2147483647 h 90"/>
                <a:gd name="T86" fmla="*/ 2147483647 w 138"/>
                <a:gd name="T87" fmla="*/ 2147483647 h 90"/>
                <a:gd name="T88" fmla="*/ 2147483647 w 138"/>
                <a:gd name="T89" fmla="*/ 2147483647 h 90"/>
                <a:gd name="T90" fmla="*/ 2147483647 w 138"/>
                <a:gd name="T91" fmla="*/ 2147483647 h 90"/>
                <a:gd name="T92" fmla="*/ 2147483647 w 138"/>
                <a:gd name="T93" fmla="*/ 2147483647 h 90"/>
                <a:gd name="T94" fmla="*/ 2147483647 w 138"/>
                <a:gd name="T95" fmla="*/ 2147483647 h 90"/>
                <a:gd name="T96" fmla="*/ 2147483647 w 138"/>
                <a:gd name="T97" fmla="*/ 2147483647 h 90"/>
                <a:gd name="T98" fmla="*/ 2147483647 w 138"/>
                <a:gd name="T99" fmla="*/ 2147483647 h 90"/>
                <a:gd name="T100" fmla="*/ 2147483647 w 138"/>
                <a:gd name="T101" fmla="*/ 2147483647 h 90"/>
                <a:gd name="T102" fmla="*/ 2147483647 w 138"/>
                <a:gd name="T103" fmla="*/ 2147483647 h 90"/>
                <a:gd name="T104" fmla="*/ 2147483647 w 138"/>
                <a:gd name="T105" fmla="*/ 2147483647 h 90"/>
                <a:gd name="T106" fmla="*/ 2147483647 w 138"/>
                <a:gd name="T107" fmla="*/ 2147483647 h 90"/>
                <a:gd name="T108" fmla="*/ 2147483647 w 138"/>
                <a:gd name="T109" fmla="*/ 2147483647 h 90"/>
                <a:gd name="T110" fmla="*/ 2147483647 w 138"/>
                <a:gd name="T111" fmla="*/ 0 h 90"/>
                <a:gd name="T112" fmla="*/ 2147483647 w 138"/>
                <a:gd name="T113" fmla="*/ 2147483647 h 90"/>
                <a:gd name="T114" fmla="*/ 2147483647 w 138"/>
                <a:gd name="T115" fmla="*/ 2147483647 h 90"/>
                <a:gd name="T116" fmla="*/ 2147483647 w 138"/>
                <a:gd name="T117" fmla="*/ 2147483647 h 90"/>
                <a:gd name="T118" fmla="*/ 2147483647 w 138"/>
                <a:gd name="T119" fmla="*/ 2147483647 h 90"/>
                <a:gd name="T120" fmla="*/ 2147483647 w 138"/>
                <a:gd name="T121" fmla="*/ 2147483647 h 90"/>
                <a:gd name="T122" fmla="*/ 0 w 138"/>
                <a:gd name="T123" fmla="*/ 2147483647 h 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38"/>
                <a:gd name="T187" fmla="*/ 0 h 90"/>
                <a:gd name="T188" fmla="*/ 138 w 138"/>
                <a:gd name="T189" fmla="*/ 90 h 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38" h="90">
                  <a:moveTo>
                    <a:pt x="132" y="36"/>
                  </a:moveTo>
                  <a:lnTo>
                    <a:pt x="132" y="30"/>
                  </a:lnTo>
                  <a:lnTo>
                    <a:pt x="132" y="36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26" y="36"/>
                  </a:lnTo>
                  <a:lnTo>
                    <a:pt x="132" y="36"/>
                  </a:lnTo>
                  <a:close/>
                  <a:moveTo>
                    <a:pt x="0" y="48"/>
                  </a:moveTo>
                  <a:lnTo>
                    <a:pt x="6" y="4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36" y="90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60"/>
                  </a:lnTo>
                  <a:lnTo>
                    <a:pt x="96" y="66"/>
                  </a:lnTo>
                  <a:lnTo>
                    <a:pt x="102" y="66"/>
                  </a:lnTo>
                  <a:lnTo>
                    <a:pt x="108" y="66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78"/>
                  </a:lnTo>
                  <a:lnTo>
                    <a:pt x="120" y="78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20" y="84"/>
                  </a:lnTo>
                  <a:lnTo>
                    <a:pt x="120" y="90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26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8" y="78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26" y="7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60"/>
                  </a:lnTo>
                  <a:lnTo>
                    <a:pt x="126" y="60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26" y="42"/>
                  </a:lnTo>
                  <a:lnTo>
                    <a:pt x="120" y="42"/>
                  </a:lnTo>
                  <a:lnTo>
                    <a:pt x="120" y="36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30"/>
                  </a:lnTo>
                  <a:lnTo>
                    <a:pt x="132" y="30"/>
                  </a:lnTo>
                  <a:lnTo>
                    <a:pt x="138" y="30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84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90" y="24"/>
                  </a:lnTo>
                  <a:lnTo>
                    <a:pt x="90" y="30"/>
                  </a:lnTo>
                  <a:lnTo>
                    <a:pt x="90" y="24"/>
                  </a:lnTo>
                  <a:lnTo>
                    <a:pt x="84" y="24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2" name="Freeform 18"/>
            <p:cNvSpPr>
              <a:spLocks noChangeAspect="1" noEditPoints="1"/>
            </p:cNvSpPr>
            <p:nvPr/>
          </p:nvSpPr>
          <p:spPr bwMode="auto">
            <a:xfrm>
              <a:off x="3427351" y="4285902"/>
              <a:ext cx="441980" cy="395314"/>
            </a:xfrm>
            <a:custGeom>
              <a:avLst/>
              <a:gdLst>
                <a:gd name="T0" fmla="*/ 2147483647 w 348"/>
                <a:gd name="T1" fmla="*/ 2147483647 h 312"/>
                <a:gd name="T2" fmla="*/ 2147483647 w 348"/>
                <a:gd name="T3" fmla="*/ 2147483647 h 312"/>
                <a:gd name="T4" fmla="*/ 2147483647 w 348"/>
                <a:gd name="T5" fmla="*/ 2147483647 h 312"/>
                <a:gd name="T6" fmla="*/ 2147483647 w 348"/>
                <a:gd name="T7" fmla="*/ 2147483647 h 312"/>
                <a:gd name="T8" fmla="*/ 2147483647 w 348"/>
                <a:gd name="T9" fmla="*/ 2147483647 h 312"/>
                <a:gd name="T10" fmla="*/ 2147483647 w 348"/>
                <a:gd name="T11" fmla="*/ 2147483647 h 312"/>
                <a:gd name="T12" fmla="*/ 2147483647 w 348"/>
                <a:gd name="T13" fmla="*/ 2147483647 h 312"/>
                <a:gd name="T14" fmla="*/ 2147483647 w 348"/>
                <a:gd name="T15" fmla="*/ 2147483647 h 312"/>
                <a:gd name="T16" fmla="*/ 2147483647 w 348"/>
                <a:gd name="T17" fmla="*/ 2147483647 h 312"/>
                <a:gd name="T18" fmla="*/ 2147483647 w 348"/>
                <a:gd name="T19" fmla="*/ 2147483647 h 312"/>
                <a:gd name="T20" fmla="*/ 2147483647 w 348"/>
                <a:gd name="T21" fmla="*/ 2147483647 h 312"/>
                <a:gd name="T22" fmla="*/ 2147483647 w 348"/>
                <a:gd name="T23" fmla="*/ 2147483647 h 312"/>
                <a:gd name="T24" fmla="*/ 2147483647 w 348"/>
                <a:gd name="T25" fmla="*/ 2147483647 h 312"/>
                <a:gd name="T26" fmla="*/ 2147483647 w 348"/>
                <a:gd name="T27" fmla="*/ 2147483647 h 312"/>
                <a:gd name="T28" fmla="*/ 2147483647 w 348"/>
                <a:gd name="T29" fmla="*/ 2147483647 h 312"/>
                <a:gd name="T30" fmla="*/ 2147483647 w 348"/>
                <a:gd name="T31" fmla="*/ 2147483647 h 312"/>
                <a:gd name="T32" fmla="*/ 2147483647 w 348"/>
                <a:gd name="T33" fmla="*/ 2147483647 h 312"/>
                <a:gd name="T34" fmla="*/ 2147483647 w 348"/>
                <a:gd name="T35" fmla="*/ 2147483647 h 312"/>
                <a:gd name="T36" fmla="*/ 2147483647 w 348"/>
                <a:gd name="T37" fmla="*/ 2147483647 h 312"/>
                <a:gd name="T38" fmla="*/ 2147483647 w 348"/>
                <a:gd name="T39" fmla="*/ 2147483647 h 312"/>
                <a:gd name="T40" fmla="*/ 2147483647 w 348"/>
                <a:gd name="T41" fmla="*/ 2147483647 h 312"/>
                <a:gd name="T42" fmla="*/ 2147483647 w 348"/>
                <a:gd name="T43" fmla="*/ 2147483647 h 312"/>
                <a:gd name="T44" fmla="*/ 2147483647 w 348"/>
                <a:gd name="T45" fmla="*/ 2147483647 h 312"/>
                <a:gd name="T46" fmla="*/ 2147483647 w 348"/>
                <a:gd name="T47" fmla="*/ 2147483647 h 312"/>
                <a:gd name="T48" fmla="*/ 2147483647 w 348"/>
                <a:gd name="T49" fmla="*/ 2147483647 h 312"/>
                <a:gd name="T50" fmla="*/ 2147483647 w 348"/>
                <a:gd name="T51" fmla="*/ 2147483647 h 312"/>
                <a:gd name="T52" fmla="*/ 2147483647 w 348"/>
                <a:gd name="T53" fmla="*/ 2147483647 h 312"/>
                <a:gd name="T54" fmla="*/ 2147483647 w 348"/>
                <a:gd name="T55" fmla="*/ 2147483647 h 312"/>
                <a:gd name="T56" fmla="*/ 2147483647 w 348"/>
                <a:gd name="T57" fmla="*/ 2147483647 h 312"/>
                <a:gd name="T58" fmla="*/ 2147483647 w 348"/>
                <a:gd name="T59" fmla="*/ 2147483647 h 312"/>
                <a:gd name="T60" fmla="*/ 2147483647 w 348"/>
                <a:gd name="T61" fmla="*/ 2147483647 h 312"/>
                <a:gd name="T62" fmla="*/ 2147483647 w 348"/>
                <a:gd name="T63" fmla="*/ 2147483647 h 312"/>
                <a:gd name="T64" fmla="*/ 2147483647 w 348"/>
                <a:gd name="T65" fmla="*/ 2147483647 h 312"/>
                <a:gd name="T66" fmla="*/ 2147483647 w 348"/>
                <a:gd name="T67" fmla="*/ 2147483647 h 312"/>
                <a:gd name="T68" fmla="*/ 2147483647 w 348"/>
                <a:gd name="T69" fmla="*/ 2147483647 h 312"/>
                <a:gd name="T70" fmla="*/ 2147483647 w 348"/>
                <a:gd name="T71" fmla="*/ 2147483647 h 312"/>
                <a:gd name="T72" fmla="*/ 2147483647 w 348"/>
                <a:gd name="T73" fmla="*/ 2147483647 h 312"/>
                <a:gd name="T74" fmla="*/ 2147483647 w 348"/>
                <a:gd name="T75" fmla="*/ 2147483647 h 312"/>
                <a:gd name="T76" fmla="*/ 2147483647 w 348"/>
                <a:gd name="T77" fmla="*/ 2147483647 h 312"/>
                <a:gd name="T78" fmla="*/ 2147483647 w 348"/>
                <a:gd name="T79" fmla="*/ 2147483647 h 312"/>
                <a:gd name="T80" fmla="*/ 2147483647 w 348"/>
                <a:gd name="T81" fmla="*/ 2147483647 h 312"/>
                <a:gd name="T82" fmla="*/ 2147483647 w 348"/>
                <a:gd name="T83" fmla="*/ 2147483647 h 312"/>
                <a:gd name="T84" fmla="*/ 2147483647 w 348"/>
                <a:gd name="T85" fmla="*/ 2147483647 h 312"/>
                <a:gd name="T86" fmla="*/ 2147483647 w 348"/>
                <a:gd name="T87" fmla="*/ 2147483647 h 312"/>
                <a:gd name="T88" fmla="*/ 2147483647 w 348"/>
                <a:gd name="T89" fmla="*/ 2147483647 h 312"/>
                <a:gd name="T90" fmla="*/ 2147483647 w 348"/>
                <a:gd name="T91" fmla="*/ 2147483647 h 312"/>
                <a:gd name="T92" fmla="*/ 2147483647 w 348"/>
                <a:gd name="T93" fmla="*/ 2147483647 h 312"/>
                <a:gd name="T94" fmla="*/ 2147483647 w 348"/>
                <a:gd name="T95" fmla="*/ 2147483647 h 312"/>
                <a:gd name="T96" fmla="*/ 2147483647 w 348"/>
                <a:gd name="T97" fmla="*/ 2147483647 h 312"/>
                <a:gd name="T98" fmla="*/ 2147483647 w 348"/>
                <a:gd name="T99" fmla="*/ 2147483647 h 312"/>
                <a:gd name="T100" fmla="*/ 2147483647 w 348"/>
                <a:gd name="T101" fmla="*/ 2147483647 h 312"/>
                <a:gd name="T102" fmla="*/ 2147483647 w 348"/>
                <a:gd name="T103" fmla="*/ 2147483647 h 312"/>
                <a:gd name="T104" fmla="*/ 2147483647 w 348"/>
                <a:gd name="T105" fmla="*/ 2147483647 h 312"/>
                <a:gd name="T106" fmla="*/ 2147483647 w 348"/>
                <a:gd name="T107" fmla="*/ 2147483647 h 312"/>
                <a:gd name="T108" fmla="*/ 2147483647 w 348"/>
                <a:gd name="T109" fmla="*/ 2147483647 h 312"/>
                <a:gd name="T110" fmla="*/ 2147483647 w 348"/>
                <a:gd name="T111" fmla="*/ 2147483647 h 312"/>
                <a:gd name="T112" fmla="*/ 2147483647 w 348"/>
                <a:gd name="T113" fmla="*/ 2147483647 h 312"/>
                <a:gd name="T114" fmla="*/ 2147483647 w 348"/>
                <a:gd name="T115" fmla="*/ 2147483647 h 312"/>
                <a:gd name="T116" fmla="*/ 2147483647 w 348"/>
                <a:gd name="T117" fmla="*/ 2147483647 h 312"/>
                <a:gd name="T118" fmla="*/ 2147483647 w 348"/>
                <a:gd name="T119" fmla="*/ 2147483647 h 312"/>
                <a:gd name="T120" fmla="*/ 2147483647 w 348"/>
                <a:gd name="T121" fmla="*/ 2147483647 h 312"/>
                <a:gd name="T122" fmla="*/ 2147483647 w 348"/>
                <a:gd name="T123" fmla="*/ 2147483647 h 312"/>
                <a:gd name="T124" fmla="*/ 2147483647 w 348"/>
                <a:gd name="T125" fmla="*/ 2147483647 h 31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48"/>
                <a:gd name="T190" fmla="*/ 0 h 312"/>
                <a:gd name="T191" fmla="*/ 348 w 348"/>
                <a:gd name="T192" fmla="*/ 312 h 31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48" h="312">
                  <a:moveTo>
                    <a:pt x="234" y="24"/>
                  </a:moveTo>
                  <a:lnTo>
                    <a:pt x="234" y="18"/>
                  </a:lnTo>
                  <a:lnTo>
                    <a:pt x="240" y="18"/>
                  </a:lnTo>
                  <a:lnTo>
                    <a:pt x="240" y="12"/>
                  </a:lnTo>
                  <a:lnTo>
                    <a:pt x="234" y="12"/>
                  </a:lnTo>
                  <a:lnTo>
                    <a:pt x="234" y="18"/>
                  </a:lnTo>
                  <a:lnTo>
                    <a:pt x="234" y="24"/>
                  </a:lnTo>
                  <a:close/>
                  <a:moveTo>
                    <a:pt x="78" y="96"/>
                  </a:moveTo>
                  <a:lnTo>
                    <a:pt x="78" y="102"/>
                  </a:lnTo>
                  <a:lnTo>
                    <a:pt x="84" y="102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96" y="102"/>
                  </a:lnTo>
                  <a:lnTo>
                    <a:pt x="96" y="108"/>
                  </a:lnTo>
                  <a:lnTo>
                    <a:pt x="90" y="108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84" y="120"/>
                  </a:lnTo>
                  <a:lnTo>
                    <a:pt x="84" y="126"/>
                  </a:lnTo>
                  <a:lnTo>
                    <a:pt x="78" y="126"/>
                  </a:lnTo>
                  <a:lnTo>
                    <a:pt x="84" y="126"/>
                  </a:lnTo>
                  <a:lnTo>
                    <a:pt x="84" y="132"/>
                  </a:lnTo>
                  <a:lnTo>
                    <a:pt x="90" y="132"/>
                  </a:lnTo>
                  <a:lnTo>
                    <a:pt x="90" y="126"/>
                  </a:lnTo>
                  <a:lnTo>
                    <a:pt x="96" y="126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14"/>
                  </a:lnTo>
                  <a:lnTo>
                    <a:pt x="120" y="114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2" y="90"/>
                  </a:lnTo>
                  <a:lnTo>
                    <a:pt x="132" y="84"/>
                  </a:lnTo>
                  <a:lnTo>
                    <a:pt x="126" y="84"/>
                  </a:lnTo>
                  <a:lnTo>
                    <a:pt x="120" y="84"/>
                  </a:lnTo>
                  <a:lnTo>
                    <a:pt x="114" y="84"/>
                  </a:lnTo>
                  <a:lnTo>
                    <a:pt x="108" y="78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14" y="42"/>
                  </a:lnTo>
                  <a:lnTo>
                    <a:pt x="108" y="42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5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90" y="66"/>
                  </a:lnTo>
                  <a:lnTo>
                    <a:pt x="90" y="72"/>
                  </a:lnTo>
                  <a:lnTo>
                    <a:pt x="84" y="72"/>
                  </a:lnTo>
                  <a:lnTo>
                    <a:pt x="84" y="78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78" y="90"/>
                  </a:lnTo>
                  <a:lnTo>
                    <a:pt x="78" y="96"/>
                  </a:lnTo>
                  <a:close/>
                  <a:moveTo>
                    <a:pt x="0" y="270"/>
                  </a:moveTo>
                  <a:lnTo>
                    <a:pt x="6" y="270"/>
                  </a:lnTo>
                  <a:lnTo>
                    <a:pt x="6" y="276"/>
                  </a:lnTo>
                  <a:lnTo>
                    <a:pt x="12" y="276"/>
                  </a:lnTo>
                  <a:lnTo>
                    <a:pt x="18" y="282"/>
                  </a:lnTo>
                  <a:lnTo>
                    <a:pt x="12" y="282"/>
                  </a:lnTo>
                  <a:lnTo>
                    <a:pt x="12" y="288"/>
                  </a:lnTo>
                  <a:lnTo>
                    <a:pt x="18" y="288"/>
                  </a:lnTo>
                  <a:lnTo>
                    <a:pt x="18" y="294"/>
                  </a:lnTo>
                  <a:lnTo>
                    <a:pt x="18" y="300"/>
                  </a:lnTo>
                  <a:lnTo>
                    <a:pt x="24" y="300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30" y="300"/>
                  </a:lnTo>
                  <a:lnTo>
                    <a:pt x="36" y="300"/>
                  </a:lnTo>
                  <a:lnTo>
                    <a:pt x="36" y="294"/>
                  </a:lnTo>
                  <a:lnTo>
                    <a:pt x="42" y="288"/>
                  </a:lnTo>
                  <a:lnTo>
                    <a:pt x="42" y="282"/>
                  </a:lnTo>
                  <a:lnTo>
                    <a:pt x="48" y="282"/>
                  </a:lnTo>
                  <a:lnTo>
                    <a:pt x="54" y="282"/>
                  </a:lnTo>
                  <a:lnTo>
                    <a:pt x="60" y="282"/>
                  </a:lnTo>
                  <a:lnTo>
                    <a:pt x="66" y="282"/>
                  </a:lnTo>
                  <a:lnTo>
                    <a:pt x="66" y="288"/>
                  </a:lnTo>
                  <a:lnTo>
                    <a:pt x="66" y="294"/>
                  </a:lnTo>
                  <a:lnTo>
                    <a:pt x="60" y="294"/>
                  </a:lnTo>
                  <a:lnTo>
                    <a:pt x="66" y="30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84" y="294"/>
                  </a:lnTo>
                  <a:lnTo>
                    <a:pt x="90" y="294"/>
                  </a:lnTo>
                  <a:lnTo>
                    <a:pt x="96" y="294"/>
                  </a:lnTo>
                  <a:lnTo>
                    <a:pt x="96" y="288"/>
                  </a:lnTo>
                  <a:lnTo>
                    <a:pt x="102" y="288"/>
                  </a:lnTo>
                  <a:lnTo>
                    <a:pt x="102" y="294"/>
                  </a:lnTo>
                  <a:lnTo>
                    <a:pt x="108" y="294"/>
                  </a:lnTo>
                  <a:lnTo>
                    <a:pt x="108" y="288"/>
                  </a:lnTo>
                  <a:lnTo>
                    <a:pt x="108" y="282"/>
                  </a:lnTo>
                  <a:lnTo>
                    <a:pt x="114" y="282"/>
                  </a:lnTo>
                  <a:lnTo>
                    <a:pt x="114" y="276"/>
                  </a:lnTo>
                  <a:lnTo>
                    <a:pt x="120" y="276"/>
                  </a:lnTo>
                  <a:lnTo>
                    <a:pt x="120" y="270"/>
                  </a:lnTo>
                  <a:lnTo>
                    <a:pt x="126" y="270"/>
                  </a:lnTo>
                  <a:lnTo>
                    <a:pt x="126" y="264"/>
                  </a:lnTo>
                  <a:lnTo>
                    <a:pt x="132" y="264"/>
                  </a:lnTo>
                  <a:lnTo>
                    <a:pt x="138" y="264"/>
                  </a:lnTo>
                  <a:lnTo>
                    <a:pt x="144" y="264"/>
                  </a:lnTo>
                  <a:lnTo>
                    <a:pt x="150" y="264"/>
                  </a:lnTo>
                  <a:lnTo>
                    <a:pt x="156" y="270"/>
                  </a:lnTo>
                  <a:lnTo>
                    <a:pt x="156" y="276"/>
                  </a:lnTo>
                  <a:lnTo>
                    <a:pt x="156" y="282"/>
                  </a:lnTo>
                  <a:lnTo>
                    <a:pt x="162" y="282"/>
                  </a:lnTo>
                  <a:lnTo>
                    <a:pt x="162" y="288"/>
                  </a:lnTo>
                  <a:lnTo>
                    <a:pt x="168" y="288"/>
                  </a:lnTo>
                  <a:lnTo>
                    <a:pt x="174" y="294"/>
                  </a:lnTo>
                  <a:lnTo>
                    <a:pt x="174" y="300"/>
                  </a:lnTo>
                  <a:lnTo>
                    <a:pt x="174" y="306"/>
                  </a:lnTo>
                  <a:lnTo>
                    <a:pt x="174" y="312"/>
                  </a:lnTo>
                  <a:lnTo>
                    <a:pt x="180" y="312"/>
                  </a:lnTo>
                  <a:lnTo>
                    <a:pt x="180" y="306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92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00"/>
                  </a:lnTo>
                  <a:lnTo>
                    <a:pt x="204" y="300"/>
                  </a:lnTo>
                  <a:lnTo>
                    <a:pt x="204" y="294"/>
                  </a:lnTo>
                  <a:lnTo>
                    <a:pt x="210" y="294"/>
                  </a:lnTo>
                  <a:lnTo>
                    <a:pt x="216" y="294"/>
                  </a:lnTo>
                  <a:lnTo>
                    <a:pt x="210" y="294"/>
                  </a:lnTo>
                  <a:lnTo>
                    <a:pt x="210" y="288"/>
                  </a:lnTo>
                  <a:lnTo>
                    <a:pt x="210" y="282"/>
                  </a:lnTo>
                  <a:lnTo>
                    <a:pt x="216" y="282"/>
                  </a:lnTo>
                  <a:lnTo>
                    <a:pt x="216" y="288"/>
                  </a:lnTo>
                  <a:lnTo>
                    <a:pt x="222" y="282"/>
                  </a:lnTo>
                  <a:lnTo>
                    <a:pt x="216" y="276"/>
                  </a:lnTo>
                  <a:lnTo>
                    <a:pt x="216" y="270"/>
                  </a:lnTo>
                  <a:lnTo>
                    <a:pt x="222" y="270"/>
                  </a:lnTo>
                  <a:lnTo>
                    <a:pt x="228" y="270"/>
                  </a:lnTo>
                  <a:lnTo>
                    <a:pt x="234" y="270"/>
                  </a:lnTo>
                  <a:lnTo>
                    <a:pt x="234" y="264"/>
                  </a:lnTo>
                  <a:lnTo>
                    <a:pt x="234" y="258"/>
                  </a:lnTo>
                  <a:lnTo>
                    <a:pt x="240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2" y="276"/>
                  </a:lnTo>
                  <a:lnTo>
                    <a:pt x="258" y="276"/>
                  </a:lnTo>
                  <a:lnTo>
                    <a:pt x="264" y="276"/>
                  </a:lnTo>
                  <a:lnTo>
                    <a:pt x="264" y="270"/>
                  </a:lnTo>
                  <a:lnTo>
                    <a:pt x="264" y="264"/>
                  </a:lnTo>
                  <a:lnTo>
                    <a:pt x="264" y="258"/>
                  </a:lnTo>
                  <a:lnTo>
                    <a:pt x="258" y="252"/>
                  </a:lnTo>
                  <a:lnTo>
                    <a:pt x="258" y="246"/>
                  </a:lnTo>
                  <a:lnTo>
                    <a:pt x="264" y="240"/>
                  </a:lnTo>
                  <a:lnTo>
                    <a:pt x="258" y="234"/>
                  </a:lnTo>
                  <a:lnTo>
                    <a:pt x="252" y="234"/>
                  </a:lnTo>
                  <a:lnTo>
                    <a:pt x="246" y="228"/>
                  </a:lnTo>
                  <a:lnTo>
                    <a:pt x="246" y="222"/>
                  </a:lnTo>
                  <a:lnTo>
                    <a:pt x="252" y="222"/>
                  </a:lnTo>
                  <a:lnTo>
                    <a:pt x="252" y="216"/>
                  </a:lnTo>
                  <a:lnTo>
                    <a:pt x="252" y="210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46" y="192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64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88" y="180"/>
                  </a:lnTo>
                  <a:lnTo>
                    <a:pt x="294" y="180"/>
                  </a:lnTo>
                  <a:lnTo>
                    <a:pt x="300" y="180"/>
                  </a:lnTo>
                  <a:lnTo>
                    <a:pt x="306" y="180"/>
                  </a:lnTo>
                  <a:lnTo>
                    <a:pt x="312" y="180"/>
                  </a:lnTo>
                  <a:lnTo>
                    <a:pt x="312" y="174"/>
                  </a:lnTo>
                  <a:lnTo>
                    <a:pt x="306" y="174"/>
                  </a:lnTo>
                  <a:lnTo>
                    <a:pt x="306" y="168"/>
                  </a:lnTo>
                  <a:lnTo>
                    <a:pt x="306" y="162"/>
                  </a:lnTo>
                  <a:lnTo>
                    <a:pt x="300" y="162"/>
                  </a:lnTo>
                  <a:lnTo>
                    <a:pt x="300" y="156"/>
                  </a:lnTo>
                  <a:lnTo>
                    <a:pt x="306" y="156"/>
                  </a:lnTo>
                  <a:lnTo>
                    <a:pt x="306" y="150"/>
                  </a:lnTo>
                  <a:lnTo>
                    <a:pt x="312" y="150"/>
                  </a:lnTo>
                  <a:lnTo>
                    <a:pt x="312" y="144"/>
                  </a:lnTo>
                  <a:lnTo>
                    <a:pt x="318" y="138"/>
                  </a:lnTo>
                  <a:lnTo>
                    <a:pt x="318" y="132"/>
                  </a:lnTo>
                  <a:lnTo>
                    <a:pt x="324" y="132"/>
                  </a:lnTo>
                  <a:lnTo>
                    <a:pt x="330" y="126"/>
                  </a:lnTo>
                  <a:lnTo>
                    <a:pt x="324" y="126"/>
                  </a:lnTo>
                  <a:lnTo>
                    <a:pt x="324" y="120"/>
                  </a:lnTo>
                  <a:lnTo>
                    <a:pt x="318" y="120"/>
                  </a:lnTo>
                  <a:lnTo>
                    <a:pt x="312" y="120"/>
                  </a:lnTo>
                  <a:lnTo>
                    <a:pt x="306" y="114"/>
                  </a:lnTo>
                  <a:lnTo>
                    <a:pt x="306" y="108"/>
                  </a:lnTo>
                  <a:lnTo>
                    <a:pt x="312" y="108"/>
                  </a:lnTo>
                  <a:lnTo>
                    <a:pt x="312" y="102"/>
                  </a:lnTo>
                  <a:lnTo>
                    <a:pt x="312" y="96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2" y="84"/>
                  </a:lnTo>
                  <a:lnTo>
                    <a:pt x="312" y="78"/>
                  </a:lnTo>
                  <a:lnTo>
                    <a:pt x="318" y="78"/>
                  </a:lnTo>
                  <a:lnTo>
                    <a:pt x="312" y="72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24" y="60"/>
                  </a:lnTo>
                  <a:lnTo>
                    <a:pt x="330" y="60"/>
                  </a:lnTo>
                  <a:lnTo>
                    <a:pt x="330" y="66"/>
                  </a:lnTo>
                  <a:lnTo>
                    <a:pt x="336" y="60"/>
                  </a:lnTo>
                  <a:lnTo>
                    <a:pt x="342" y="60"/>
                  </a:lnTo>
                  <a:lnTo>
                    <a:pt x="342" y="54"/>
                  </a:lnTo>
                  <a:lnTo>
                    <a:pt x="348" y="48"/>
                  </a:lnTo>
                  <a:lnTo>
                    <a:pt x="342" y="48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36"/>
                  </a:lnTo>
                  <a:lnTo>
                    <a:pt x="330" y="36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18" y="30"/>
                  </a:lnTo>
                  <a:lnTo>
                    <a:pt x="312" y="30"/>
                  </a:lnTo>
                  <a:lnTo>
                    <a:pt x="312" y="24"/>
                  </a:lnTo>
                  <a:lnTo>
                    <a:pt x="312" y="18"/>
                  </a:lnTo>
                  <a:lnTo>
                    <a:pt x="312" y="12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300" y="6"/>
                  </a:lnTo>
                  <a:lnTo>
                    <a:pt x="294" y="6"/>
                  </a:lnTo>
                  <a:lnTo>
                    <a:pt x="288" y="6"/>
                  </a:lnTo>
                  <a:lnTo>
                    <a:pt x="282" y="0"/>
                  </a:lnTo>
                  <a:lnTo>
                    <a:pt x="282" y="6"/>
                  </a:lnTo>
                  <a:lnTo>
                    <a:pt x="282" y="12"/>
                  </a:lnTo>
                  <a:lnTo>
                    <a:pt x="276" y="18"/>
                  </a:lnTo>
                  <a:lnTo>
                    <a:pt x="276" y="24"/>
                  </a:lnTo>
                  <a:lnTo>
                    <a:pt x="270" y="30"/>
                  </a:lnTo>
                  <a:lnTo>
                    <a:pt x="270" y="36"/>
                  </a:lnTo>
                  <a:lnTo>
                    <a:pt x="270" y="42"/>
                  </a:lnTo>
                  <a:lnTo>
                    <a:pt x="270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0" y="54"/>
                  </a:lnTo>
                  <a:lnTo>
                    <a:pt x="270" y="60"/>
                  </a:lnTo>
                  <a:lnTo>
                    <a:pt x="270" y="66"/>
                  </a:lnTo>
                  <a:lnTo>
                    <a:pt x="270" y="72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58" y="84"/>
                  </a:lnTo>
                  <a:lnTo>
                    <a:pt x="258" y="90"/>
                  </a:lnTo>
                  <a:lnTo>
                    <a:pt x="252" y="90"/>
                  </a:lnTo>
                  <a:lnTo>
                    <a:pt x="246" y="96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34" y="102"/>
                  </a:lnTo>
                  <a:lnTo>
                    <a:pt x="228" y="102"/>
                  </a:lnTo>
                  <a:lnTo>
                    <a:pt x="228" y="108"/>
                  </a:lnTo>
                  <a:lnTo>
                    <a:pt x="228" y="102"/>
                  </a:lnTo>
                  <a:lnTo>
                    <a:pt x="222" y="102"/>
                  </a:lnTo>
                  <a:lnTo>
                    <a:pt x="216" y="108"/>
                  </a:lnTo>
                  <a:lnTo>
                    <a:pt x="210" y="114"/>
                  </a:lnTo>
                  <a:lnTo>
                    <a:pt x="198" y="114"/>
                  </a:lnTo>
                  <a:lnTo>
                    <a:pt x="192" y="120"/>
                  </a:lnTo>
                  <a:lnTo>
                    <a:pt x="186" y="120"/>
                  </a:lnTo>
                  <a:lnTo>
                    <a:pt x="186" y="126"/>
                  </a:lnTo>
                  <a:lnTo>
                    <a:pt x="180" y="126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74" y="138"/>
                  </a:lnTo>
                  <a:lnTo>
                    <a:pt x="174" y="144"/>
                  </a:lnTo>
                  <a:lnTo>
                    <a:pt x="174" y="150"/>
                  </a:lnTo>
                  <a:lnTo>
                    <a:pt x="174" y="156"/>
                  </a:lnTo>
                  <a:lnTo>
                    <a:pt x="174" y="162"/>
                  </a:lnTo>
                  <a:lnTo>
                    <a:pt x="168" y="162"/>
                  </a:lnTo>
                  <a:lnTo>
                    <a:pt x="168" y="168"/>
                  </a:lnTo>
                  <a:lnTo>
                    <a:pt x="168" y="174"/>
                  </a:lnTo>
                  <a:lnTo>
                    <a:pt x="162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50" y="186"/>
                  </a:lnTo>
                  <a:lnTo>
                    <a:pt x="150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38" y="204"/>
                  </a:lnTo>
                  <a:lnTo>
                    <a:pt x="132" y="204"/>
                  </a:lnTo>
                  <a:lnTo>
                    <a:pt x="132" y="210"/>
                  </a:lnTo>
                  <a:lnTo>
                    <a:pt x="120" y="216"/>
                  </a:lnTo>
                  <a:lnTo>
                    <a:pt x="114" y="222"/>
                  </a:lnTo>
                  <a:lnTo>
                    <a:pt x="108" y="228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0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0"/>
                  </a:lnTo>
                  <a:lnTo>
                    <a:pt x="72" y="240"/>
                  </a:lnTo>
                  <a:lnTo>
                    <a:pt x="72" y="234"/>
                  </a:lnTo>
                  <a:lnTo>
                    <a:pt x="72" y="240"/>
                  </a:lnTo>
                  <a:lnTo>
                    <a:pt x="66" y="240"/>
                  </a:lnTo>
                  <a:lnTo>
                    <a:pt x="66" y="246"/>
                  </a:lnTo>
                  <a:lnTo>
                    <a:pt x="60" y="246"/>
                  </a:lnTo>
                  <a:lnTo>
                    <a:pt x="54" y="246"/>
                  </a:lnTo>
                  <a:lnTo>
                    <a:pt x="54" y="252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12" y="270"/>
                  </a:lnTo>
                  <a:lnTo>
                    <a:pt x="6" y="270"/>
                  </a:lnTo>
                  <a:lnTo>
                    <a:pt x="0" y="270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3" name="Freeform 19"/>
            <p:cNvSpPr>
              <a:spLocks noChangeAspect="1"/>
            </p:cNvSpPr>
            <p:nvPr/>
          </p:nvSpPr>
          <p:spPr bwMode="auto">
            <a:xfrm>
              <a:off x="3260533" y="4628824"/>
              <a:ext cx="197774" cy="152410"/>
            </a:xfrm>
            <a:custGeom>
              <a:avLst/>
              <a:gdLst>
                <a:gd name="T0" fmla="*/ 2147483647 w 156"/>
                <a:gd name="T1" fmla="*/ 2147483647 h 120"/>
                <a:gd name="T2" fmla="*/ 2147483647 w 156"/>
                <a:gd name="T3" fmla="*/ 2147483647 h 120"/>
                <a:gd name="T4" fmla="*/ 2147483647 w 156"/>
                <a:gd name="T5" fmla="*/ 2147483647 h 120"/>
                <a:gd name="T6" fmla="*/ 2147483647 w 156"/>
                <a:gd name="T7" fmla="*/ 2147483647 h 120"/>
                <a:gd name="T8" fmla="*/ 2147483647 w 156"/>
                <a:gd name="T9" fmla="*/ 2147483647 h 120"/>
                <a:gd name="T10" fmla="*/ 2147483647 w 156"/>
                <a:gd name="T11" fmla="*/ 2147483647 h 120"/>
                <a:gd name="T12" fmla="*/ 2147483647 w 156"/>
                <a:gd name="T13" fmla="*/ 2147483647 h 120"/>
                <a:gd name="T14" fmla="*/ 2147483647 w 156"/>
                <a:gd name="T15" fmla="*/ 2147483647 h 120"/>
                <a:gd name="T16" fmla="*/ 2147483647 w 156"/>
                <a:gd name="T17" fmla="*/ 2147483647 h 120"/>
                <a:gd name="T18" fmla="*/ 2147483647 w 156"/>
                <a:gd name="T19" fmla="*/ 2147483647 h 120"/>
                <a:gd name="T20" fmla="*/ 2147483647 w 156"/>
                <a:gd name="T21" fmla="*/ 2147483647 h 120"/>
                <a:gd name="T22" fmla="*/ 2147483647 w 156"/>
                <a:gd name="T23" fmla="*/ 2147483647 h 120"/>
                <a:gd name="T24" fmla="*/ 2147483647 w 156"/>
                <a:gd name="T25" fmla="*/ 2147483647 h 120"/>
                <a:gd name="T26" fmla="*/ 2147483647 w 156"/>
                <a:gd name="T27" fmla="*/ 2147483647 h 120"/>
                <a:gd name="T28" fmla="*/ 2147483647 w 156"/>
                <a:gd name="T29" fmla="*/ 2147483647 h 120"/>
                <a:gd name="T30" fmla="*/ 2147483647 w 156"/>
                <a:gd name="T31" fmla="*/ 2147483647 h 120"/>
                <a:gd name="T32" fmla="*/ 2147483647 w 156"/>
                <a:gd name="T33" fmla="*/ 2147483647 h 120"/>
                <a:gd name="T34" fmla="*/ 2147483647 w 156"/>
                <a:gd name="T35" fmla="*/ 2147483647 h 120"/>
                <a:gd name="T36" fmla="*/ 2147483647 w 156"/>
                <a:gd name="T37" fmla="*/ 2147483647 h 120"/>
                <a:gd name="T38" fmla="*/ 2147483647 w 156"/>
                <a:gd name="T39" fmla="*/ 2147483647 h 120"/>
                <a:gd name="T40" fmla="*/ 2147483647 w 156"/>
                <a:gd name="T41" fmla="*/ 2147483647 h 120"/>
                <a:gd name="T42" fmla="*/ 2147483647 w 156"/>
                <a:gd name="T43" fmla="*/ 2147483647 h 120"/>
                <a:gd name="T44" fmla="*/ 2147483647 w 156"/>
                <a:gd name="T45" fmla="*/ 2147483647 h 120"/>
                <a:gd name="T46" fmla="*/ 2147483647 w 156"/>
                <a:gd name="T47" fmla="*/ 2147483647 h 120"/>
                <a:gd name="T48" fmla="*/ 2147483647 w 156"/>
                <a:gd name="T49" fmla="*/ 2147483647 h 120"/>
                <a:gd name="T50" fmla="*/ 2147483647 w 156"/>
                <a:gd name="T51" fmla="*/ 0 h 120"/>
                <a:gd name="T52" fmla="*/ 2147483647 w 156"/>
                <a:gd name="T53" fmla="*/ 0 h 120"/>
                <a:gd name="T54" fmla="*/ 2147483647 w 156"/>
                <a:gd name="T55" fmla="*/ 2147483647 h 120"/>
                <a:gd name="T56" fmla="*/ 2147483647 w 156"/>
                <a:gd name="T57" fmla="*/ 2147483647 h 120"/>
                <a:gd name="T58" fmla="*/ 2147483647 w 156"/>
                <a:gd name="T59" fmla="*/ 2147483647 h 120"/>
                <a:gd name="T60" fmla="*/ 2147483647 w 156"/>
                <a:gd name="T61" fmla="*/ 2147483647 h 120"/>
                <a:gd name="T62" fmla="*/ 2147483647 w 156"/>
                <a:gd name="T63" fmla="*/ 2147483647 h 120"/>
                <a:gd name="T64" fmla="*/ 2147483647 w 156"/>
                <a:gd name="T65" fmla="*/ 2147483647 h 120"/>
                <a:gd name="T66" fmla="*/ 2147483647 w 156"/>
                <a:gd name="T67" fmla="*/ 2147483647 h 120"/>
                <a:gd name="T68" fmla="*/ 2147483647 w 156"/>
                <a:gd name="T69" fmla="*/ 2147483647 h 120"/>
                <a:gd name="T70" fmla="*/ 2147483647 w 156"/>
                <a:gd name="T71" fmla="*/ 2147483647 h 120"/>
                <a:gd name="T72" fmla="*/ 2147483647 w 156"/>
                <a:gd name="T73" fmla="*/ 2147483647 h 120"/>
                <a:gd name="T74" fmla="*/ 2147483647 w 156"/>
                <a:gd name="T75" fmla="*/ 2147483647 h 120"/>
                <a:gd name="T76" fmla="*/ 2147483647 w 156"/>
                <a:gd name="T77" fmla="*/ 2147483647 h 120"/>
                <a:gd name="T78" fmla="*/ 2147483647 w 156"/>
                <a:gd name="T79" fmla="*/ 2147483647 h 120"/>
                <a:gd name="T80" fmla="*/ 2147483647 w 156"/>
                <a:gd name="T81" fmla="*/ 2147483647 h 120"/>
                <a:gd name="T82" fmla="*/ 2147483647 w 156"/>
                <a:gd name="T83" fmla="*/ 2147483647 h 120"/>
                <a:gd name="T84" fmla="*/ 2147483647 w 156"/>
                <a:gd name="T85" fmla="*/ 0 h 120"/>
                <a:gd name="T86" fmla="*/ 2147483647 w 156"/>
                <a:gd name="T87" fmla="*/ 2147483647 h 120"/>
                <a:gd name="T88" fmla="*/ 2147483647 w 156"/>
                <a:gd name="T89" fmla="*/ 2147483647 h 120"/>
                <a:gd name="T90" fmla="*/ 2147483647 w 156"/>
                <a:gd name="T91" fmla="*/ 2147483647 h 120"/>
                <a:gd name="T92" fmla="*/ 2147483647 w 156"/>
                <a:gd name="T93" fmla="*/ 2147483647 h 120"/>
                <a:gd name="T94" fmla="*/ 0 w 156"/>
                <a:gd name="T95" fmla="*/ 2147483647 h 120"/>
                <a:gd name="T96" fmla="*/ 2147483647 w 156"/>
                <a:gd name="T97" fmla="*/ 2147483647 h 120"/>
                <a:gd name="T98" fmla="*/ 0 w 156"/>
                <a:gd name="T99" fmla="*/ 2147483647 h 120"/>
                <a:gd name="T100" fmla="*/ 0 w 156"/>
                <a:gd name="T101" fmla="*/ 2147483647 h 120"/>
                <a:gd name="T102" fmla="*/ 0 w 156"/>
                <a:gd name="T103" fmla="*/ 2147483647 h 120"/>
                <a:gd name="T104" fmla="*/ 2147483647 w 156"/>
                <a:gd name="T105" fmla="*/ 2147483647 h 120"/>
                <a:gd name="T106" fmla="*/ 0 w 156"/>
                <a:gd name="T107" fmla="*/ 2147483647 h 120"/>
                <a:gd name="T108" fmla="*/ 2147483647 w 156"/>
                <a:gd name="T109" fmla="*/ 2147483647 h 120"/>
                <a:gd name="T110" fmla="*/ 2147483647 w 156"/>
                <a:gd name="T111" fmla="*/ 2147483647 h 12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56"/>
                <a:gd name="T169" fmla="*/ 0 h 120"/>
                <a:gd name="T170" fmla="*/ 156 w 156"/>
                <a:gd name="T171" fmla="*/ 120 h 12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56" h="120">
                  <a:moveTo>
                    <a:pt x="6" y="114"/>
                  </a:moveTo>
                  <a:lnTo>
                    <a:pt x="12" y="114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36" y="120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72" y="90"/>
                  </a:lnTo>
                  <a:lnTo>
                    <a:pt x="78" y="90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26" y="102"/>
                  </a:lnTo>
                  <a:lnTo>
                    <a:pt x="132" y="102"/>
                  </a:lnTo>
                  <a:lnTo>
                    <a:pt x="138" y="96"/>
                  </a:lnTo>
                  <a:lnTo>
                    <a:pt x="144" y="90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56" y="42"/>
                  </a:lnTo>
                  <a:lnTo>
                    <a:pt x="156" y="36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50" y="24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44" y="12"/>
                  </a:lnTo>
                  <a:lnTo>
                    <a:pt x="150" y="12"/>
                  </a:lnTo>
                  <a:lnTo>
                    <a:pt x="144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02" y="6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2" y="36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0" y="96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6" y="11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4" name="Freeform 20"/>
            <p:cNvSpPr>
              <a:spLocks noChangeAspect="1" noEditPoints="1"/>
            </p:cNvSpPr>
            <p:nvPr/>
          </p:nvSpPr>
          <p:spPr bwMode="auto">
            <a:xfrm>
              <a:off x="3153907" y="4506579"/>
              <a:ext cx="206372" cy="320696"/>
            </a:xfrm>
            <a:custGeom>
              <a:avLst/>
              <a:gdLst>
                <a:gd name="T0" fmla="*/ 2147483647 w 162"/>
                <a:gd name="T1" fmla="*/ 2147483647 h 252"/>
                <a:gd name="T2" fmla="*/ 2147483647 w 162"/>
                <a:gd name="T3" fmla="*/ 2147483647 h 252"/>
                <a:gd name="T4" fmla="*/ 2147483647 w 162"/>
                <a:gd name="T5" fmla="*/ 2147483647 h 252"/>
                <a:gd name="T6" fmla="*/ 2147483647 w 162"/>
                <a:gd name="T7" fmla="*/ 2147483647 h 252"/>
                <a:gd name="T8" fmla="*/ 2147483647 w 162"/>
                <a:gd name="T9" fmla="*/ 2147483647 h 252"/>
                <a:gd name="T10" fmla="*/ 2147483647 w 162"/>
                <a:gd name="T11" fmla="*/ 2147483647 h 252"/>
                <a:gd name="T12" fmla="*/ 2147483647 w 162"/>
                <a:gd name="T13" fmla="*/ 2147483647 h 252"/>
                <a:gd name="T14" fmla="*/ 2147483647 w 162"/>
                <a:gd name="T15" fmla="*/ 2147483647 h 252"/>
                <a:gd name="T16" fmla="*/ 2147483647 w 162"/>
                <a:gd name="T17" fmla="*/ 2147483647 h 252"/>
                <a:gd name="T18" fmla="*/ 2147483647 w 162"/>
                <a:gd name="T19" fmla="*/ 2147483647 h 252"/>
                <a:gd name="T20" fmla="*/ 2147483647 w 162"/>
                <a:gd name="T21" fmla="*/ 2147483647 h 252"/>
                <a:gd name="T22" fmla="*/ 2147483647 w 162"/>
                <a:gd name="T23" fmla="*/ 2147483647 h 252"/>
                <a:gd name="T24" fmla="*/ 2147483647 w 162"/>
                <a:gd name="T25" fmla="*/ 2147483647 h 252"/>
                <a:gd name="T26" fmla="*/ 2147483647 w 162"/>
                <a:gd name="T27" fmla="*/ 2147483647 h 252"/>
                <a:gd name="T28" fmla="*/ 2147483647 w 162"/>
                <a:gd name="T29" fmla="*/ 2147483647 h 252"/>
                <a:gd name="T30" fmla="*/ 2147483647 w 162"/>
                <a:gd name="T31" fmla="*/ 2147483647 h 252"/>
                <a:gd name="T32" fmla="*/ 2147483647 w 162"/>
                <a:gd name="T33" fmla="*/ 2147483647 h 252"/>
                <a:gd name="T34" fmla="*/ 2147483647 w 162"/>
                <a:gd name="T35" fmla="*/ 2147483647 h 252"/>
                <a:gd name="T36" fmla="*/ 2147483647 w 162"/>
                <a:gd name="T37" fmla="*/ 2147483647 h 252"/>
                <a:gd name="T38" fmla="*/ 2147483647 w 162"/>
                <a:gd name="T39" fmla="*/ 2147483647 h 252"/>
                <a:gd name="T40" fmla="*/ 2147483647 w 162"/>
                <a:gd name="T41" fmla="*/ 2147483647 h 252"/>
                <a:gd name="T42" fmla="*/ 2147483647 w 162"/>
                <a:gd name="T43" fmla="*/ 2147483647 h 252"/>
                <a:gd name="T44" fmla="*/ 2147483647 w 162"/>
                <a:gd name="T45" fmla="*/ 2147483647 h 252"/>
                <a:gd name="T46" fmla="*/ 2147483647 w 162"/>
                <a:gd name="T47" fmla="*/ 2147483647 h 252"/>
                <a:gd name="T48" fmla="*/ 2147483647 w 162"/>
                <a:gd name="T49" fmla="*/ 2147483647 h 252"/>
                <a:gd name="T50" fmla="*/ 2147483647 w 162"/>
                <a:gd name="T51" fmla="*/ 2147483647 h 252"/>
                <a:gd name="T52" fmla="*/ 2147483647 w 162"/>
                <a:gd name="T53" fmla="*/ 2147483647 h 252"/>
                <a:gd name="T54" fmla="*/ 2147483647 w 162"/>
                <a:gd name="T55" fmla="*/ 2147483647 h 252"/>
                <a:gd name="T56" fmla="*/ 2147483647 w 162"/>
                <a:gd name="T57" fmla="*/ 2147483647 h 252"/>
                <a:gd name="T58" fmla="*/ 2147483647 w 162"/>
                <a:gd name="T59" fmla="*/ 2147483647 h 252"/>
                <a:gd name="T60" fmla="*/ 2147483647 w 162"/>
                <a:gd name="T61" fmla="*/ 2147483647 h 252"/>
                <a:gd name="T62" fmla="*/ 2147483647 w 162"/>
                <a:gd name="T63" fmla="*/ 2147483647 h 252"/>
                <a:gd name="T64" fmla="*/ 2147483647 w 162"/>
                <a:gd name="T65" fmla="*/ 2147483647 h 252"/>
                <a:gd name="T66" fmla="*/ 2147483647 w 162"/>
                <a:gd name="T67" fmla="*/ 2147483647 h 252"/>
                <a:gd name="T68" fmla="*/ 2147483647 w 162"/>
                <a:gd name="T69" fmla="*/ 2147483647 h 252"/>
                <a:gd name="T70" fmla="*/ 2147483647 w 162"/>
                <a:gd name="T71" fmla="*/ 2147483647 h 252"/>
                <a:gd name="T72" fmla="*/ 2147483647 w 162"/>
                <a:gd name="T73" fmla="*/ 2147483647 h 252"/>
                <a:gd name="T74" fmla="*/ 2147483647 w 162"/>
                <a:gd name="T75" fmla="*/ 2147483647 h 252"/>
                <a:gd name="T76" fmla="*/ 2147483647 w 162"/>
                <a:gd name="T77" fmla="*/ 2147483647 h 252"/>
                <a:gd name="T78" fmla="*/ 2147483647 w 162"/>
                <a:gd name="T79" fmla="*/ 0 h 252"/>
                <a:gd name="T80" fmla="*/ 2147483647 w 162"/>
                <a:gd name="T81" fmla="*/ 2147483647 h 252"/>
                <a:gd name="T82" fmla="*/ 2147483647 w 162"/>
                <a:gd name="T83" fmla="*/ 2147483647 h 252"/>
                <a:gd name="T84" fmla="*/ 2147483647 w 162"/>
                <a:gd name="T85" fmla="*/ 2147483647 h 252"/>
                <a:gd name="T86" fmla="*/ 2147483647 w 162"/>
                <a:gd name="T87" fmla="*/ 2147483647 h 252"/>
                <a:gd name="T88" fmla="*/ 2147483647 w 162"/>
                <a:gd name="T89" fmla="*/ 2147483647 h 252"/>
                <a:gd name="T90" fmla="*/ 2147483647 w 162"/>
                <a:gd name="T91" fmla="*/ 2147483647 h 252"/>
                <a:gd name="T92" fmla="*/ 2147483647 w 162"/>
                <a:gd name="T93" fmla="*/ 2147483647 h 252"/>
                <a:gd name="T94" fmla="*/ 2147483647 w 162"/>
                <a:gd name="T95" fmla="*/ 2147483647 h 252"/>
                <a:gd name="T96" fmla="*/ 2147483647 w 162"/>
                <a:gd name="T97" fmla="*/ 2147483647 h 252"/>
                <a:gd name="T98" fmla="*/ 2147483647 w 162"/>
                <a:gd name="T99" fmla="*/ 2147483647 h 252"/>
                <a:gd name="T100" fmla="*/ 2147483647 w 162"/>
                <a:gd name="T101" fmla="*/ 2147483647 h 252"/>
                <a:gd name="T102" fmla="*/ 2147483647 w 162"/>
                <a:gd name="T103" fmla="*/ 2147483647 h 252"/>
                <a:gd name="T104" fmla="*/ 2147483647 w 162"/>
                <a:gd name="T105" fmla="*/ 2147483647 h 252"/>
                <a:gd name="T106" fmla="*/ 2147483647 w 162"/>
                <a:gd name="T107" fmla="*/ 2147483647 h 252"/>
                <a:gd name="T108" fmla="*/ 2147483647 w 162"/>
                <a:gd name="T109" fmla="*/ 2147483647 h 252"/>
                <a:gd name="T110" fmla="*/ 2147483647 w 162"/>
                <a:gd name="T111" fmla="*/ 2147483647 h 252"/>
                <a:gd name="T112" fmla="*/ 2147483647 w 162"/>
                <a:gd name="T113" fmla="*/ 2147483647 h 252"/>
                <a:gd name="T114" fmla="*/ 2147483647 w 162"/>
                <a:gd name="T115" fmla="*/ 2147483647 h 252"/>
                <a:gd name="T116" fmla="*/ 2147483647 w 162"/>
                <a:gd name="T117" fmla="*/ 2147483647 h 252"/>
                <a:gd name="T118" fmla="*/ 2147483647 w 162"/>
                <a:gd name="T119" fmla="*/ 2147483647 h 252"/>
                <a:gd name="T120" fmla="*/ 2147483647 w 162"/>
                <a:gd name="T121" fmla="*/ 2147483647 h 25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2"/>
                <a:gd name="T184" fmla="*/ 0 h 252"/>
                <a:gd name="T185" fmla="*/ 162 w 162"/>
                <a:gd name="T186" fmla="*/ 252 h 25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2" h="252">
                  <a:moveTo>
                    <a:pt x="96" y="72"/>
                  </a:moveTo>
                  <a:lnTo>
                    <a:pt x="102" y="72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96" y="72"/>
                  </a:lnTo>
                  <a:lnTo>
                    <a:pt x="96" y="66"/>
                  </a:lnTo>
                  <a:lnTo>
                    <a:pt x="96" y="72"/>
                  </a:lnTo>
                  <a:close/>
                  <a:moveTo>
                    <a:pt x="0" y="210"/>
                  </a:moveTo>
                  <a:lnTo>
                    <a:pt x="0" y="216"/>
                  </a:lnTo>
                  <a:lnTo>
                    <a:pt x="6" y="216"/>
                  </a:lnTo>
                  <a:lnTo>
                    <a:pt x="12" y="222"/>
                  </a:lnTo>
                  <a:lnTo>
                    <a:pt x="18" y="222"/>
                  </a:lnTo>
                  <a:lnTo>
                    <a:pt x="18" y="228"/>
                  </a:lnTo>
                  <a:lnTo>
                    <a:pt x="18" y="234"/>
                  </a:lnTo>
                  <a:lnTo>
                    <a:pt x="24" y="234"/>
                  </a:lnTo>
                  <a:lnTo>
                    <a:pt x="30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48" y="240"/>
                  </a:lnTo>
                  <a:lnTo>
                    <a:pt x="54" y="234"/>
                  </a:lnTo>
                  <a:lnTo>
                    <a:pt x="54" y="240"/>
                  </a:lnTo>
                  <a:lnTo>
                    <a:pt x="60" y="240"/>
                  </a:lnTo>
                  <a:lnTo>
                    <a:pt x="60" y="246"/>
                  </a:lnTo>
                  <a:lnTo>
                    <a:pt x="66" y="246"/>
                  </a:lnTo>
                  <a:lnTo>
                    <a:pt x="72" y="246"/>
                  </a:lnTo>
                  <a:lnTo>
                    <a:pt x="72" y="252"/>
                  </a:lnTo>
                  <a:lnTo>
                    <a:pt x="78" y="252"/>
                  </a:lnTo>
                  <a:lnTo>
                    <a:pt x="84" y="252"/>
                  </a:lnTo>
                  <a:lnTo>
                    <a:pt x="84" y="246"/>
                  </a:lnTo>
                  <a:lnTo>
                    <a:pt x="90" y="246"/>
                  </a:lnTo>
                  <a:lnTo>
                    <a:pt x="90" y="240"/>
                  </a:lnTo>
                  <a:lnTo>
                    <a:pt x="90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96" y="216"/>
                  </a:lnTo>
                  <a:lnTo>
                    <a:pt x="90" y="216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0" y="198"/>
                  </a:lnTo>
                  <a:lnTo>
                    <a:pt x="84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80"/>
                  </a:lnTo>
                  <a:lnTo>
                    <a:pt x="84" y="180"/>
                  </a:lnTo>
                  <a:lnTo>
                    <a:pt x="84" y="174"/>
                  </a:lnTo>
                  <a:lnTo>
                    <a:pt x="90" y="168"/>
                  </a:lnTo>
                  <a:lnTo>
                    <a:pt x="84" y="168"/>
                  </a:lnTo>
                  <a:lnTo>
                    <a:pt x="84" y="162"/>
                  </a:lnTo>
                  <a:lnTo>
                    <a:pt x="84" y="156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8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90" y="126"/>
                  </a:lnTo>
                  <a:lnTo>
                    <a:pt x="90" y="120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96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0" y="90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20" y="72"/>
                  </a:lnTo>
                  <a:lnTo>
                    <a:pt x="114" y="72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08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02" y="78"/>
                  </a:lnTo>
                  <a:lnTo>
                    <a:pt x="96" y="78"/>
                  </a:lnTo>
                  <a:lnTo>
                    <a:pt x="90" y="78"/>
                  </a:lnTo>
                  <a:lnTo>
                    <a:pt x="90" y="72"/>
                  </a:lnTo>
                  <a:lnTo>
                    <a:pt x="96" y="72"/>
                  </a:lnTo>
                  <a:lnTo>
                    <a:pt x="90" y="66"/>
                  </a:lnTo>
                  <a:lnTo>
                    <a:pt x="90" y="60"/>
                  </a:lnTo>
                  <a:lnTo>
                    <a:pt x="96" y="60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0" y="42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44" y="18"/>
                  </a:lnTo>
                  <a:lnTo>
                    <a:pt x="150" y="18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6" y="6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12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96" y="24"/>
                  </a:lnTo>
                  <a:lnTo>
                    <a:pt x="90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60" y="42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60" y="54"/>
                  </a:lnTo>
                  <a:lnTo>
                    <a:pt x="60" y="60"/>
                  </a:lnTo>
                  <a:lnTo>
                    <a:pt x="54" y="60"/>
                  </a:lnTo>
                  <a:lnTo>
                    <a:pt x="54" y="66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66" y="72"/>
                  </a:lnTo>
                  <a:lnTo>
                    <a:pt x="66" y="78"/>
                  </a:lnTo>
                  <a:lnTo>
                    <a:pt x="66" y="84"/>
                  </a:lnTo>
                  <a:lnTo>
                    <a:pt x="72" y="90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2"/>
                  </a:lnTo>
                  <a:lnTo>
                    <a:pt x="72" y="102"/>
                  </a:lnTo>
                  <a:lnTo>
                    <a:pt x="72" y="108"/>
                  </a:lnTo>
                  <a:lnTo>
                    <a:pt x="78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26"/>
                  </a:lnTo>
                  <a:lnTo>
                    <a:pt x="66" y="132"/>
                  </a:lnTo>
                  <a:lnTo>
                    <a:pt x="66" y="138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0" y="150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62"/>
                  </a:lnTo>
                  <a:lnTo>
                    <a:pt x="48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36" y="180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24" y="192"/>
                  </a:lnTo>
                  <a:lnTo>
                    <a:pt x="18" y="198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04"/>
                  </a:lnTo>
                  <a:lnTo>
                    <a:pt x="6" y="210"/>
                  </a:lnTo>
                  <a:lnTo>
                    <a:pt x="0" y="210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5" name="Freeform 21"/>
            <p:cNvSpPr>
              <a:spLocks noChangeAspect="1"/>
            </p:cNvSpPr>
            <p:nvPr/>
          </p:nvSpPr>
          <p:spPr bwMode="auto">
            <a:xfrm>
              <a:off x="3000849" y="4773296"/>
              <a:ext cx="282042" cy="206388"/>
            </a:xfrm>
            <a:custGeom>
              <a:avLst/>
              <a:gdLst>
                <a:gd name="T0" fmla="*/ 2147483647 w 222"/>
                <a:gd name="T1" fmla="*/ 2147483647 h 162"/>
                <a:gd name="T2" fmla="*/ 2147483647 w 222"/>
                <a:gd name="T3" fmla="*/ 2147483647 h 162"/>
                <a:gd name="T4" fmla="*/ 2147483647 w 222"/>
                <a:gd name="T5" fmla="*/ 2147483647 h 162"/>
                <a:gd name="T6" fmla="*/ 2147483647 w 222"/>
                <a:gd name="T7" fmla="*/ 2147483647 h 162"/>
                <a:gd name="T8" fmla="*/ 2147483647 w 222"/>
                <a:gd name="T9" fmla="*/ 2147483647 h 162"/>
                <a:gd name="T10" fmla="*/ 2147483647 w 222"/>
                <a:gd name="T11" fmla="*/ 2147483647 h 162"/>
                <a:gd name="T12" fmla="*/ 2147483647 w 222"/>
                <a:gd name="T13" fmla="*/ 2147483647 h 162"/>
                <a:gd name="T14" fmla="*/ 2147483647 w 222"/>
                <a:gd name="T15" fmla="*/ 2147483647 h 162"/>
                <a:gd name="T16" fmla="*/ 2147483647 w 222"/>
                <a:gd name="T17" fmla="*/ 2147483647 h 162"/>
                <a:gd name="T18" fmla="*/ 2147483647 w 222"/>
                <a:gd name="T19" fmla="*/ 2147483647 h 162"/>
                <a:gd name="T20" fmla="*/ 2147483647 w 222"/>
                <a:gd name="T21" fmla="*/ 2147483647 h 162"/>
                <a:gd name="T22" fmla="*/ 2147483647 w 222"/>
                <a:gd name="T23" fmla="*/ 2147483647 h 162"/>
                <a:gd name="T24" fmla="*/ 2147483647 w 222"/>
                <a:gd name="T25" fmla="*/ 2147483647 h 162"/>
                <a:gd name="T26" fmla="*/ 2147483647 w 222"/>
                <a:gd name="T27" fmla="*/ 2147483647 h 162"/>
                <a:gd name="T28" fmla="*/ 2147483647 w 222"/>
                <a:gd name="T29" fmla="*/ 2147483647 h 162"/>
                <a:gd name="T30" fmla="*/ 2147483647 w 222"/>
                <a:gd name="T31" fmla="*/ 2147483647 h 162"/>
                <a:gd name="T32" fmla="*/ 2147483647 w 222"/>
                <a:gd name="T33" fmla="*/ 2147483647 h 162"/>
                <a:gd name="T34" fmla="*/ 2147483647 w 222"/>
                <a:gd name="T35" fmla="*/ 2147483647 h 162"/>
                <a:gd name="T36" fmla="*/ 2147483647 w 222"/>
                <a:gd name="T37" fmla="*/ 2147483647 h 162"/>
                <a:gd name="T38" fmla="*/ 2147483647 w 222"/>
                <a:gd name="T39" fmla="*/ 2147483647 h 162"/>
                <a:gd name="T40" fmla="*/ 2147483647 w 222"/>
                <a:gd name="T41" fmla="*/ 2147483647 h 162"/>
                <a:gd name="T42" fmla="*/ 2147483647 w 222"/>
                <a:gd name="T43" fmla="*/ 2147483647 h 162"/>
                <a:gd name="T44" fmla="*/ 2147483647 w 222"/>
                <a:gd name="T45" fmla="*/ 2147483647 h 162"/>
                <a:gd name="T46" fmla="*/ 2147483647 w 222"/>
                <a:gd name="T47" fmla="*/ 2147483647 h 162"/>
                <a:gd name="T48" fmla="*/ 2147483647 w 222"/>
                <a:gd name="T49" fmla="*/ 2147483647 h 162"/>
                <a:gd name="T50" fmla="*/ 2147483647 w 222"/>
                <a:gd name="T51" fmla="*/ 2147483647 h 162"/>
                <a:gd name="T52" fmla="*/ 2147483647 w 222"/>
                <a:gd name="T53" fmla="*/ 2147483647 h 162"/>
                <a:gd name="T54" fmla="*/ 2147483647 w 222"/>
                <a:gd name="T55" fmla="*/ 2147483647 h 162"/>
                <a:gd name="T56" fmla="*/ 2147483647 w 222"/>
                <a:gd name="T57" fmla="*/ 2147483647 h 162"/>
                <a:gd name="T58" fmla="*/ 2147483647 w 222"/>
                <a:gd name="T59" fmla="*/ 2147483647 h 162"/>
                <a:gd name="T60" fmla="*/ 2147483647 w 222"/>
                <a:gd name="T61" fmla="*/ 2147483647 h 162"/>
                <a:gd name="T62" fmla="*/ 2147483647 w 222"/>
                <a:gd name="T63" fmla="*/ 2147483647 h 162"/>
                <a:gd name="T64" fmla="*/ 2147483647 w 222"/>
                <a:gd name="T65" fmla="*/ 2147483647 h 162"/>
                <a:gd name="T66" fmla="*/ 2147483647 w 222"/>
                <a:gd name="T67" fmla="*/ 2147483647 h 162"/>
                <a:gd name="T68" fmla="*/ 2147483647 w 222"/>
                <a:gd name="T69" fmla="*/ 2147483647 h 162"/>
                <a:gd name="T70" fmla="*/ 2147483647 w 222"/>
                <a:gd name="T71" fmla="*/ 2147483647 h 162"/>
                <a:gd name="T72" fmla="*/ 2147483647 w 222"/>
                <a:gd name="T73" fmla="*/ 2147483647 h 162"/>
                <a:gd name="T74" fmla="*/ 2147483647 w 222"/>
                <a:gd name="T75" fmla="*/ 2147483647 h 162"/>
                <a:gd name="T76" fmla="*/ 2147483647 w 222"/>
                <a:gd name="T77" fmla="*/ 2147483647 h 162"/>
                <a:gd name="T78" fmla="*/ 2147483647 w 222"/>
                <a:gd name="T79" fmla="*/ 2147483647 h 162"/>
                <a:gd name="T80" fmla="*/ 2147483647 w 222"/>
                <a:gd name="T81" fmla="*/ 2147483647 h 162"/>
                <a:gd name="T82" fmla="*/ 2147483647 w 222"/>
                <a:gd name="T83" fmla="*/ 2147483647 h 162"/>
                <a:gd name="T84" fmla="*/ 2147483647 w 222"/>
                <a:gd name="T85" fmla="*/ 2147483647 h 162"/>
                <a:gd name="T86" fmla="*/ 2147483647 w 222"/>
                <a:gd name="T87" fmla="*/ 2147483647 h 162"/>
                <a:gd name="T88" fmla="*/ 0 w 222"/>
                <a:gd name="T89" fmla="*/ 2147483647 h 162"/>
                <a:gd name="T90" fmla="*/ 2147483647 w 222"/>
                <a:gd name="T91" fmla="*/ 2147483647 h 162"/>
                <a:gd name="T92" fmla="*/ 2147483647 w 222"/>
                <a:gd name="T93" fmla="*/ 2147483647 h 162"/>
                <a:gd name="T94" fmla="*/ 2147483647 w 222"/>
                <a:gd name="T95" fmla="*/ 2147483647 h 16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22"/>
                <a:gd name="T145" fmla="*/ 0 h 162"/>
                <a:gd name="T146" fmla="*/ 222 w 222"/>
                <a:gd name="T147" fmla="*/ 162 h 16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22" h="162">
                  <a:moveTo>
                    <a:pt x="54" y="162"/>
                  </a:moveTo>
                  <a:lnTo>
                    <a:pt x="60" y="162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66" y="150"/>
                  </a:lnTo>
                  <a:lnTo>
                    <a:pt x="72" y="156"/>
                  </a:lnTo>
                  <a:lnTo>
                    <a:pt x="78" y="156"/>
                  </a:lnTo>
                  <a:lnTo>
                    <a:pt x="78" y="150"/>
                  </a:lnTo>
                  <a:lnTo>
                    <a:pt x="78" y="144"/>
                  </a:lnTo>
                  <a:lnTo>
                    <a:pt x="84" y="138"/>
                  </a:lnTo>
                  <a:lnTo>
                    <a:pt x="84" y="132"/>
                  </a:lnTo>
                  <a:lnTo>
                    <a:pt x="84" y="138"/>
                  </a:lnTo>
                  <a:lnTo>
                    <a:pt x="90" y="138"/>
                  </a:lnTo>
                  <a:lnTo>
                    <a:pt x="96" y="138"/>
                  </a:lnTo>
                  <a:lnTo>
                    <a:pt x="96" y="132"/>
                  </a:lnTo>
                  <a:lnTo>
                    <a:pt x="102" y="132"/>
                  </a:lnTo>
                  <a:lnTo>
                    <a:pt x="108" y="132"/>
                  </a:lnTo>
                  <a:lnTo>
                    <a:pt x="108" y="126"/>
                  </a:lnTo>
                  <a:lnTo>
                    <a:pt x="114" y="126"/>
                  </a:lnTo>
                  <a:lnTo>
                    <a:pt x="120" y="126"/>
                  </a:lnTo>
                  <a:lnTo>
                    <a:pt x="120" y="120"/>
                  </a:lnTo>
                  <a:lnTo>
                    <a:pt x="114" y="114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32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102"/>
                  </a:lnTo>
                  <a:lnTo>
                    <a:pt x="144" y="96"/>
                  </a:lnTo>
                  <a:lnTo>
                    <a:pt x="138" y="96"/>
                  </a:lnTo>
                  <a:lnTo>
                    <a:pt x="144" y="90"/>
                  </a:lnTo>
                  <a:lnTo>
                    <a:pt x="150" y="90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68" y="90"/>
                  </a:lnTo>
                  <a:lnTo>
                    <a:pt x="168" y="96"/>
                  </a:lnTo>
                  <a:lnTo>
                    <a:pt x="174" y="96"/>
                  </a:lnTo>
                  <a:lnTo>
                    <a:pt x="174" y="90"/>
                  </a:lnTo>
                  <a:lnTo>
                    <a:pt x="180" y="90"/>
                  </a:lnTo>
                  <a:lnTo>
                    <a:pt x="186" y="90"/>
                  </a:lnTo>
                  <a:lnTo>
                    <a:pt x="192" y="90"/>
                  </a:lnTo>
                  <a:lnTo>
                    <a:pt x="192" y="84"/>
                  </a:lnTo>
                  <a:lnTo>
                    <a:pt x="192" y="90"/>
                  </a:lnTo>
                  <a:lnTo>
                    <a:pt x="198" y="90"/>
                  </a:lnTo>
                  <a:lnTo>
                    <a:pt x="204" y="90"/>
                  </a:lnTo>
                  <a:lnTo>
                    <a:pt x="204" y="84"/>
                  </a:lnTo>
                  <a:lnTo>
                    <a:pt x="210" y="84"/>
                  </a:lnTo>
                  <a:lnTo>
                    <a:pt x="216" y="84"/>
                  </a:lnTo>
                  <a:lnTo>
                    <a:pt x="216" y="90"/>
                  </a:lnTo>
                  <a:lnTo>
                    <a:pt x="216" y="84"/>
                  </a:lnTo>
                  <a:lnTo>
                    <a:pt x="216" y="78"/>
                  </a:lnTo>
                  <a:lnTo>
                    <a:pt x="222" y="78"/>
                  </a:lnTo>
                  <a:lnTo>
                    <a:pt x="222" y="72"/>
                  </a:lnTo>
                  <a:lnTo>
                    <a:pt x="216" y="66"/>
                  </a:lnTo>
                  <a:lnTo>
                    <a:pt x="216" y="60"/>
                  </a:lnTo>
                  <a:lnTo>
                    <a:pt x="210" y="60"/>
                  </a:lnTo>
                  <a:lnTo>
                    <a:pt x="204" y="54"/>
                  </a:lnTo>
                  <a:lnTo>
                    <a:pt x="204" y="48"/>
                  </a:lnTo>
                  <a:lnTo>
                    <a:pt x="204" y="42"/>
                  </a:lnTo>
                  <a:lnTo>
                    <a:pt x="210" y="42"/>
                  </a:lnTo>
                  <a:lnTo>
                    <a:pt x="204" y="36"/>
                  </a:lnTo>
                  <a:lnTo>
                    <a:pt x="204" y="42"/>
                  </a:lnTo>
                  <a:lnTo>
                    <a:pt x="198" y="42"/>
                  </a:lnTo>
                  <a:lnTo>
                    <a:pt x="192" y="42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62" y="24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50" y="24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20" y="0"/>
                  </a:lnTo>
                  <a:lnTo>
                    <a:pt x="120" y="6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84" y="66"/>
                  </a:lnTo>
                  <a:lnTo>
                    <a:pt x="84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2" y="102"/>
                  </a:lnTo>
                  <a:lnTo>
                    <a:pt x="102" y="108"/>
                  </a:lnTo>
                  <a:lnTo>
                    <a:pt x="102" y="114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90" y="96"/>
                  </a:lnTo>
                  <a:lnTo>
                    <a:pt x="84" y="96"/>
                  </a:lnTo>
                  <a:lnTo>
                    <a:pt x="84" y="102"/>
                  </a:lnTo>
                  <a:lnTo>
                    <a:pt x="84" y="108"/>
                  </a:lnTo>
                  <a:lnTo>
                    <a:pt x="84" y="114"/>
                  </a:lnTo>
                  <a:lnTo>
                    <a:pt x="84" y="120"/>
                  </a:lnTo>
                  <a:lnTo>
                    <a:pt x="84" y="114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72" y="114"/>
                  </a:lnTo>
                  <a:lnTo>
                    <a:pt x="72" y="120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0" y="114"/>
                  </a:lnTo>
                  <a:lnTo>
                    <a:pt x="60" y="120"/>
                  </a:lnTo>
                  <a:lnTo>
                    <a:pt x="66" y="120"/>
                  </a:lnTo>
                  <a:lnTo>
                    <a:pt x="60" y="120"/>
                  </a:lnTo>
                  <a:lnTo>
                    <a:pt x="66" y="120"/>
                  </a:lnTo>
                  <a:lnTo>
                    <a:pt x="66" y="126"/>
                  </a:lnTo>
                  <a:lnTo>
                    <a:pt x="60" y="126"/>
                  </a:lnTo>
                  <a:lnTo>
                    <a:pt x="60" y="132"/>
                  </a:lnTo>
                  <a:lnTo>
                    <a:pt x="66" y="132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54" y="132"/>
                  </a:lnTo>
                  <a:lnTo>
                    <a:pt x="48" y="132"/>
                  </a:lnTo>
                  <a:lnTo>
                    <a:pt x="48" y="126"/>
                  </a:lnTo>
                  <a:lnTo>
                    <a:pt x="42" y="126"/>
                  </a:lnTo>
                  <a:lnTo>
                    <a:pt x="42" y="132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36" y="138"/>
                  </a:lnTo>
                  <a:lnTo>
                    <a:pt x="36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0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6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8" y="138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6" y="132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12" y="150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62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6" name="Freeform 22"/>
            <p:cNvSpPr>
              <a:spLocks noChangeAspect="1"/>
            </p:cNvSpPr>
            <p:nvPr/>
          </p:nvSpPr>
          <p:spPr bwMode="auto">
            <a:xfrm>
              <a:off x="3564933" y="4849501"/>
              <a:ext cx="197773" cy="168286"/>
            </a:xfrm>
            <a:custGeom>
              <a:avLst/>
              <a:gdLst>
                <a:gd name="T0" fmla="*/ 2147483647 w 156"/>
                <a:gd name="T1" fmla="*/ 2147483647 h 132"/>
                <a:gd name="T2" fmla="*/ 2147483647 w 156"/>
                <a:gd name="T3" fmla="*/ 2147483647 h 132"/>
                <a:gd name="T4" fmla="*/ 2147483647 w 156"/>
                <a:gd name="T5" fmla="*/ 2147483647 h 132"/>
                <a:gd name="T6" fmla="*/ 2147483647 w 156"/>
                <a:gd name="T7" fmla="*/ 2147483647 h 132"/>
                <a:gd name="T8" fmla="*/ 2147483647 w 156"/>
                <a:gd name="T9" fmla="*/ 2147483647 h 132"/>
                <a:gd name="T10" fmla="*/ 2147483647 w 156"/>
                <a:gd name="T11" fmla="*/ 2147483647 h 132"/>
                <a:gd name="T12" fmla="*/ 2147483647 w 156"/>
                <a:gd name="T13" fmla="*/ 2147483647 h 132"/>
                <a:gd name="T14" fmla="*/ 2147483647 w 156"/>
                <a:gd name="T15" fmla="*/ 2147483647 h 132"/>
                <a:gd name="T16" fmla="*/ 2147483647 w 156"/>
                <a:gd name="T17" fmla="*/ 2147483647 h 132"/>
                <a:gd name="T18" fmla="*/ 2147483647 w 156"/>
                <a:gd name="T19" fmla="*/ 2147483647 h 132"/>
                <a:gd name="T20" fmla="*/ 2147483647 w 156"/>
                <a:gd name="T21" fmla="*/ 2147483647 h 132"/>
                <a:gd name="T22" fmla="*/ 2147483647 w 156"/>
                <a:gd name="T23" fmla="*/ 2147483647 h 132"/>
                <a:gd name="T24" fmla="*/ 2147483647 w 156"/>
                <a:gd name="T25" fmla="*/ 2147483647 h 132"/>
                <a:gd name="T26" fmla="*/ 2147483647 w 156"/>
                <a:gd name="T27" fmla="*/ 2147483647 h 132"/>
                <a:gd name="T28" fmla="*/ 2147483647 w 156"/>
                <a:gd name="T29" fmla="*/ 2147483647 h 132"/>
                <a:gd name="T30" fmla="*/ 2147483647 w 156"/>
                <a:gd name="T31" fmla="*/ 2147483647 h 132"/>
                <a:gd name="T32" fmla="*/ 2147483647 w 156"/>
                <a:gd name="T33" fmla="*/ 2147483647 h 132"/>
                <a:gd name="T34" fmla="*/ 2147483647 w 156"/>
                <a:gd name="T35" fmla="*/ 2147483647 h 132"/>
                <a:gd name="T36" fmla="*/ 2147483647 w 156"/>
                <a:gd name="T37" fmla="*/ 2147483647 h 132"/>
                <a:gd name="T38" fmla="*/ 2147483647 w 156"/>
                <a:gd name="T39" fmla="*/ 2147483647 h 132"/>
                <a:gd name="T40" fmla="*/ 2147483647 w 156"/>
                <a:gd name="T41" fmla="*/ 2147483647 h 132"/>
                <a:gd name="T42" fmla="*/ 2147483647 w 156"/>
                <a:gd name="T43" fmla="*/ 2147483647 h 132"/>
                <a:gd name="T44" fmla="*/ 2147483647 w 156"/>
                <a:gd name="T45" fmla="*/ 2147483647 h 132"/>
                <a:gd name="T46" fmla="*/ 2147483647 w 156"/>
                <a:gd name="T47" fmla="*/ 2147483647 h 132"/>
                <a:gd name="T48" fmla="*/ 2147483647 w 156"/>
                <a:gd name="T49" fmla="*/ 2147483647 h 132"/>
                <a:gd name="T50" fmla="*/ 2147483647 w 156"/>
                <a:gd name="T51" fmla="*/ 2147483647 h 132"/>
                <a:gd name="T52" fmla="*/ 2147483647 w 156"/>
                <a:gd name="T53" fmla="*/ 2147483647 h 132"/>
                <a:gd name="T54" fmla="*/ 2147483647 w 156"/>
                <a:gd name="T55" fmla="*/ 2147483647 h 132"/>
                <a:gd name="T56" fmla="*/ 2147483647 w 156"/>
                <a:gd name="T57" fmla="*/ 2147483647 h 132"/>
                <a:gd name="T58" fmla="*/ 2147483647 w 156"/>
                <a:gd name="T59" fmla="*/ 2147483647 h 132"/>
                <a:gd name="T60" fmla="*/ 2147483647 w 156"/>
                <a:gd name="T61" fmla="*/ 2147483647 h 132"/>
                <a:gd name="T62" fmla="*/ 2147483647 w 156"/>
                <a:gd name="T63" fmla="*/ 2147483647 h 132"/>
                <a:gd name="T64" fmla="*/ 2147483647 w 156"/>
                <a:gd name="T65" fmla="*/ 2147483647 h 132"/>
                <a:gd name="T66" fmla="*/ 2147483647 w 156"/>
                <a:gd name="T67" fmla="*/ 2147483647 h 132"/>
                <a:gd name="T68" fmla="*/ 2147483647 w 156"/>
                <a:gd name="T69" fmla="*/ 2147483647 h 132"/>
                <a:gd name="T70" fmla="*/ 2147483647 w 156"/>
                <a:gd name="T71" fmla="*/ 2147483647 h 132"/>
                <a:gd name="T72" fmla="*/ 2147483647 w 156"/>
                <a:gd name="T73" fmla="*/ 2147483647 h 132"/>
                <a:gd name="T74" fmla="*/ 2147483647 w 156"/>
                <a:gd name="T75" fmla="*/ 2147483647 h 132"/>
                <a:gd name="T76" fmla="*/ 2147483647 w 156"/>
                <a:gd name="T77" fmla="*/ 2147483647 h 132"/>
                <a:gd name="T78" fmla="*/ 2147483647 w 156"/>
                <a:gd name="T79" fmla="*/ 2147483647 h 132"/>
                <a:gd name="T80" fmla="*/ 2147483647 w 156"/>
                <a:gd name="T81" fmla="*/ 2147483647 h 132"/>
                <a:gd name="T82" fmla="*/ 2147483647 w 156"/>
                <a:gd name="T83" fmla="*/ 2147483647 h 132"/>
                <a:gd name="T84" fmla="*/ 2147483647 w 156"/>
                <a:gd name="T85" fmla="*/ 2147483647 h 132"/>
                <a:gd name="T86" fmla="*/ 2147483647 w 156"/>
                <a:gd name="T87" fmla="*/ 0 h 132"/>
                <a:gd name="T88" fmla="*/ 2147483647 w 156"/>
                <a:gd name="T89" fmla="*/ 0 h 132"/>
                <a:gd name="T90" fmla="*/ 2147483647 w 156"/>
                <a:gd name="T91" fmla="*/ 2147483647 h 132"/>
                <a:gd name="T92" fmla="*/ 2147483647 w 156"/>
                <a:gd name="T93" fmla="*/ 2147483647 h 132"/>
                <a:gd name="T94" fmla="*/ 2147483647 w 156"/>
                <a:gd name="T95" fmla="*/ 2147483647 h 132"/>
                <a:gd name="T96" fmla="*/ 2147483647 w 156"/>
                <a:gd name="T97" fmla="*/ 2147483647 h 132"/>
                <a:gd name="T98" fmla="*/ 0 w 156"/>
                <a:gd name="T99" fmla="*/ 2147483647 h 132"/>
                <a:gd name="T100" fmla="*/ 2147483647 w 156"/>
                <a:gd name="T101" fmla="*/ 2147483647 h 132"/>
                <a:gd name="T102" fmla="*/ 2147483647 w 156"/>
                <a:gd name="T103" fmla="*/ 2147483647 h 132"/>
                <a:gd name="T104" fmla="*/ 2147483647 w 156"/>
                <a:gd name="T105" fmla="*/ 2147483647 h 132"/>
                <a:gd name="T106" fmla="*/ 2147483647 w 156"/>
                <a:gd name="T107" fmla="*/ 2147483647 h 13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56"/>
                <a:gd name="T163" fmla="*/ 0 h 132"/>
                <a:gd name="T164" fmla="*/ 156 w 156"/>
                <a:gd name="T165" fmla="*/ 132 h 13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56" h="132">
                  <a:moveTo>
                    <a:pt x="6" y="54"/>
                  </a:moveTo>
                  <a:lnTo>
                    <a:pt x="12" y="54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8" y="72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12" y="102"/>
                  </a:lnTo>
                  <a:lnTo>
                    <a:pt x="18" y="102"/>
                  </a:lnTo>
                  <a:lnTo>
                    <a:pt x="18" y="108"/>
                  </a:lnTo>
                  <a:lnTo>
                    <a:pt x="24" y="114"/>
                  </a:lnTo>
                  <a:lnTo>
                    <a:pt x="24" y="108"/>
                  </a:lnTo>
                  <a:lnTo>
                    <a:pt x="30" y="108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42" y="132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0" y="114"/>
                  </a:lnTo>
                  <a:lnTo>
                    <a:pt x="60" y="108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66" y="96"/>
                  </a:lnTo>
                  <a:lnTo>
                    <a:pt x="66" y="90"/>
                  </a:lnTo>
                  <a:lnTo>
                    <a:pt x="72" y="90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6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14" y="96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2" y="84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50" y="78"/>
                  </a:lnTo>
                  <a:lnTo>
                    <a:pt x="156" y="78"/>
                  </a:lnTo>
                  <a:lnTo>
                    <a:pt x="156" y="72"/>
                  </a:lnTo>
                  <a:lnTo>
                    <a:pt x="156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44" y="42"/>
                  </a:lnTo>
                  <a:lnTo>
                    <a:pt x="138" y="42"/>
                  </a:lnTo>
                  <a:lnTo>
                    <a:pt x="138" y="36"/>
                  </a:lnTo>
                  <a:lnTo>
                    <a:pt x="132" y="36"/>
                  </a:lnTo>
                  <a:lnTo>
                    <a:pt x="132" y="30"/>
                  </a:lnTo>
                  <a:lnTo>
                    <a:pt x="132" y="24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5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7" name="Freeform 23"/>
            <p:cNvSpPr>
              <a:spLocks noChangeAspect="1"/>
            </p:cNvSpPr>
            <p:nvPr/>
          </p:nvSpPr>
          <p:spPr bwMode="auto">
            <a:xfrm>
              <a:off x="3389516" y="4620887"/>
              <a:ext cx="290640" cy="396901"/>
            </a:xfrm>
            <a:custGeom>
              <a:avLst/>
              <a:gdLst>
                <a:gd name="T0" fmla="*/ 2147483647 w 228"/>
                <a:gd name="T1" fmla="*/ 2147483647 h 312"/>
                <a:gd name="T2" fmla="*/ 2147483647 w 228"/>
                <a:gd name="T3" fmla="*/ 2147483647 h 312"/>
                <a:gd name="T4" fmla="*/ 2147483647 w 228"/>
                <a:gd name="T5" fmla="*/ 2147483647 h 312"/>
                <a:gd name="T6" fmla="*/ 2147483647 w 228"/>
                <a:gd name="T7" fmla="*/ 2147483647 h 312"/>
                <a:gd name="T8" fmla="*/ 2147483647 w 228"/>
                <a:gd name="T9" fmla="*/ 2147483647 h 312"/>
                <a:gd name="T10" fmla="*/ 2147483647 w 228"/>
                <a:gd name="T11" fmla="*/ 2147483647 h 312"/>
                <a:gd name="T12" fmla="*/ 2147483647 w 228"/>
                <a:gd name="T13" fmla="*/ 2147483647 h 312"/>
                <a:gd name="T14" fmla="*/ 2147483647 w 228"/>
                <a:gd name="T15" fmla="*/ 2147483647 h 312"/>
                <a:gd name="T16" fmla="*/ 2147483647 w 228"/>
                <a:gd name="T17" fmla="*/ 2147483647 h 312"/>
                <a:gd name="T18" fmla="*/ 2147483647 w 228"/>
                <a:gd name="T19" fmla="*/ 2147483647 h 312"/>
                <a:gd name="T20" fmla="*/ 2147483647 w 228"/>
                <a:gd name="T21" fmla="*/ 2147483647 h 312"/>
                <a:gd name="T22" fmla="*/ 2147483647 w 228"/>
                <a:gd name="T23" fmla="*/ 2147483647 h 312"/>
                <a:gd name="T24" fmla="*/ 2147483647 w 228"/>
                <a:gd name="T25" fmla="*/ 2147483647 h 312"/>
                <a:gd name="T26" fmla="*/ 2147483647 w 228"/>
                <a:gd name="T27" fmla="*/ 2147483647 h 312"/>
                <a:gd name="T28" fmla="*/ 2147483647 w 228"/>
                <a:gd name="T29" fmla="*/ 2147483647 h 312"/>
                <a:gd name="T30" fmla="*/ 2147483647 w 228"/>
                <a:gd name="T31" fmla="*/ 2147483647 h 312"/>
                <a:gd name="T32" fmla="*/ 2147483647 w 228"/>
                <a:gd name="T33" fmla="*/ 2147483647 h 312"/>
                <a:gd name="T34" fmla="*/ 2147483647 w 228"/>
                <a:gd name="T35" fmla="*/ 2147483647 h 312"/>
                <a:gd name="T36" fmla="*/ 2147483647 w 228"/>
                <a:gd name="T37" fmla="*/ 2147483647 h 312"/>
                <a:gd name="T38" fmla="*/ 2147483647 w 228"/>
                <a:gd name="T39" fmla="*/ 2147483647 h 312"/>
                <a:gd name="T40" fmla="*/ 2147483647 w 228"/>
                <a:gd name="T41" fmla="*/ 2147483647 h 312"/>
                <a:gd name="T42" fmla="*/ 2147483647 w 228"/>
                <a:gd name="T43" fmla="*/ 2147483647 h 312"/>
                <a:gd name="T44" fmla="*/ 2147483647 w 228"/>
                <a:gd name="T45" fmla="*/ 2147483647 h 312"/>
                <a:gd name="T46" fmla="*/ 2147483647 w 228"/>
                <a:gd name="T47" fmla="*/ 2147483647 h 312"/>
                <a:gd name="T48" fmla="*/ 2147483647 w 228"/>
                <a:gd name="T49" fmla="*/ 2147483647 h 312"/>
                <a:gd name="T50" fmla="*/ 2147483647 w 228"/>
                <a:gd name="T51" fmla="*/ 2147483647 h 312"/>
                <a:gd name="T52" fmla="*/ 2147483647 w 228"/>
                <a:gd name="T53" fmla="*/ 2147483647 h 312"/>
                <a:gd name="T54" fmla="*/ 2147483647 w 228"/>
                <a:gd name="T55" fmla="*/ 2147483647 h 312"/>
                <a:gd name="T56" fmla="*/ 2147483647 w 228"/>
                <a:gd name="T57" fmla="*/ 2147483647 h 312"/>
                <a:gd name="T58" fmla="*/ 2147483647 w 228"/>
                <a:gd name="T59" fmla="*/ 2147483647 h 312"/>
                <a:gd name="T60" fmla="*/ 2147483647 w 228"/>
                <a:gd name="T61" fmla="*/ 2147483647 h 312"/>
                <a:gd name="T62" fmla="*/ 2147483647 w 228"/>
                <a:gd name="T63" fmla="*/ 2147483647 h 312"/>
                <a:gd name="T64" fmla="*/ 2147483647 w 228"/>
                <a:gd name="T65" fmla="*/ 0 h 312"/>
                <a:gd name="T66" fmla="*/ 2147483647 w 228"/>
                <a:gd name="T67" fmla="*/ 2147483647 h 312"/>
                <a:gd name="T68" fmla="*/ 2147483647 w 228"/>
                <a:gd name="T69" fmla="*/ 2147483647 h 312"/>
                <a:gd name="T70" fmla="*/ 2147483647 w 228"/>
                <a:gd name="T71" fmla="*/ 2147483647 h 312"/>
                <a:gd name="T72" fmla="*/ 2147483647 w 228"/>
                <a:gd name="T73" fmla="*/ 2147483647 h 312"/>
                <a:gd name="T74" fmla="*/ 2147483647 w 228"/>
                <a:gd name="T75" fmla="*/ 2147483647 h 312"/>
                <a:gd name="T76" fmla="*/ 2147483647 w 228"/>
                <a:gd name="T77" fmla="*/ 2147483647 h 312"/>
                <a:gd name="T78" fmla="*/ 2147483647 w 228"/>
                <a:gd name="T79" fmla="*/ 2147483647 h 312"/>
                <a:gd name="T80" fmla="*/ 2147483647 w 228"/>
                <a:gd name="T81" fmla="*/ 2147483647 h 312"/>
                <a:gd name="T82" fmla="*/ 2147483647 w 228"/>
                <a:gd name="T83" fmla="*/ 2147483647 h 312"/>
                <a:gd name="T84" fmla="*/ 2147483647 w 228"/>
                <a:gd name="T85" fmla="*/ 2147483647 h 312"/>
                <a:gd name="T86" fmla="*/ 2147483647 w 228"/>
                <a:gd name="T87" fmla="*/ 2147483647 h 312"/>
                <a:gd name="T88" fmla="*/ 2147483647 w 228"/>
                <a:gd name="T89" fmla="*/ 2147483647 h 312"/>
                <a:gd name="T90" fmla="*/ 2147483647 w 228"/>
                <a:gd name="T91" fmla="*/ 2147483647 h 312"/>
                <a:gd name="T92" fmla="*/ 2147483647 w 228"/>
                <a:gd name="T93" fmla="*/ 2147483647 h 312"/>
                <a:gd name="T94" fmla="*/ 2147483647 w 228"/>
                <a:gd name="T95" fmla="*/ 2147483647 h 312"/>
                <a:gd name="T96" fmla="*/ 2147483647 w 228"/>
                <a:gd name="T97" fmla="*/ 2147483647 h 312"/>
                <a:gd name="T98" fmla="*/ 2147483647 w 228"/>
                <a:gd name="T99" fmla="*/ 2147483647 h 312"/>
                <a:gd name="T100" fmla="*/ 0 w 228"/>
                <a:gd name="T101" fmla="*/ 2147483647 h 312"/>
                <a:gd name="T102" fmla="*/ 2147483647 w 228"/>
                <a:gd name="T103" fmla="*/ 2147483647 h 312"/>
                <a:gd name="T104" fmla="*/ 2147483647 w 228"/>
                <a:gd name="T105" fmla="*/ 2147483647 h 312"/>
                <a:gd name="T106" fmla="*/ 2147483647 w 228"/>
                <a:gd name="T107" fmla="*/ 2147483647 h 312"/>
                <a:gd name="T108" fmla="*/ 2147483647 w 228"/>
                <a:gd name="T109" fmla="*/ 2147483647 h 312"/>
                <a:gd name="T110" fmla="*/ 2147483647 w 228"/>
                <a:gd name="T111" fmla="*/ 2147483647 h 312"/>
                <a:gd name="T112" fmla="*/ 2147483647 w 228"/>
                <a:gd name="T113" fmla="*/ 2147483647 h 312"/>
                <a:gd name="T114" fmla="*/ 2147483647 w 228"/>
                <a:gd name="T115" fmla="*/ 2147483647 h 31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28"/>
                <a:gd name="T175" fmla="*/ 0 h 312"/>
                <a:gd name="T176" fmla="*/ 228 w 228"/>
                <a:gd name="T177" fmla="*/ 312 h 31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28" h="312">
                  <a:moveTo>
                    <a:pt x="42" y="294"/>
                  </a:moveTo>
                  <a:lnTo>
                    <a:pt x="48" y="294"/>
                  </a:lnTo>
                  <a:lnTo>
                    <a:pt x="42" y="294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48" y="312"/>
                  </a:lnTo>
                  <a:lnTo>
                    <a:pt x="54" y="306"/>
                  </a:lnTo>
                  <a:lnTo>
                    <a:pt x="60" y="306"/>
                  </a:lnTo>
                  <a:lnTo>
                    <a:pt x="66" y="306"/>
                  </a:lnTo>
                  <a:lnTo>
                    <a:pt x="72" y="306"/>
                  </a:lnTo>
                  <a:lnTo>
                    <a:pt x="78" y="306"/>
                  </a:lnTo>
                  <a:lnTo>
                    <a:pt x="84" y="306"/>
                  </a:lnTo>
                  <a:lnTo>
                    <a:pt x="90" y="306"/>
                  </a:lnTo>
                  <a:lnTo>
                    <a:pt x="96" y="306"/>
                  </a:lnTo>
                  <a:lnTo>
                    <a:pt x="96" y="300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20" y="294"/>
                  </a:lnTo>
                  <a:lnTo>
                    <a:pt x="120" y="288"/>
                  </a:lnTo>
                  <a:lnTo>
                    <a:pt x="126" y="288"/>
                  </a:lnTo>
                  <a:lnTo>
                    <a:pt x="126" y="282"/>
                  </a:lnTo>
                  <a:lnTo>
                    <a:pt x="126" y="288"/>
                  </a:lnTo>
                  <a:lnTo>
                    <a:pt x="132" y="288"/>
                  </a:lnTo>
                  <a:lnTo>
                    <a:pt x="132" y="282"/>
                  </a:lnTo>
                  <a:lnTo>
                    <a:pt x="138" y="282"/>
                  </a:lnTo>
                  <a:lnTo>
                    <a:pt x="138" y="276"/>
                  </a:lnTo>
                  <a:lnTo>
                    <a:pt x="138" y="270"/>
                  </a:lnTo>
                  <a:lnTo>
                    <a:pt x="132" y="270"/>
                  </a:lnTo>
                  <a:lnTo>
                    <a:pt x="132" y="264"/>
                  </a:lnTo>
                  <a:lnTo>
                    <a:pt x="138" y="264"/>
                  </a:lnTo>
                  <a:lnTo>
                    <a:pt x="138" y="258"/>
                  </a:lnTo>
                  <a:lnTo>
                    <a:pt x="138" y="252"/>
                  </a:lnTo>
                  <a:lnTo>
                    <a:pt x="138" y="246"/>
                  </a:lnTo>
                  <a:lnTo>
                    <a:pt x="144" y="246"/>
                  </a:lnTo>
                  <a:lnTo>
                    <a:pt x="144" y="240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0" y="216"/>
                  </a:lnTo>
                  <a:lnTo>
                    <a:pt x="144" y="210"/>
                  </a:lnTo>
                  <a:lnTo>
                    <a:pt x="138" y="210"/>
                  </a:lnTo>
                  <a:lnTo>
                    <a:pt x="144" y="204"/>
                  </a:lnTo>
                  <a:lnTo>
                    <a:pt x="144" y="198"/>
                  </a:lnTo>
                  <a:lnTo>
                    <a:pt x="144" y="192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56" y="198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2" y="186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74" y="180"/>
                  </a:lnTo>
                  <a:lnTo>
                    <a:pt x="180" y="180"/>
                  </a:lnTo>
                  <a:lnTo>
                    <a:pt x="180" y="186"/>
                  </a:lnTo>
                  <a:lnTo>
                    <a:pt x="180" y="192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10" y="198"/>
                  </a:lnTo>
                  <a:lnTo>
                    <a:pt x="216" y="192"/>
                  </a:lnTo>
                  <a:lnTo>
                    <a:pt x="216" y="198"/>
                  </a:lnTo>
                  <a:lnTo>
                    <a:pt x="216" y="192"/>
                  </a:lnTo>
                  <a:lnTo>
                    <a:pt x="222" y="192"/>
                  </a:lnTo>
                  <a:lnTo>
                    <a:pt x="228" y="192"/>
                  </a:lnTo>
                  <a:lnTo>
                    <a:pt x="228" y="186"/>
                  </a:lnTo>
                  <a:lnTo>
                    <a:pt x="222" y="180"/>
                  </a:lnTo>
                  <a:lnTo>
                    <a:pt x="222" y="174"/>
                  </a:lnTo>
                  <a:lnTo>
                    <a:pt x="216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10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56"/>
                  </a:lnTo>
                  <a:lnTo>
                    <a:pt x="210" y="150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04" y="138"/>
                  </a:lnTo>
                  <a:lnTo>
                    <a:pt x="204" y="132"/>
                  </a:lnTo>
                  <a:lnTo>
                    <a:pt x="198" y="132"/>
                  </a:lnTo>
                  <a:lnTo>
                    <a:pt x="198" y="126"/>
                  </a:lnTo>
                  <a:lnTo>
                    <a:pt x="204" y="126"/>
                  </a:lnTo>
                  <a:lnTo>
                    <a:pt x="210" y="120"/>
                  </a:lnTo>
                  <a:lnTo>
                    <a:pt x="204" y="120"/>
                  </a:lnTo>
                  <a:lnTo>
                    <a:pt x="204" y="114"/>
                  </a:lnTo>
                  <a:lnTo>
                    <a:pt x="204" y="108"/>
                  </a:lnTo>
                  <a:lnTo>
                    <a:pt x="204" y="102"/>
                  </a:lnTo>
                  <a:lnTo>
                    <a:pt x="198" y="102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80" y="102"/>
                  </a:lnTo>
                  <a:lnTo>
                    <a:pt x="174" y="102"/>
                  </a:lnTo>
                  <a:lnTo>
                    <a:pt x="168" y="102"/>
                  </a:lnTo>
                  <a:lnTo>
                    <a:pt x="162" y="102"/>
                  </a:lnTo>
                  <a:lnTo>
                    <a:pt x="162" y="96"/>
                  </a:lnTo>
                  <a:lnTo>
                    <a:pt x="162" y="90"/>
                  </a:lnTo>
                  <a:lnTo>
                    <a:pt x="162" y="84"/>
                  </a:lnTo>
                  <a:lnTo>
                    <a:pt x="162" y="78"/>
                  </a:lnTo>
                  <a:lnTo>
                    <a:pt x="168" y="78"/>
                  </a:lnTo>
                  <a:lnTo>
                    <a:pt x="168" y="72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80" y="66"/>
                  </a:lnTo>
                  <a:lnTo>
                    <a:pt x="180" y="60"/>
                  </a:lnTo>
                  <a:lnTo>
                    <a:pt x="180" y="54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8" y="48"/>
                  </a:lnTo>
                  <a:lnTo>
                    <a:pt x="204" y="48"/>
                  </a:lnTo>
                  <a:lnTo>
                    <a:pt x="204" y="42"/>
                  </a:lnTo>
                  <a:lnTo>
                    <a:pt x="204" y="36"/>
                  </a:lnTo>
                  <a:lnTo>
                    <a:pt x="204" y="30"/>
                  </a:lnTo>
                  <a:lnTo>
                    <a:pt x="198" y="24"/>
                  </a:lnTo>
                  <a:lnTo>
                    <a:pt x="192" y="24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0"/>
                  </a:lnTo>
                  <a:lnTo>
                    <a:pt x="168" y="0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44" y="12"/>
                  </a:lnTo>
                  <a:lnTo>
                    <a:pt x="144" y="18"/>
                  </a:lnTo>
                  <a:lnTo>
                    <a:pt x="138" y="18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32" y="24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36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54" y="48"/>
                  </a:lnTo>
                  <a:lnTo>
                    <a:pt x="54" y="60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36" y="102"/>
                  </a:lnTo>
                  <a:lnTo>
                    <a:pt x="30" y="108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42" y="120"/>
                  </a:lnTo>
                  <a:lnTo>
                    <a:pt x="36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36" y="144"/>
                  </a:lnTo>
                  <a:lnTo>
                    <a:pt x="30" y="144"/>
                  </a:lnTo>
                  <a:lnTo>
                    <a:pt x="30" y="150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36" y="168"/>
                  </a:lnTo>
                  <a:lnTo>
                    <a:pt x="36" y="174"/>
                  </a:lnTo>
                  <a:lnTo>
                    <a:pt x="30" y="174"/>
                  </a:lnTo>
                  <a:lnTo>
                    <a:pt x="30" y="180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2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98"/>
                  </a:lnTo>
                  <a:lnTo>
                    <a:pt x="0" y="198"/>
                  </a:lnTo>
                  <a:lnTo>
                    <a:pt x="0" y="204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12" y="210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30" y="228"/>
                  </a:lnTo>
                  <a:lnTo>
                    <a:pt x="36" y="228"/>
                  </a:lnTo>
                  <a:lnTo>
                    <a:pt x="36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6" y="246"/>
                  </a:lnTo>
                  <a:lnTo>
                    <a:pt x="36" y="252"/>
                  </a:lnTo>
                  <a:lnTo>
                    <a:pt x="42" y="252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54" y="264"/>
                  </a:lnTo>
                  <a:lnTo>
                    <a:pt x="48" y="264"/>
                  </a:lnTo>
                  <a:lnTo>
                    <a:pt x="48" y="270"/>
                  </a:lnTo>
                  <a:lnTo>
                    <a:pt x="54" y="270"/>
                  </a:lnTo>
                  <a:lnTo>
                    <a:pt x="54" y="276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8" y="276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9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8" name="Freeform 24"/>
            <p:cNvSpPr>
              <a:spLocks noChangeAspect="1"/>
            </p:cNvSpPr>
            <p:nvPr/>
          </p:nvSpPr>
          <p:spPr bwMode="auto">
            <a:xfrm>
              <a:off x="3169386" y="4743132"/>
              <a:ext cx="288921" cy="288944"/>
            </a:xfrm>
            <a:custGeom>
              <a:avLst/>
              <a:gdLst>
                <a:gd name="T0" fmla="*/ 2147483647 w 228"/>
                <a:gd name="T1" fmla="*/ 2147483647 h 228"/>
                <a:gd name="T2" fmla="*/ 2147483647 w 228"/>
                <a:gd name="T3" fmla="*/ 2147483647 h 228"/>
                <a:gd name="T4" fmla="*/ 2147483647 w 228"/>
                <a:gd name="T5" fmla="*/ 2147483647 h 228"/>
                <a:gd name="T6" fmla="*/ 2147483647 w 228"/>
                <a:gd name="T7" fmla="*/ 2147483647 h 228"/>
                <a:gd name="T8" fmla="*/ 2147483647 w 228"/>
                <a:gd name="T9" fmla="*/ 2147483647 h 228"/>
                <a:gd name="T10" fmla="*/ 2147483647 w 228"/>
                <a:gd name="T11" fmla="*/ 2147483647 h 228"/>
                <a:gd name="T12" fmla="*/ 2147483647 w 228"/>
                <a:gd name="T13" fmla="*/ 2147483647 h 228"/>
                <a:gd name="T14" fmla="*/ 2147483647 w 228"/>
                <a:gd name="T15" fmla="*/ 2147483647 h 228"/>
                <a:gd name="T16" fmla="*/ 2147483647 w 228"/>
                <a:gd name="T17" fmla="*/ 2147483647 h 228"/>
                <a:gd name="T18" fmla="*/ 2147483647 w 228"/>
                <a:gd name="T19" fmla="*/ 2147483647 h 228"/>
                <a:gd name="T20" fmla="*/ 2147483647 w 228"/>
                <a:gd name="T21" fmla="*/ 2147483647 h 228"/>
                <a:gd name="T22" fmla="*/ 2147483647 w 228"/>
                <a:gd name="T23" fmla="*/ 2147483647 h 228"/>
                <a:gd name="T24" fmla="*/ 2147483647 w 228"/>
                <a:gd name="T25" fmla="*/ 2147483647 h 228"/>
                <a:gd name="T26" fmla="*/ 2147483647 w 228"/>
                <a:gd name="T27" fmla="*/ 2147483647 h 228"/>
                <a:gd name="T28" fmla="*/ 2147483647 w 228"/>
                <a:gd name="T29" fmla="*/ 2147483647 h 228"/>
                <a:gd name="T30" fmla="*/ 2147483647 w 228"/>
                <a:gd name="T31" fmla="*/ 2147483647 h 228"/>
                <a:gd name="T32" fmla="*/ 2147483647 w 228"/>
                <a:gd name="T33" fmla="*/ 2147483647 h 228"/>
                <a:gd name="T34" fmla="*/ 2147483647 w 228"/>
                <a:gd name="T35" fmla="*/ 2147483647 h 228"/>
                <a:gd name="T36" fmla="*/ 2147483647 w 228"/>
                <a:gd name="T37" fmla="*/ 2147483647 h 228"/>
                <a:gd name="T38" fmla="*/ 2147483647 w 228"/>
                <a:gd name="T39" fmla="*/ 2147483647 h 228"/>
                <a:gd name="T40" fmla="*/ 2147483647 w 228"/>
                <a:gd name="T41" fmla="*/ 2147483647 h 228"/>
                <a:gd name="T42" fmla="*/ 2147483647 w 228"/>
                <a:gd name="T43" fmla="*/ 2147483647 h 228"/>
                <a:gd name="T44" fmla="*/ 2147483647 w 228"/>
                <a:gd name="T45" fmla="*/ 2147483647 h 228"/>
                <a:gd name="T46" fmla="*/ 2147483647 w 228"/>
                <a:gd name="T47" fmla="*/ 2147483647 h 228"/>
                <a:gd name="T48" fmla="*/ 2147483647 w 228"/>
                <a:gd name="T49" fmla="*/ 2147483647 h 228"/>
                <a:gd name="T50" fmla="*/ 2147483647 w 228"/>
                <a:gd name="T51" fmla="*/ 2147483647 h 228"/>
                <a:gd name="T52" fmla="*/ 2147483647 w 228"/>
                <a:gd name="T53" fmla="*/ 2147483647 h 228"/>
                <a:gd name="T54" fmla="*/ 2147483647 w 228"/>
                <a:gd name="T55" fmla="*/ 2147483647 h 228"/>
                <a:gd name="T56" fmla="*/ 2147483647 w 228"/>
                <a:gd name="T57" fmla="*/ 0 h 228"/>
                <a:gd name="T58" fmla="*/ 2147483647 w 228"/>
                <a:gd name="T59" fmla="*/ 0 h 228"/>
                <a:gd name="T60" fmla="*/ 2147483647 w 228"/>
                <a:gd name="T61" fmla="*/ 0 h 228"/>
                <a:gd name="T62" fmla="*/ 2147483647 w 228"/>
                <a:gd name="T63" fmla="*/ 2147483647 h 228"/>
                <a:gd name="T64" fmla="*/ 2147483647 w 228"/>
                <a:gd name="T65" fmla="*/ 2147483647 h 228"/>
                <a:gd name="T66" fmla="*/ 2147483647 w 228"/>
                <a:gd name="T67" fmla="*/ 2147483647 h 228"/>
                <a:gd name="T68" fmla="*/ 2147483647 w 228"/>
                <a:gd name="T69" fmla="*/ 2147483647 h 228"/>
                <a:gd name="T70" fmla="*/ 2147483647 w 228"/>
                <a:gd name="T71" fmla="*/ 2147483647 h 228"/>
                <a:gd name="T72" fmla="*/ 2147483647 w 228"/>
                <a:gd name="T73" fmla="*/ 2147483647 h 228"/>
                <a:gd name="T74" fmla="*/ 2147483647 w 228"/>
                <a:gd name="T75" fmla="*/ 2147483647 h 228"/>
                <a:gd name="T76" fmla="*/ 2147483647 w 228"/>
                <a:gd name="T77" fmla="*/ 2147483647 h 228"/>
                <a:gd name="T78" fmla="*/ 2147483647 w 228"/>
                <a:gd name="T79" fmla="*/ 2147483647 h 228"/>
                <a:gd name="T80" fmla="*/ 2147483647 w 228"/>
                <a:gd name="T81" fmla="*/ 2147483647 h 228"/>
                <a:gd name="T82" fmla="*/ 2147483647 w 228"/>
                <a:gd name="T83" fmla="*/ 2147483647 h 228"/>
                <a:gd name="T84" fmla="*/ 2147483647 w 228"/>
                <a:gd name="T85" fmla="*/ 2147483647 h 228"/>
                <a:gd name="T86" fmla="*/ 2147483647 w 228"/>
                <a:gd name="T87" fmla="*/ 2147483647 h 228"/>
                <a:gd name="T88" fmla="*/ 2147483647 w 228"/>
                <a:gd name="T89" fmla="*/ 2147483647 h 228"/>
                <a:gd name="T90" fmla="*/ 2147483647 w 228"/>
                <a:gd name="T91" fmla="*/ 2147483647 h 228"/>
                <a:gd name="T92" fmla="*/ 2147483647 w 228"/>
                <a:gd name="T93" fmla="*/ 2147483647 h 228"/>
                <a:gd name="T94" fmla="*/ 2147483647 w 228"/>
                <a:gd name="T95" fmla="*/ 2147483647 h 228"/>
                <a:gd name="T96" fmla="*/ 2147483647 w 228"/>
                <a:gd name="T97" fmla="*/ 2147483647 h 228"/>
                <a:gd name="T98" fmla="*/ 2147483647 w 228"/>
                <a:gd name="T99" fmla="*/ 2147483647 h 22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28"/>
                <a:gd name="T151" fmla="*/ 0 h 228"/>
                <a:gd name="T152" fmla="*/ 228 w 228"/>
                <a:gd name="T153" fmla="*/ 228 h 22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28" h="228">
                  <a:moveTo>
                    <a:pt x="30" y="210"/>
                  </a:moveTo>
                  <a:lnTo>
                    <a:pt x="36" y="210"/>
                  </a:lnTo>
                  <a:lnTo>
                    <a:pt x="42" y="210"/>
                  </a:lnTo>
                  <a:lnTo>
                    <a:pt x="48" y="210"/>
                  </a:lnTo>
                  <a:lnTo>
                    <a:pt x="48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6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22"/>
                  </a:lnTo>
                  <a:lnTo>
                    <a:pt x="72" y="216"/>
                  </a:lnTo>
                  <a:lnTo>
                    <a:pt x="78" y="216"/>
                  </a:lnTo>
                  <a:lnTo>
                    <a:pt x="78" y="210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8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6" y="186"/>
                  </a:lnTo>
                  <a:lnTo>
                    <a:pt x="102" y="186"/>
                  </a:lnTo>
                  <a:lnTo>
                    <a:pt x="108" y="186"/>
                  </a:lnTo>
                  <a:lnTo>
                    <a:pt x="114" y="186"/>
                  </a:lnTo>
                  <a:lnTo>
                    <a:pt x="114" y="180"/>
                  </a:lnTo>
                  <a:lnTo>
                    <a:pt x="120" y="180"/>
                  </a:lnTo>
                  <a:lnTo>
                    <a:pt x="120" y="174"/>
                  </a:lnTo>
                  <a:lnTo>
                    <a:pt x="120" y="180"/>
                  </a:lnTo>
                  <a:lnTo>
                    <a:pt x="126" y="180"/>
                  </a:lnTo>
                  <a:lnTo>
                    <a:pt x="126" y="186"/>
                  </a:lnTo>
                  <a:lnTo>
                    <a:pt x="132" y="186"/>
                  </a:lnTo>
                  <a:lnTo>
                    <a:pt x="132" y="192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44" y="198"/>
                  </a:lnTo>
                  <a:lnTo>
                    <a:pt x="150" y="198"/>
                  </a:lnTo>
                  <a:lnTo>
                    <a:pt x="156" y="198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8" y="198"/>
                  </a:lnTo>
                  <a:lnTo>
                    <a:pt x="174" y="198"/>
                  </a:lnTo>
                  <a:lnTo>
                    <a:pt x="180" y="198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198" y="210"/>
                  </a:lnTo>
                  <a:lnTo>
                    <a:pt x="204" y="210"/>
                  </a:lnTo>
                  <a:lnTo>
                    <a:pt x="204" y="204"/>
                  </a:lnTo>
                  <a:lnTo>
                    <a:pt x="210" y="204"/>
                  </a:lnTo>
                  <a:lnTo>
                    <a:pt x="210" y="198"/>
                  </a:lnTo>
                  <a:lnTo>
                    <a:pt x="216" y="198"/>
                  </a:lnTo>
                  <a:lnTo>
                    <a:pt x="222" y="192"/>
                  </a:lnTo>
                  <a:lnTo>
                    <a:pt x="222" y="186"/>
                  </a:lnTo>
                  <a:lnTo>
                    <a:pt x="222" y="180"/>
                  </a:lnTo>
                  <a:lnTo>
                    <a:pt x="216" y="180"/>
                  </a:lnTo>
                  <a:lnTo>
                    <a:pt x="222" y="180"/>
                  </a:lnTo>
                  <a:lnTo>
                    <a:pt x="228" y="180"/>
                  </a:lnTo>
                  <a:lnTo>
                    <a:pt x="228" y="174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28" y="162"/>
                  </a:lnTo>
                  <a:lnTo>
                    <a:pt x="222" y="156"/>
                  </a:lnTo>
                  <a:lnTo>
                    <a:pt x="216" y="156"/>
                  </a:lnTo>
                  <a:lnTo>
                    <a:pt x="210" y="156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0" y="132"/>
                  </a:lnTo>
                  <a:lnTo>
                    <a:pt x="204" y="132"/>
                  </a:lnTo>
                  <a:lnTo>
                    <a:pt x="198" y="126"/>
                  </a:lnTo>
                  <a:lnTo>
                    <a:pt x="198" y="120"/>
                  </a:lnTo>
                  <a:lnTo>
                    <a:pt x="192" y="120"/>
                  </a:lnTo>
                  <a:lnTo>
                    <a:pt x="192" y="114"/>
                  </a:lnTo>
                  <a:lnTo>
                    <a:pt x="186" y="114"/>
                  </a:lnTo>
                  <a:lnTo>
                    <a:pt x="180" y="114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96"/>
                  </a:lnTo>
                  <a:lnTo>
                    <a:pt x="198" y="96"/>
                  </a:lnTo>
                  <a:lnTo>
                    <a:pt x="198" y="90"/>
                  </a:lnTo>
                  <a:lnTo>
                    <a:pt x="204" y="90"/>
                  </a:lnTo>
                  <a:lnTo>
                    <a:pt x="204" y="84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0" y="72"/>
                  </a:lnTo>
                  <a:lnTo>
                    <a:pt x="21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04" y="60"/>
                  </a:lnTo>
                  <a:lnTo>
                    <a:pt x="204" y="54"/>
                  </a:lnTo>
                  <a:lnTo>
                    <a:pt x="204" y="48"/>
                  </a:lnTo>
                  <a:lnTo>
                    <a:pt x="210" y="48"/>
                  </a:lnTo>
                  <a:lnTo>
                    <a:pt x="204" y="42"/>
                  </a:lnTo>
                  <a:lnTo>
                    <a:pt x="210" y="36"/>
                  </a:lnTo>
                  <a:lnTo>
                    <a:pt x="210" y="30"/>
                  </a:lnTo>
                  <a:lnTo>
                    <a:pt x="216" y="24"/>
                  </a:lnTo>
                  <a:lnTo>
                    <a:pt x="216" y="18"/>
                  </a:lnTo>
                  <a:lnTo>
                    <a:pt x="210" y="18"/>
                  </a:lnTo>
                  <a:lnTo>
                    <a:pt x="210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6"/>
                  </a:lnTo>
                  <a:lnTo>
                    <a:pt x="192" y="6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74" y="6"/>
                  </a:lnTo>
                  <a:lnTo>
                    <a:pt x="174" y="0"/>
                  </a:lnTo>
                  <a:lnTo>
                    <a:pt x="168" y="0"/>
                  </a:lnTo>
                  <a:lnTo>
                    <a:pt x="162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8" y="24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60"/>
                  </a:lnTo>
                  <a:lnTo>
                    <a:pt x="72" y="60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2"/>
                  </a:lnTo>
                  <a:lnTo>
                    <a:pt x="84" y="108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8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0" y="114"/>
                  </a:lnTo>
                  <a:lnTo>
                    <a:pt x="60" y="108"/>
                  </a:lnTo>
                  <a:lnTo>
                    <a:pt x="60" y="114"/>
                  </a:lnTo>
                  <a:lnTo>
                    <a:pt x="54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20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0" y="114"/>
                  </a:lnTo>
                  <a:lnTo>
                    <a:pt x="24" y="114"/>
                  </a:lnTo>
                  <a:lnTo>
                    <a:pt x="18" y="114"/>
                  </a:lnTo>
                  <a:lnTo>
                    <a:pt x="12" y="114"/>
                  </a:lnTo>
                  <a:lnTo>
                    <a:pt x="6" y="120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6" y="126"/>
                  </a:lnTo>
                  <a:lnTo>
                    <a:pt x="6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12" y="144"/>
                  </a:lnTo>
                  <a:lnTo>
                    <a:pt x="12" y="150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24" y="168"/>
                  </a:lnTo>
                  <a:lnTo>
                    <a:pt x="30" y="168"/>
                  </a:lnTo>
                  <a:lnTo>
                    <a:pt x="30" y="174"/>
                  </a:lnTo>
                  <a:lnTo>
                    <a:pt x="30" y="180"/>
                  </a:lnTo>
                  <a:lnTo>
                    <a:pt x="36" y="180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30" y="192"/>
                  </a:lnTo>
                  <a:lnTo>
                    <a:pt x="30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30" y="210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9" name="Freeform 25"/>
            <p:cNvSpPr>
              <a:spLocks noChangeAspect="1"/>
            </p:cNvSpPr>
            <p:nvPr/>
          </p:nvSpPr>
          <p:spPr bwMode="auto">
            <a:xfrm>
              <a:off x="3435950" y="4917768"/>
              <a:ext cx="350833" cy="228615"/>
            </a:xfrm>
            <a:custGeom>
              <a:avLst/>
              <a:gdLst>
                <a:gd name="T0" fmla="*/ 2147483647 w 276"/>
                <a:gd name="T1" fmla="*/ 2147483647 h 180"/>
                <a:gd name="T2" fmla="*/ 2147483647 w 276"/>
                <a:gd name="T3" fmla="*/ 2147483647 h 180"/>
                <a:gd name="T4" fmla="*/ 2147483647 w 276"/>
                <a:gd name="T5" fmla="*/ 2147483647 h 180"/>
                <a:gd name="T6" fmla="*/ 2147483647 w 276"/>
                <a:gd name="T7" fmla="*/ 2147483647 h 180"/>
                <a:gd name="T8" fmla="*/ 2147483647 w 276"/>
                <a:gd name="T9" fmla="*/ 2147483647 h 180"/>
                <a:gd name="T10" fmla="*/ 2147483647 w 276"/>
                <a:gd name="T11" fmla="*/ 2147483647 h 180"/>
                <a:gd name="T12" fmla="*/ 2147483647 w 276"/>
                <a:gd name="T13" fmla="*/ 2147483647 h 180"/>
                <a:gd name="T14" fmla="*/ 2147483647 w 276"/>
                <a:gd name="T15" fmla="*/ 2147483647 h 180"/>
                <a:gd name="T16" fmla="*/ 2147483647 w 276"/>
                <a:gd name="T17" fmla="*/ 2147483647 h 180"/>
                <a:gd name="T18" fmla="*/ 2147483647 w 276"/>
                <a:gd name="T19" fmla="*/ 2147483647 h 180"/>
                <a:gd name="T20" fmla="*/ 2147483647 w 276"/>
                <a:gd name="T21" fmla="*/ 2147483647 h 180"/>
                <a:gd name="T22" fmla="*/ 2147483647 w 276"/>
                <a:gd name="T23" fmla="*/ 2147483647 h 180"/>
                <a:gd name="T24" fmla="*/ 2147483647 w 276"/>
                <a:gd name="T25" fmla="*/ 2147483647 h 180"/>
                <a:gd name="T26" fmla="*/ 2147483647 w 276"/>
                <a:gd name="T27" fmla="*/ 2147483647 h 180"/>
                <a:gd name="T28" fmla="*/ 2147483647 w 276"/>
                <a:gd name="T29" fmla="*/ 2147483647 h 180"/>
                <a:gd name="T30" fmla="*/ 2147483647 w 276"/>
                <a:gd name="T31" fmla="*/ 2147483647 h 180"/>
                <a:gd name="T32" fmla="*/ 2147483647 w 276"/>
                <a:gd name="T33" fmla="*/ 2147483647 h 180"/>
                <a:gd name="T34" fmla="*/ 2147483647 w 276"/>
                <a:gd name="T35" fmla="*/ 2147483647 h 180"/>
                <a:gd name="T36" fmla="*/ 2147483647 w 276"/>
                <a:gd name="T37" fmla="*/ 2147483647 h 180"/>
                <a:gd name="T38" fmla="*/ 2147483647 w 276"/>
                <a:gd name="T39" fmla="*/ 2147483647 h 180"/>
                <a:gd name="T40" fmla="*/ 2147483647 w 276"/>
                <a:gd name="T41" fmla="*/ 2147483647 h 180"/>
                <a:gd name="T42" fmla="*/ 2147483647 w 276"/>
                <a:gd name="T43" fmla="*/ 2147483647 h 180"/>
                <a:gd name="T44" fmla="*/ 2147483647 w 276"/>
                <a:gd name="T45" fmla="*/ 2147483647 h 180"/>
                <a:gd name="T46" fmla="*/ 2147483647 w 276"/>
                <a:gd name="T47" fmla="*/ 2147483647 h 180"/>
                <a:gd name="T48" fmla="*/ 2147483647 w 276"/>
                <a:gd name="T49" fmla="*/ 2147483647 h 180"/>
                <a:gd name="T50" fmla="*/ 2147483647 w 276"/>
                <a:gd name="T51" fmla="*/ 2147483647 h 180"/>
                <a:gd name="T52" fmla="*/ 2147483647 w 276"/>
                <a:gd name="T53" fmla="*/ 2147483647 h 180"/>
                <a:gd name="T54" fmla="*/ 2147483647 w 276"/>
                <a:gd name="T55" fmla="*/ 2147483647 h 180"/>
                <a:gd name="T56" fmla="*/ 2147483647 w 276"/>
                <a:gd name="T57" fmla="*/ 2147483647 h 180"/>
                <a:gd name="T58" fmla="*/ 2147483647 w 276"/>
                <a:gd name="T59" fmla="*/ 2147483647 h 180"/>
                <a:gd name="T60" fmla="*/ 2147483647 w 276"/>
                <a:gd name="T61" fmla="*/ 2147483647 h 180"/>
                <a:gd name="T62" fmla="*/ 2147483647 w 276"/>
                <a:gd name="T63" fmla="*/ 2147483647 h 180"/>
                <a:gd name="T64" fmla="*/ 2147483647 w 276"/>
                <a:gd name="T65" fmla="*/ 2147483647 h 180"/>
                <a:gd name="T66" fmla="*/ 2147483647 w 276"/>
                <a:gd name="T67" fmla="*/ 2147483647 h 180"/>
                <a:gd name="T68" fmla="*/ 2147483647 w 276"/>
                <a:gd name="T69" fmla="*/ 2147483647 h 180"/>
                <a:gd name="T70" fmla="*/ 2147483647 w 276"/>
                <a:gd name="T71" fmla="*/ 2147483647 h 180"/>
                <a:gd name="T72" fmla="*/ 2147483647 w 276"/>
                <a:gd name="T73" fmla="*/ 2147483647 h 180"/>
                <a:gd name="T74" fmla="*/ 2147483647 w 276"/>
                <a:gd name="T75" fmla="*/ 2147483647 h 180"/>
                <a:gd name="T76" fmla="*/ 2147483647 w 276"/>
                <a:gd name="T77" fmla="*/ 2147483647 h 180"/>
                <a:gd name="T78" fmla="*/ 2147483647 w 276"/>
                <a:gd name="T79" fmla="*/ 2147483647 h 180"/>
                <a:gd name="T80" fmla="*/ 2147483647 w 276"/>
                <a:gd name="T81" fmla="*/ 2147483647 h 180"/>
                <a:gd name="T82" fmla="*/ 2147483647 w 276"/>
                <a:gd name="T83" fmla="*/ 2147483647 h 180"/>
                <a:gd name="T84" fmla="*/ 2147483647 w 276"/>
                <a:gd name="T85" fmla="*/ 0 h 180"/>
                <a:gd name="T86" fmla="*/ 2147483647 w 276"/>
                <a:gd name="T87" fmla="*/ 2147483647 h 180"/>
                <a:gd name="T88" fmla="*/ 2147483647 w 276"/>
                <a:gd name="T89" fmla="*/ 2147483647 h 180"/>
                <a:gd name="T90" fmla="*/ 2147483647 w 276"/>
                <a:gd name="T91" fmla="*/ 2147483647 h 180"/>
                <a:gd name="T92" fmla="*/ 2147483647 w 276"/>
                <a:gd name="T93" fmla="*/ 2147483647 h 180"/>
                <a:gd name="T94" fmla="*/ 2147483647 w 276"/>
                <a:gd name="T95" fmla="*/ 2147483647 h 180"/>
                <a:gd name="T96" fmla="*/ 2147483647 w 276"/>
                <a:gd name="T97" fmla="*/ 2147483647 h 180"/>
                <a:gd name="T98" fmla="*/ 2147483647 w 276"/>
                <a:gd name="T99" fmla="*/ 2147483647 h 180"/>
                <a:gd name="T100" fmla="*/ 2147483647 w 276"/>
                <a:gd name="T101" fmla="*/ 2147483647 h 180"/>
                <a:gd name="T102" fmla="*/ 2147483647 w 276"/>
                <a:gd name="T103" fmla="*/ 2147483647 h 180"/>
                <a:gd name="T104" fmla="*/ 2147483647 w 276"/>
                <a:gd name="T105" fmla="*/ 2147483647 h 180"/>
                <a:gd name="T106" fmla="*/ 2147483647 w 276"/>
                <a:gd name="T107" fmla="*/ 2147483647 h 180"/>
                <a:gd name="T108" fmla="*/ 2147483647 w 276"/>
                <a:gd name="T109" fmla="*/ 2147483647 h 18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6"/>
                <a:gd name="T166" fmla="*/ 0 h 180"/>
                <a:gd name="T167" fmla="*/ 276 w 276"/>
                <a:gd name="T168" fmla="*/ 180 h 18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6" h="180">
                  <a:moveTo>
                    <a:pt x="6" y="168"/>
                  </a:moveTo>
                  <a:lnTo>
                    <a:pt x="12" y="162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54" y="162"/>
                  </a:lnTo>
                  <a:lnTo>
                    <a:pt x="54" y="168"/>
                  </a:lnTo>
                  <a:lnTo>
                    <a:pt x="60" y="168"/>
                  </a:lnTo>
                  <a:lnTo>
                    <a:pt x="66" y="168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84" y="168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102" y="168"/>
                  </a:lnTo>
                  <a:lnTo>
                    <a:pt x="108" y="174"/>
                  </a:lnTo>
                  <a:lnTo>
                    <a:pt x="114" y="174"/>
                  </a:lnTo>
                  <a:lnTo>
                    <a:pt x="120" y="174"/>
                  </a:lnTo>
                  <a:lnTo>
                    <a:pt x="120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6" y="162"/>
                  </a:lnTo>
                  <a:lnTo>
                    <a:pt x="126" y="156"/>
                  </a:lnTo>
                  <a:lnTo>
                    <a:pt x="132" y="156"/>
                  </a:lnTo>
                  <a:lnTo>
                    <a:pt x="132" y="150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44" y="138"/>
                  </a:lnTo>
                  <a:lnTo>
                    <a:pt x="138" y="132"/>
                  </a:lnTo>
                  <a:lnTo>
                    <a:pt x="144" y="132"/>
                  </a:lnTo>
                  <a:lnTo>
                    <a:pt x="144" y="126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62" y="114"/>
                  </a:lnTo>
                  <a:lnTo>
                    <a:pt x="168" y="114"/>
                  </a:lnTo>
                  <a:lnTo>
                    <a:pt x="168" y="108"/>
                  </a:lnTo>
                  <a:lnTo>
                    <a:pt x="174" y="108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68" y="108"/>
                  </a:lnTo>
                  <a:lnTo>
                    <a:pt x="168" y="102"/>
                  </a:lnTo>
                  <a:lnTo>
                    <a:pt x="174" y="96"/>
                  </a:lnTo>
                  <a:lnTo>
                    <a:pt x="174" y="90"/>
                  </a:lnTo>
                  <a:lnTo>
                    <a:pt x="180" y="90"/>
                  </a:lnTo>
                  <a:lnTo>
                    <a:pt x="186" y="90"/>
                  </a:lnTo>
                  <a:lnTo>
                    <a:pt x="192" y="90"/>
                  </a:lnTo>
                  <a:lnTo>
                    <a:pt x="198" y="84"/>
                  </a:lnTo>
                  <a:lnTo>
                    <a:pt x="204" y="84"/>
                  </a:lnTo>
                  <a:lnTo>
                    <a:pt x="204" y="90"/>
                  </a:lnTo>
                  <a:lnTo>
                    <a:pt x="210" y="90"/>
                  </a:lnTo>
                  <a:lnTo>
                    <a:pt x="216" y="90"/>
                  </a:lnTo>
                  <a:lnTo>
                    <a:pt x="222" y="90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28" y="102"/>
                  </a:lnTo>
                  <a:lnTo>
                    <a:pt x="228" y="108"/>
                  </a:lnTo>
                  <a:lnTo>
                    <a:pt x="222" y="108"/>
                  </a:lnTo>
                  <a:lnTo>
                    <a:pt x="216" y="108"/>
                  </a:lnTo>
                  <a:lnTo>
                    <a:pt x="210" y="108"/>
                  </a:lnTo>
                  <a:lnTo>
                    <a:pt x="210" y="114"/>
                  </a:lnTo>
                  <a:lnTo>
                    <a:pt x="210" y="120"/>
                  </a:lnTo>
                  <a:lnTo>
                    <a:pt x="216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16" y="138"/>
                  </a:lnTo>
                  <a:lnTo>
                    <a:pt x="210" y="138"/>
                  </a:lnTo>
                  <a:lnTo>
                    <a:pt x="210" y="144"/>
                  </a:lnTo>
                  <a:lnTo>
                    <a:pt x="216" y="150"/>
                  </a:lnTo>
                  <a:lnTo>
                    <a:pt x="210" y="150"/>
                  </a:lnTo>
                  <a:lnTo>
                    <a:pt x="210" y="156"/>
                  </a:lnTo>
                  <a:lnTo>
                    <a:pt x="210" y="162"/>
                  </a:lnTo>
                  <a:lnTo>
                    <a:pt x="216" y="162"/>
                  </a:lnTo>
                  <a:lnTo>
                    <a:pt x="216" y="168"/>
                  </a:lnTo>
                  <a:lnTo>
                    <a:pt x="222" y="168"/>
                  </a:lnTo>
                  <a:lnTo>
                    <a:pt x="216" y="168"/>
                  </a:lnTo>
                  <a:lnTo>
                    <a:pt x="216" y="174"/>
                  </a:lnTo>
                  <a:lnTo>
                    <a:pt x="222" y="174"/>
                  </a:lnTo>
                  <a:lnTo>
                    <a:pt x="228" y="180"/>
                  </a:lnTo>
                  <a:lnTo>
                    <a:pt x="234" y="174"/>
                  </a:lnTo>
                  <a:lnTo>
                    <a:pt x="240" y="174"/>
                  </a:lnTo>
                  <a:lnTo>
                    <a:pt x="240" y="168"/>
                  </a:lnTo>
                  <a:lnTo>
                    <a:pt x="246" y="168"/>
                  </a:lnTo>
                  <a:lnTo>
                    <a:pt x="252" y="168"/>
                  </a:lnTo>
                  <a:lnTo>
                    <a:pt x="252" y="162"/>
                  </a:lnTo>
                  <a:lnTo>
                    <a:pt x="246" y="162"/>
                  </a:lnTo>
                  <a:lnTo>
                    <a:pt x="252" y="162"/>
                  </a:lnTo>
                  <a:lnTo>
                    <a:pt x="252" y="156"/>
                  </a:lnTo>
                  <a:lnTo>
                    <a:pt x="252" y="150"/>
                  </a:lnTo>
                  <a:lnTo>
                    <a:pt x="258" y="150"/>
                  </a:lnTo>
                  <a:lnTo>
                    <a:pt x="264" y="144"/>
                  </a:lnTo>
                  <a:lnTo>
                    <a:pt x="264" y="138"/>
                  </a:lnTo>
                  <a:lnTo>
                    <a:pt x="264" y="132"/>
                  </a:lnTo>
                  <a:lnTo>
                    <a:pt x="270" y="132"/>
                  </a:lnTo>
                  <a:lnTo>
                    <a:pt x="276" y="126"/>
                  </a:lnTo>
                  <a:lnTo>
                    <a:pt x="270" y="126"/>
                  </a:lnTo>
                  <a:lnTo>
                    <a:pt x="276" y="126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70" y="114"/>
                  </a:lnTo>
                  <a:lnTo>
                    <a:pt x="264" y="114"/>
                  </a:lnTo>
                  <a:lnTo>
                    <a:pt x="264" y="108"/>
                  </a:lnTo>
                  <a:lnTo>
                    <a:pt x="264" y="102"/>
                  </a:lnTo>
                  <a:lnTo>
                    <a:pt x="258" y="102"/>
                  </a:lnTo>
                  <a:lnTo>
                    <a:pt x="258" y="96"/>
                  </a:lnTo>
                  <a:lnTo>
                    <a:pt x="258" y="90"/>
                  </a:lnTo>
                  <a:lnTo>
                    <a:pt x="264" y="90"/>
                  </a:lnTo>
                  <a:lnTo>
                    <a:pt x="264" y="84"/>
                  </a:lnTo>
                  <a:lnTo>
                    <a:pt x="258" y="84"/>
                  </a:lnTo>
                  <a:lnTo>
                    <a:pt x="252" y="84"/>
                  </a:lnTo>
                  <a:lnTo>
                    <a:pt x="252" y="78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46" y="54"/>
                  </a:lnTo>
                  <a:lnTo>
                    <a:pt x="246" y="48"/>
                  </a:lnTo>
                  <a:lnTo>
                    <a:pt x="240" y="42"/>
                  </a:lnTo>
                  <a:lnTo>
                    <a:pt x="234" y="42"/>
                  </a:lnTo>
                  <a:lnTo>
                    <a:pt x="228" y="42"/>
                  </a:lnTo>
                  <a:lnTo>
                    <a:pt x="222" y="42"/>
                  </a:lnTo>
                  <a:lnTo>
                    <a:pt x="216" y="42"/>
                  </a:lnTo>
                  <a:lnTo>
                    <a:pt x="210" y="48"/>
                  </a:lnTo>
                  <a:lnTo>
                    <a:pt x="204" y="48"/>
                  </a:lnTo>
                  <a:lnTo>
                    <a:pt x="198" y="48"/>
                  </a:lnTo>
                  <a:lnTo>
                    <a:pt x="192" y="48"/>
                  </a:lnTo>
                  <a:lnTo>
                    <a:pt x="186" y="42"/>
                  </a:lnTo>
                  <a:lnTo>
                    <a:pt x="180" y="42"/>
                  </a:lnTo>
                  <a:lnTo>
                    <a:pt x="174" y="36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68" y="72"/>
                  </a:lnTo>
                  <a:lnTo>
                    <a:pt x="168" y="78"/>
                  </a:lnTo>
                  <a:lnTo>
                    <a:pt x="162" y="78"/>
                  </a:lnTo>
                  <a:lnTo>
                    <a:pt x="156" y="78"/>
                  </a:lnTo>
                  <a:lnTo>
                    <a:pt x="150" y="78"/>
                  </a:lnTo>
                  <a:lnTo>
                    <a:pt x="144" y="78"/>
                  </a:lnTo>
                  <a:lnTo>
                    <a:pt x="144" y="72"/>
                  </a:lnTo>
                  <a:lnTo>
                    <a:pt x="144" y="66"/>
                  </a:lnTo>
                  <a:lnTo>
                    <a:pt x="138" y="66"/>
                  </a:lnTo>
                  <a:lnTo>
                    <a:pt x="138" y="60"/>
                  </a:lnTo>
                  <a:lnTo>
                    <a:pt x="138" y="54"/>
                  </a:lnTo>
                  <a:lnTo>
                    <a:pt x="132" y="54"/>
                  </a:lnTo>
                  <a:lnTo>
                    <a:pt x="126" y="54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14" y="48"/>
                  </a:lnTo>
                  <a:lnTo>
                    <a:pt x="120" y="42"/>
                  </a:lnTo>
                  <a:lnTo>
                    <a:pt x="120" y="36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02" y="42"/>
                  </a:lnTo>
                  <a:lnTo>
                    <a:pt x="102" y="48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0" y="54"/>
                  </a:lnTo>
                  <a:lnTo>
                    <a:pt x="90" y="48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84" y="60"/>
                  </a:lnTo>
                  <a:lnTo>
                    <a:pt x="78" y="60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60" y="72"/>
                  </a:lnTo>
                  <a:lnTo>
                    <a:pt x="54" y="72"/>
                  </a:lnTo>
                  <a:lnTo>
                    <a:pt x="54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84"/>
                  </a:lnTo>
                  <a:lnTo>
                    <a:pt x="48" y="90"/>
                  </a:lnTo>
                  <a:lnTo>
                    <a:pt x="48" y="96"/>
                  </a:lnTo>
                  <a:lnTo>
                    <a:pt x="42" y="96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30" y="120"/>
                  </a:lnTo>
                  <a:lnTo>
                    <a:pt x="30" y="126"/>
                  </a:lnTo>
                  <a:lnTo>
                    <a:pt x="24" y="132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6" y="156"/>
                  </a:lnTo>
                  <a:lnTo>
                    <a:pt x="6" y="162"/>
                  </a:lnTo>
                  <a:lnTo>
                    <a:pt x="6" y="168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0" name="Freeform 26"/>
            <p:cNvSpPr>
              <a:spLocks noChangeAspect="1"/>
            </p:cNvSpPr>
            <p:nvPr/>
          </p:nvSpPr>
          <p:spPr bwMode="auto">
            <a:xfrm>
              <a:off x="3260533" y="4963809"/>
              <a:ext cx="244207" cy="182574"/>
            </a:xfrm>
            <a:custGeom>
              <a:avLst/>
              <a:gdLst>
                <a:gd name="T0" fmla="*/ 2147483647 w 192"/>
                <a:gd name="T1" fmla="*/ 2147483647 h 144"/>
                <a:gd name="T2" fmla="*/ 2147483647 w 192"/>
                <a:gd name="T3" fmla="*/ 2147483647 h 144"/>
                <a:gd name="T4" fmla="*/ 2147483647 w 192"/>
                <a:gd name="T5" fmla="*/ 2147483647 h 144"/>
                <a:gd name="T6" fmla="*/ 2147483647 w 192"/>
                <a:gd name="T7" fmla="*/ 2147483647 h 144"/>
                <a:gd name="T8" fmla="*/ 2147483647 w 192"/>
                <a:gd name="T9" fmla="*/ 2147483647 h 144"/>
                <a:gd name="T10" fmla="*/ 2147483647 w 192"/>
                <a:gd name="T11" fmla="*/ 2147483647 h 144"/>
                <a:gd name="T12" fmla="*/ 2147483647 w 192"/>
                <a:gd name="T13" fmla="*/ 2147483647 h 144"/>
                <a:gd name="T14" fmla="*/ 2147483647 w 192"/>
                <a:gd name="T15" fmla="*/ 2147483647 h 144"/>
                <a:gd name="T16" fmla="*/ 2147483647 w 192"/>
                <a:gd name="T17" fmla="*/ 2147483647 h 144"/>
                <a:gd name="T18" fmla="*/ 2147483647 w 192"/>
                <a:gd name="T19" fmla="*/ 2147483647 h 144"/>
                <a:gd name="T20" fmla="*/ 2147483647 w 192"/>
                <a:gd name="T21" fmla="*/ 2147483647 h 144"/>
                <a:gd name="T22" fmla="*/ 2147483647 w 192"/>
                <a:gd name="T23" fmla="*/ 2147483647 h 144"/>
                <a:gd name="T24" fmla="*/ 2147483647 w 192"/>
                <a:gd name="T25" fmla="*/ 2147483647 h 144"/>
                <a:gd name="T26" fmla="*/ 2147483647 w 192"/>
                <a:gd name="T27" fmla="*/ 2147483647 h 144"/>
                <a:gd name="T28" fmla="*/ 2147483647 w 192"/>
                <a:gd name="T29" fmla="*/ 2147483647 h 144"/>
                <a:gd name="T30" fmla="*/ 2147483647 w 192"/>
                <a:gd name="T31" fmla="*/ 2147483647 h 144"/>
                <a:gd name="T32" fmla="*/ 2147483647 w 192"/>
                <a:gd name="T33" fmla="*/ 2147483647 h 144"/>
                <a:gd name="T34" fmla="*/ 2147483647 w 192"/>
                <a:gd name="T35" fmla="*/ 2147483647 h 144"/>
                <a:gd name="T36" fmla="*/ 2147483647 w 192"/>
                <a:gd name="T37" fmla="*/ 2147483647 h 144"/>
                <a:gd name="T38" fmla="*/ 2147483647 w 192"/>
                <a:gd name="T39" fmla="*/ 2147483647 h 144"/>
                <a:gd name="T40" fmla="*/ 2147483647 w 192"/>
                <a:gd name="T41" fmla="*/ 2147483647 h 144"/>
                <a:gd name="T42" fmla="*/ 2147483647 w 192"/>
                <a:gd name="T43" fmla="*/ 2147483647 h 144"/>
                <a:gd name="T44" fmla="*/ 2147483647 w 192"/>
                <a:gd name="T45" fmla="*/ 2147483647 h 144"/>
                <a:gd name="T46" fmla="*/ 2147483647 w 192"/>
                <a:gd name="T47" fmla="*/ 2147483647 h 144"/>
                <a:gd name="T48" fmla="*/ 2147483647 w 192"/>
                <a:gd name="T49" fmla="*/ 2147483647 h 144"/>
                <a:gd name="T50" fmla="*/ 2147483647 w 192"/>
                <a:gd name="T51" fmla="*/ 2147483647 h 144"/>
                <a:gd name="T52" fmla="*/ 2147483647 w 192"/>
                <a:gd name="T53" fmla="*/ 2147483647 h 144"/>
                <a:gd name="T54" fmla="*/ 2147483647 w 192"/>
                <a:gd name="T55" fmla="*/ 2147483647 h 144"/>
                <a:gd name="T56" fmla="*/ 2147483647 w 192"/>
                <a:gd name="T57" fmla="*/ 2147483647 h 144"/>
                <a:gd name="T58" fmla="*/ 2147483647 w 192"/>
                <a:gd name="T59" fmla="*/ 2147483647 h 144"/>
                <a:gd name="T60" fmla="*/ 2147483647 w 192"/>
                <a:gd name="T61" fmla="*/ 2147483647 h 144"/>
                <a:gd name="T62" fmla="*/ 2147483647 w 192"/>
                <a:gd name="T63" fmla="*/ 2147483647 h 144"/>
                <a:gd name="T64" fmla="*/ 2147483647 w 192"/>
                <a:gd name="T65" fmla="*/ 2147483647 h 144"/>
                <a:gd name="T66" fmla="*/ 2147483647 w 192"/>
                <a:gd name="T67" fmla="*/ 2147483647 h 144"/>
                <a:gd name="T68" fmla="*/ 2147483647 w 192"/>
                <a:gd name="T69" fmla="*/ 2147483647 h 144"/>
                <a:gd name="T70" fmla="*/ 2147483647 w 192"/>
                <a:gd name="T71" fmla="*/ 2147483647 h 144"/>
                <a:gd name="T72" fmla="*/ 2147483647 w 192"/>
                <a:gd name="T73" fmla="*/ 2147483647 h 144"/>
                <a:gd name="T74" fmla="*/ 2147483647 w 192"/>
                <a:gd name="T75" fmla="*/ 2147483647 h 144"/>
                <a:gd name="T76" fmla="*/ 2147483647 w 192"/>
                <a:gd name="T77" fmla="*/ 2147483647 h 144"/>
                <a:gd name="T78" fmla="*/ 2147483647 w 192"/>
                <a:gd name="T79" fmla="*/ 2147483647 h 144"/>
                <a:gd name="T80" fmla="*/ 2147483647 w 192"/>
                <a:gd name="T81" fmla="*/ 2147483647 h 144"/>
                <a:gd name="T82" fmla="*/ 2147483647 w 192"/>
                <a:gd name="T83" fmla="*/ 2147483647 h 144"/>
                <a:gd name="T84" fmla="*/ 2147483647 w 192"/>
                <a:gd name="T85" fmla="*/ 2147483647 h 144"/>
                <a:gd name="T86" fmla="*/ 2147483647 w 192"/>
                <a:gd name="T87" fmla="*/ 2147483647 h 144"/>
                <a:gd name="T88" fmla="*/ 2147483647 w 192"/>
                <a:gd name="T89" fmla="*/ 2147483647 h 144"/>
                <a:gd name="T90" fmla="*/ 2147483647 w 192"/>
                <a:gd name="T91" fmla="*/ 2147483647 h 144"/>
                <a:gd name="T92" fmla="*/ 2147483647 w 192"/>
                <a:gd name="T93" fmla="*/ 2147483647 h 144"/>
                <a:gd name="T94" fmla="*/ 2147483647 w 192"/>
                <a:gd name="T95" fmla="*/ 2147483647 h 144"/>
                <a:gd name="T96" fmla="*/ 2147483647 w 192"/>
                <a:gd name="T97" fmla="*/ 2147483647 h 144"/>
                <a:gd name="T98" fmla="*/ 2147483647 w 192"/>
                <a:gd name="T99" fmla="*/ 2147483647 h 144"/>
                <a:gd name="T100" fmla="*/ 2147483647 w 192"/>
                <a:gd name="T101" fmla="*/ 2147483647 h 144"/>
                <a:gd name="T102" fmla="*/ 2147483647 w 192"/>
                <a:gd name="T103" fmla="*/ 2147483647 h 144"/>
                <a:gd name="T104" fmla="*/ 2147483647 w 192"/>
                <a:gd name="T105" fmla="*/ 2147483647 h 144"/>
                <a:gd name="T106" fmla="*/ 2147483647 w 192"/>
                <a:gd name="T107" fmla="*/ 2147483647 h 144"/>
                <a:gd name="T108" fmla="*/ 2147483647 w 192"/>
                <a:gd name="T109" fmla="*/ 0 h 144"/>
                <a:gd name="T110" fmla="*/ 2147483647 w 192"/>
                <a:gd name="T111" fmla="*/ 2147483647 h 144"/>
                <a:gd name="T112" fmla="*/ 2147483647 w 192"/>
                <a:gd name="T113" fmla="*/ 2147483647 h 144"/>
                <a:gd name="T114" fmla="*/ 2147483647 w 192"/>
                <a:gd name="T115" fmla="*/ 2147483647 h 144"/>
                <a:gd name="T116" fmla="*/ 2147483647 w 192"/>
                <a:gd name="T117" fmla="*/ 2147483647 h 144"/>
                <a:gd name="T118" fmla="*/ 2147483647 w 192"/>
                <a:gd name="T119" fmla="*/ 2147483647 h 144"/>
                <a:gd name="T120" fmla="*/ 2147483647 w 192"/>
                <a:gd name="T121" fmla="*/ 2147483647 h 14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92"/>
                <a:gd name="T184" fmla="*/ 0 h 144"/>
                <a:gd name="T185" fmla="*/ 192 w 192"/>
                <a:gd name="T186" fmla="*/ 144 h 14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92" h="144">
                  <a:moveTo>
                    <a:pt x="6" y="54"/>
                  </a:moveTo>
                  <a:lnTo>
                    <a:pt x="12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66"/>
                  </a:lnTo>
                  <a:lnTo>
                    <a:pt x="18" y="72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54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66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36" y="66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84"/>
                  </a:lnTo>
                  <a:lnTo>
                    <a:pt x="30" y="90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102"/>
                  </a:lnTo>
                  <a:lnTo>
                    <a:pt x="42" y="102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0"/>
                  </a:lnTo>
                  <a:lnTo>
                    <a:pt x="54" y="126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54" y="96"/>
                  </a:lnTo>
                  <a:lnTo>
                    <a:pt x="48" y="96"/>
                  </a:lnTo>
                  <a:lnTo>
                    <a:pt x="54" y="96"/>
                  </a:lnTo>
                  <a:lnTo>
                    <a:pt x="54" y="90"/>
                  </a:lnTo>
                  <a:lnTo>
                    <a:pt x="60" y="90"/>
                  </a:lnTo>
                  <a:lnTo>
                    <a:pt x="54" y="96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60" y="108"/>
                  </a:lnTo>
                  <a:lnTo>
                    <a:pt x="66" y="108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14"/>
                  </a:lnTo>
                  <a:lnTo>
                    <a:pt x="78" y="108"/>
                  </a:lnTo>
                  <a:lnTo>
                    <a:pt x="84" y="108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90" y="114"/>
                  </a:lnTo>
                  <a:lnTo>
                    <a:pt x="90" y="108"/>
                  </a:lnTo>
                  <a:lnTo>
                    <a:pt x="90" y="114"/>
                  </a:lnTo>
                  <a:lnTo>
                    <a:pt x="96" y="114"/>
                  </a:lnTo>
                  <a:lnTo>
                    <a:pt x="90" y="108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102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14" y="126"/>
                  </a:lnTo>
                  <a:lnTo>
                    <a:pt x="108" y="126"/>
                  </a:lnTo>
                  <a:lnTo>
                    <a:pt x="114" y="126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8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90" y="132"/>
                  </a:lnTo>
                  <a:lnTo>
                    <a:pt x="84" y="132"/>
                  </a:lnTo>
                  <a:lnTo>
                    <a:pt x="90" y="132"/>
                  </a:lnTo>
                  <a:lnTo>
                    <a:pt x="84" y="138"/>
                  </a:lnTo>
                  <a:lnTo>
                    <a:pt x="84" y="132"/>
                  </a:lnTo>
                  <a:lnTo>
                    <a:pt x="78" y="132"/>
                  </a:lnTo>
                  <a:lnTo>
                    <a:pt x="72" y="132"/>
                  </a:lnTo>
                  <a:lnTo>
                    <a:pt x="72" y="138"/>
                  </a:lnTo>
                  <a:lnTo>
                    <a:pt x="72" y="144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44"/>
                  </a:lnTo>
                  <a:lnTo>
                    <a:pt x="84" y="144"/>
                  </a:lnTo>
                  <a:lnTo>
                    <a:pt x="90" y="144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32" y="132"/>
                  </a:lnTo>
                  <a:lnTo>
                    <a:pt x="144" y="132"/>
                  </a:lnTo>
                  <a:lnTo>
                    <a:pt x="144" y="126"/>
                  </a:lnTo>
                  <a:lnTo>
                    <a:pt x="144" y="120"/>
                  </a:lnTo>
                  <a:lnTo>
                    <a:pt x="138" y="120"/>
                  </a:lnTo>
                  <a:lnTo>
                    <a:pt x="138" y="114"/>
                  </a:lnTo>
                  <a:lnTo>
                    <a:pt x="144" y="108"/>
                  </a:lnTo>
                  <a:lnTo>
                    <a:pt x="144" y="102"/>
                  </a:lnTo>
                  <a:lnTo>
                    <a:pt x="150" y="102"/>
                  </a:lnTo>
                  <a:lnTo>
                    <a:pt x="156" y="102"/>
                  </a:lnTo>
                  <a:lnTo>
                    <a:pt x="156" y="96"/>
                  </a:lnTo>
                  <a:lnTo>
                    <a:pt x="162" y="96"/>
                  </a:lnTo>
                  <a:lnTo>
                    <a:pt x="168" y="90"/>
                  </a:lnTo>
                  <a:lnTo>
                    <a:pt x="168" y="84"/>
                  </a:lnTo>
                  <a:lnTo>
                    <a:pt x="174" y="78"/>
                  </a:lnTo>
                  <a:lnTo>
                    <a:pt x="174" y="72"/>
                  </a:lnTo>
                  <a:lnTo>
                    <a:pt x="174" y="66"/>
                  </a:lnTo>
                  <a:lnTo>
                    <a:pt x="180" y="66"/>
                  </a:lnTo>
                  <a:lnTo>
                    <a:pt x="180" y="60"/>
                  </a:lnTo>
                  <a:lnTo>
                    <a:pt x="186" y="60"/>
                  </a:lnTo>
                  <a:lnTo>
                    <a:pt x="186" y="54"/>
                  </a:lnTo>
                  <a:lnTo>
                    <a:pt x="192" y="48"/>
                  </a:lnTo>
                  <a:lnTo>
                    <a:pt x="192" y="42"/>
                  </a:lnTo>
                  <a:lnTo>
                    <a:pt x="186" y="42"/>
                  </a:lnTo>
                  <a:lnTo>
                    <a:pt x="192" y="42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6"/>
                  </a:lnTo>
                  <a:lnTo>
                    <a:pt x="168" y="36"/>
                  </a:lnTo>
                  <a:lnTo>
                    <a:pt x="162" y="36"/>
                  </a:lnTo>
                  <a:lnTo>
                    <a:pt x="156" y="36"/>
                  </a:lnTo>
                  <a:lnTo>
                    <a:pt x="150" y="42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50" y="24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32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0" y="30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8" y="24"/>
                  </a:lnTo>
                  <a:lnTo>
                    <a:pt x="102" y="24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84" y="30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6" y="5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1" name="Freeform 27"/>
            <p:cNvSpPr>
              <a:spLocks noChangeAspect="1" noEditPoints="1"/>
            </p:cNvSpPr>
            <p:nvPr/>
          </p:nvSpPr>
          <p:spPr bwMode="auto">
            <a:xfrm>
              <a:off x="3116073" y="5001911"/>
              <a:ext cx="213251" cy="328633"/>
            </a:xfrm>
            <a:custGeom>
              <a:avLst/>
              <a:gdLst>
                <a:gd name="T0" fmla="*/ 2147483647 w 168"/>
                <a:gd name="T1" fmla="*/ 2147483647 h 258"/>
                <a:gd name="T2" fmla="*/ 2147483647 w 168"/>
                <a:gd name="T3" fmla="*/ 2147483647 h 258"/>
                <a:gd name="T4" fmla="*/ 2147483647 w 168"/>
                <a:gd name="T5" fmla="*/ 2147483647 h 258"/>
                <a:gd name="T6" fmla="*/ 2147483647 w 168"/>
                <a:gd name="T7" fmla="*/ 2147483647 h 258"/>
                <a:gd name="T8" fmla="*/ 2147483647 w 168"/>
                <a:gd name="T9" fmla="*/ 2147483647 h 258"/>
                <a:gd name="T10" fmla="*/ 2147483647 w 168"/>
                <a:gd name="T11" fmla="*/ 2147483647 h 258"/>
                <a:gd name="T12" fmla="*/ 2147483647 w 168"/>
                <a:gd name="T13" fmla="*/ 2147483647 h 258"/>
                <a:gd name="T14" fmla="*/ 2147483647 w 168"/>
                <a:gd name="T15" fmla="*/ 2147483647 h 258"/>
                <a:gd name="T16" fmla="*/ 2147483647 w 168"/>
                <a:gd name="T17" fmla="*/ 2147483647 h 258"/>
                <a:gd name="T18" fmla="*/ 2147483647 w 168"/>
                <a:gd name="T19" fmla="*/ 2147483647 h 258"/>
                <a:gd name="T20" fmla="*/ 2147483647 w 168"/>
                <a:gd name="T21" fmla="*/ 2147483647 h 258"/>
                <a:gd name="T22" fmla="*/ 2147483647 w 168"/>
                <a:gd name="T23" fmla="*/ 2147483647 h 258"/>
                <a:gd name="T24" fmla="*/ 2147483647 w 168"/>
                <a:gd name="T25" fmla="*/ 2147483647 h 258"/>
                <a:gd name="T26" fmla="*/ 2147483647 w 168"/>
                <a:gd name="T27" fmla="*/ 2147483647 h 258"/>
                <a:gd name="T28" fmla="*/ 2147483647 w 168"/>
                <a:gd name="T29" fmla="*/ 2147483647 h 258"/>
                <a:gd name="T30" fmla="*/ 2147483647 w 168"/>
                <a:gd name="T31" fmla="*/ 2147483647 h 258"/>
                <a:gd name="T32" fmla="*/ 2147483647 w 168"/>
                <a:gd name="T33" fmla="*/ 2147483647 h 258"/>
                <a:gd name="T34" fmla="*/ 2147483647 w 168"/>
                <a:gd name="T35" fmla="*/ 2147483647 h 258"/>
                <a:gd name="T36" fmla="*/ 2147483647 w 168"/>
                <a:gd name="T37" fmla="*/ 2147483647 h 258"/>
                <a:gd name="T38" fmla="*/ 2147483647 w 168"/>
                <a:gd name="T39" fmla="*/ 2147483647 h 258"/>
                <a:gd name="T40" fmla="*/ 2147483647 w 168"/>
                <a:gd name="T41" fmla="*/ 2147483647 h 258"/>
                <a:gd name="T42" fmla="*/ 2147483647 w 168"/>
                <a:gd name="T43" fmla="*/ 2147483647 h 258"/>
                <a:gd name="T44" fmla="*/ 2147483647 w 168"/>
                <a:gd name="T45" fmla="*/ 2147483647 h 258"/>
                <a:gd name="T46" fmla="*/ 2147483647 w 168"/>
                <a:gd name="T47" fmla="*/ 2147483647 h 258"/>
                <a:gd name="T48" fmla="*/ 2147483647 w 168"/>
                <a:gd name="T49" fmla="*/ 2147483647 h 258"/>
                <a:gd name="T50" fmla="*/ 2147483647 w 168"/>
                <a:gd name="T51" fmla="*/ 2147483647 h 258"/>
                <a:gd name="T52" fmla="*/ 2147483647 w 168"/>
                <a:gd name="T53" fmla="*/ 2147483647 h 258"/>
                <a:gd name="T54" fmla="*/ 2147483647 w 168"/>
                <a:gd name="T55" fmla="*/ 2147483647 h 258"/>
                <a:gd name="T56" fmla="*/ 2147483647 w 168"/>
                <a:gd name="T57" fmla="*/ 2147483647 h 258"/>
                <a:gd name="T58" fmla="*/ 2147483647 w 168"/>
                <a:gd name="T59" fmla="*/ 2147483647 h 258"/>
                <a:gd name="T60" fmla="*/ 2147483647 w 168"/>
                <a:gd name="T61" fmla="*/ 2147483647 h 258"/>
                <a:gd name="T62" fmla="*/ 2147483647 w 168"/>
                <a:gd name="T63" fmla="*/ 2147483647 h 258"/>
                <a:gd name="T64" fmla="*/ 2147483647 w 168"/>
                <a:gd name="T65" fmla="*/ 2147483647 h 258"/>
                <a:gd name="T66" fmla="*/ 2147483647 w 168"/>
                <a:gd name="T67" fmla="*/ 2147483647 h 258"/>
                <a:gd name="T68" fmla="*/ 2147483647 w 168"/>
                <a:gd name="T69" fmla="*/ 2147483647 h 258"/>
                <a:gd name="T70" fmla="*/ 2147483647 w 168"/>
                <a:gd name="T71" fmla="*/ 2147483647 h 258"/>
                <a:gd name="T72" fmla="*/ 2147483647 w 168"/>
                <a:gd name="T73" fmla="*/ 2147483647 h 258"/>
                <a:gd name="T74" fmla="*/ 2147483647 w 168"/>
                <a:gd name="T75" fmla="*/ 2147483647 h 258"/>
                <a:gd name="T76" fmla="*/ 2147483647 w 168"/>
                <a:gd name="T77" fmla="*/ 2147483647 h 258"/>
                <a:gd name="T78" fmla="*/ 2147483647 w 168"/>
                <a:gd name="T79" fmla="*/ 2147483647 h 258"/>
                <a:gd name="T80" fmla="*/ 2147483647 w 168"/>
                <a:gd name="T81" fmla="*/ 2147483647 h 258"/>
                <a:gd name="T82" fmla="*/ 2147483647 w 168"/>
                <a:gd name="T83" fmla="*/ 2147483647 h 258"/>
                <a:gd name="T84" fmla="*/ 2147483647 w 168"/>
                <a:gd name="T85" fmla="*/ 2147483647 h 258"/>
                <a:gd name="T86" fmla="*/ 2147483647 w 168"/>
                <a:gd name="T87" fmla="*/ 2147483647 h 258"/>
                <a:gd name="T88" fmla="*/ 2147483647 w 168"/>
                <a:gd name="T89" fmla="*/ 2147483647 h 258"/>
                <a:gd name="T90" fmla="*/ 2147483647 w 168"/>
                <a:gd name="T91" fmla="*/ 2147483647 h 258"/>
                <a:gd name="T92" fmla="*/ 2147483647 w 168"/>
                <a:gd name="T93" fmla="*/ 2147483647 h 258"/>
                <a:gd name="T94" fmla="*/ 2147483647 w 168"/>
                <a:gd name="T95" fmla="*/ 2147483647 h 258"/>
                <a:gd name="T96" fmla="*/ 2147483647 w 168"/>
                <a:gd name="T97" fmla="*/ 2147483647 h 258"/>
                <a:gd name="T98" fmla="*/ 2147483647 w 168"/>
                <a:gd name="T99" fmla="*/ 2147483647 h 258"/>
                <a:gd name="T100" fmla="*/ 2147483647 w 168"/>
                <a:gd name="T101" fmla="*/ 2147483647 h 258"/>
                <a:gd name="T102" fmla="*/ 2147483647 w 168"/>
                <a:gd name="T103" fmla="*/ 2147483647 h 258"/>
                <a:gd name="T104" fmla="*/ 2147483647 w 168"/>
                <a:gd name="T105" fmla="*/ 2147483647 h 258"/>
                <a:gd name="T106" fmla="*/ 2147483647 w 168"/>
                <a:gd name="T107" fmla="*/ 2147483647 h 258"/>
                <a:gd name="T108" fmla="*/ 0 w 168"/>
                <a:gd name="T109" fmla="*/ 2147483647 h 258"/>
                <a:gd name="T110" fmla="*/ 2147483647 w 168"/>
                <a:gd name="T111" fmla="*/ 2147483647 h 25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8"/>
                <a:gd name="T169" fmla="*/ 0 h 258"/>
                <a:gd name="T170" fmla="*/ 168 w 168"/>
                <a:gd name="T171" fmla="*/ 258 h 25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8" h="258">
                  <a:moveTo>
                    <a:pt x="120" y="48"/>
                  </a:moveTo>
                  <a:lnTo>
                    <a:pt x="120" y="42"/>
                  </a:lnTo>
                  <a:lnTo>
                    <a:pt x="114" y="48"/>
                  </a:lnTo>
                  <a:lnTo>
                    <a:pt x="120" y="48"/>
                  </a:lnTo>
                  <a:close/>
                  <a:moveTo>
                    <a:pt x="162" y="132"/>
                  </a:moveTo>
                  <a:lnTo>
                    <a:pt x="168" y="132"/>
                  </a:lnTo>
                  <a:lnTo>
                    <a:pt x="162" y="132"/>
                  </a:lnTo>
                  <a:lnTo>
                    <a:pt x="168" y="132"/>
                  </a:lnTo>
                  <a:lnTo>
                    <a:pt x="168" y="126"/>
                  </a:lnTo>
                  <a:lnTo>
                    <a:pt x="162" y="126"/>
                  </a:lnTo>
                  <a:lnTo>
                    <a:pt x="162" y="132"/>
                  </a:lnTo>
                  <a:close/>
                  <a:moveTo>
                    <a:pt x="156" y="126"/>
                  </a:moveTo>
                  <a:lnTo>
                    <a:pt x="162" y="126"/>
                  </a:lnTo>
                  <a:lnTo>
                    <a:pt x="162" y="120"/>
                  </a:lnTo>
                  <a:lnTo>
                    <a:pt x="162" y="126"/>
                  </a:lnTo>
                  <a:lnTo>
                    <a:pt x="156" y="126"/>
                  </a:lnTo>
                  <a:close/>
                  <a:moveTo>
                    <a:pt x="24" y="258"/>
                  </a:moveTo>
                  <a:lnTo>
                    <a:pt x="30" y="258"/>
                  </a:lnTo>
                  <a:lnTo>
                    <a:pt x="30" y="252"/>
                  </a:lnTo>
                  <a:lnTo>
                    <a:pt x="36" y="246"/>
                  </a:lnTo>
                  <a:lnTo>
                    <a:pt x="36" y="240"/>
                  </a:lnTo>
                  <a:lnTo>
                    <a:pt x="42" y="234"/>
                  </a:lnTo>
                  <a:lnTo>
                    <a:pt x="48" y="234"/>
                  </a:lnTo>
                  <a:lnTo>
                    <a:pt x="48" y="228"/>
                  </a:lnTo>
                  <a:lnTo>
                    <a:pt x="54" y="228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0" y="222"/>
                  </a:lnTo>
                  <a:lnTo>
                    <a:pt x="54" y="222"/>
                  </a:lnTo>
                  <a:lnTo>
                    <a:pt x="54" y="216"/>
                  </a:lnTo>
                  <a:lnTo>
                    <a:pt x="54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60" y="216"/>
                  </a:lnTo>
                  <a:lnTo>
                    <a:pt x="66" y="222"/>
                  </a:lnTo>
                  <a:lnTo>
                    <a:pt x="66" y="216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6" y="204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8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66" y="198"/>
                  </a:lnTo>
                  <a:lnTo>
                    <a:pt x="72" y="198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66" y="186"/>
                  </a:lnTo>
                  <a:lnTo>
                    <a:pt x="72" y="186"/>
                  </a:lnTo>
                  <a:lnTo>
                    <a:pt x="72" y="180"/>
                  </a:lnTo>
                  <a:lnTo>
                    <a:pt x="78" y="186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84" y="174"/>
                  </a:lnTo>
                  <a:lnTo>
                    <a:pt x="84" y="180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96" y="174"/>
                  </a:lnTo>
                  <a:lnTo>
                    <a:pt x="90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102" y="168"/>
                  </a:lnTo>
                  <a:lnTo>
                    <a:pt x="102" y="174"/>
                  </a:lnTo>
                  <a:lnTo>
                    <a:pt x="102" y="168"/>
                  </a:lnTo>
                  <a:lnTo>
                    <a:pt x="108" y="168"/>
                  </a:lnTo>
                  <a:lnTo>
                    <a:pt x="108" y="174"/>
                  </a:lnTo>
                  <a:lnTo>
                    <a:pt x="108" y="168"/>
                  </a:lnTo>
                  <a:lnTo>
                    <a:pt x="114" y="168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20" y="168"/>
                  </a:lnTo>
                  <a:lnTo>
                    <a:pt x="126" y="168"/>
                  </a:lnTo>
                  <a:lnTo>
                    <a:pt x="126" y="162"/>
                  </a:lnTo>
                  <a:lnTo>
                    <a:pt x="132" y="162"/>
                  </a:lnTo>
                  <a:lnTo>
                    <a:pt x="126" y="162"/>
                  </a:lnTo>
                  <a:lnTo>
                    <a:pt x="126" y="156"/>
                  </a:lnTo>
                  <a:lnTo>
                    <a:pt x="132" y="156"/>
                  </a:lnTo>
                  <a:lnTo>
                    <a:pt x="138" y="156"/>
                  </a:lnTo>
                  <a:lnTo>
                    <a:pt x="132" y="156"/>
                  </a:lnTo>
                  <a:lnTo>
                    <a:pt x="132" y="162"/>
                  </a:lnTo>
                  <a:lnTo>
                    <a:pt x="132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0" y="156"/>
                  </a:lnTo>
                  <a:lnTo>
                    <a:pt x="150" y="162"/>
                  </a:lnTo>
                  <a:lnTo>
                    <a:pt x="156" y="162"/>
                  </a:lnTo>
                  <a:lnTo>
                    <a:pt x="162" y="162"/>
                  </a:lnTo>
                  <a:lnTo>
                    <a:pt x="162" y="168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44" y="168"/>
                  </a:lnTo>
                  <a:lnTo>
                    <a:pt x="150" y="168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62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68" y="162"/>
                  </a:lnTo>
                  <a:lnTo>
                    <a:pt x="162" y="162"/>
                  </a:lnTo>
                  <a:lnTo>
                    <a:pt x="168" y="162"/>
                  </a:lnTo>
                  <a:lnTo>
                    <a:pt x="162" y="162"/>
                  </a:lnTo>
                  <a:lnTo>
                    <a:pt x="162" y="156"/>
                  </a:lnTo>
                  <a:lnTo>
                    <a:pt x="168" y="156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56" y="150"/>
                  </a:lnTo>
                  <a:lnTo>
                    <a:pt x="156" y="156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6" y="150"/>
                  </a:lnTo>
                  <a:lnTo>
                    <a:pt x="162" y="150"/>
                  </a:lnTo>
                  <a:lnTo>
                    <a:pt x="168" y="150"/>
                  </a:lnTo>
                  <a:lnTo>
                    <a:pt x="168" y="144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62" y="132"/>
                  </a:lnTo>
                  <a:lnTo>
                    <a:pt x="156" y="132"/>
                  </a:lnTo>
                  <a:lnTo>
                    <a:pt x="156" y="126"/>
                  </a:lnTo>
                  <a:lnTo>
                    <a:pt x="150" y="126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44" y="126"/>
                  </a:lnTo>
                  <a:lnTo>
                    <a:pt x="138" y="126"/>
                  </a:lnTo>
                  <a:lnTo>
                    <a:pt x="132" y="126"/>
                  </a:lnTo>
                  <a:lnTo>
                    <a:pt x="132" y="120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8" y="108"/>
                  </a:lnTo>
                  <a:lnTo>
                    <a:pt x="108" y="114"/>
                  </a:lnTo>
                  <a:lnTo>
                    <a:pt x="108" y="108"/>
                  </a:lnTo>
                  <a:lnTo>
                    <a:pt x="108" y="114"/>
                  </a:lnTo>
                  <a:lnTo>
                    <a:pt x="108" y="108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02" y="96"/>
                  </a:lnTo>
                  <a:lnTo>
                    <a:pt x="96" y="96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02" y="84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14" y="60"/>
                  </a:lnTo>
                  <a:lnTo>
                    <a:pt x="114" y="54"/>
                  </a:lnTo>
                  <a:lnTo>
                    <a:pt x="120" y="54"/>
                  </a:lnTo>
                  <a:lnTo>
                    <a:pt x="114" y="54"/>
                  </a:lnTo>
                  <a:lnTo>
                    <a:pt x="114" y="48"/>
                  </a:lnTo>
                  <a:lnTo>
                    <a:pt x="114" y="42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26" y="36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36"/>
                  </a:lnTo>
                  <a:lnTo>
                    <a:pt x="126" y="36"/>
                  </a:lnTo>
                  <a:lnTo>
                    <a:pt x="126" y="30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32" y="36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6" y="24"/>
                  </a:lnTo>
                  <a:lnTo>
                    <a:pt x="120" y="24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2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8" y="24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2" y="66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24" y="66"/>
                  </a:lnTo>
                  <a:lnTo>
                    <a:pt x="30" y="66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30" y="72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24" y="114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32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36" y="138"/>
                  </a:lnTo>
                  <a:lnTo>
                    <a:pt x="30" y="138"/>
                  </a:lnTo>
                  <a:lnTo>
                    <a:pt x="30" y="144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36" y="156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2" y="180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2" y="192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6" y="210"/>
                  </a:lnTo>
                  <a:lnTo>
                    <a:pt x="42" y="210"/>
                  </a:lnTo>
                  <a:lnTo>
                    <a:pt x="36" y="210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18" y="222"/>
                  </a:lnTo>
                  <a:lnTo>
                    <a:pt x="18" y="228"/>
                  </a:lnTo>
                  <a:lnTo>
                    <a:pt x="12" y="222"/>
                  </a:lnTo>
                  <a:lnTo>
                    <a:pt x="12" y="228"/>
                  </a:lnTo>
                  <a:lnTo>
                    <a:pt x="6" y="228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40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6" y="252"/>
                  </a:lnTo>
                  <a:lnTo>
                    <a:pt x="12" y="252"/>
                  </a:lnTo>
                  <a:lnTo>
                    <a:pt x="12" y="258"/>
                  </a:lnTo>
                  <a:lnTo>
                    <a:pt x="18" y="258"/>
                  </a:lnTo>
                  <a:lnTo>
                    <a:pt x="24" y="258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2" name="Freeform 28"/>
            <p:cNvSpPr>
              <a:spLocks noChangeAspect="1"/>
            </p:cNvSpPr>
            <p:nvPr/>
          </p:nvSpPr>
          <p:spPr bwMode="auto">
            <a:xfrm>
              <a:off x="3069639" y="4903480"/>
              <a:ext cx="153059" cy="198450"/>
            </a:xfrm>
            <a:custGeom>
              <a:avLst/>
              <a:gdLst>
                <a:gd name="T0" fmla="*/ 2147483647 w 120"/>
                <a:gd name="T1" fmla="*/ 2147483647 h 156"/>
                <a:gd name="T2" fmla="*/ 2147483647 w 120"/>
                <a:gd name="T3" fmla="*/ 2147483647 h 156"/>
                <a:gd name="T4" fmla="*/ 2147483647 w 120"/>
                <a:gd name="T5" fmla="*/ 2147483647 h 156"/>
                <a:gd name="T6" fmla="*/ 2147483647 w 120"/>
                <a:gd name="T7" fmla="*/ 2147483647 h 156"/>
                <a:gd name="T8" fmla="*/ 2147483647 w 120"/>
                <a:gd name="T9" fmla="*/ 2147483647 h 156"/>
                <a:gd name="T10" fmla="*/ 2147483647 w 120"/>
                <a:gd name="T11" fmla="*/ 2147483647 h 156"/>
                <a:gd name="T12" fmla="*/ 2147483647 w 120"/>
                <a:gd name="T13" fmla="*/ 2147483647 h 156"/>
                <a:gd name="T14" fmla="*/ 2147483647 w 120"/>
                <a:gd name="T15" fmla="*/ 2147483647 h 156"/>
                <a:gd name="T16" fmla="*/ 2147483647 w 120"/>
                <a:gd name="T17" fmla="*/ 2147483647 h 156"/>
                <a:gd name="T18" fmla="*/ 2147483647 w 120"/>
                <a:gd name="T19" fmla="*/ 2147483647 h 156"/>
                <a:gd name="T20" fmla="*/ 2147483647 w 120"/>
                <a:gd name="T21" fmla="*/ 2147483647 h 156"/>
                <a:gd name="T22" fmla="*/ 2147483647 w 120"/>
                <a:gd name="T23" fmla="*/ 2147483647 h 156"/>
                <a:gd name="T24" fmla="*/ 2147483647 w 120"/>
                <a:gd name="T25" fmla="*/ 2147483647 h 156"/>
                <a:gd name="T26" fmla="*/ 2147483647 w 120"/>
                <a:gd name="T27" fmla="*/ 2147483647 h 156"/>
                <a:gd name="T28" fmla="*/ 2147483647 w 120"/>
                <a:gd name="T29" fmla="*/ 2147483647 h 156"/>
                <a:gd name="T30" fmla="*/ 2147483647 w 120"/>
                <a:gd name="T31" fmla="*/ 2147483647 h 156"/>
                <a:gd name="T32" fmla="*/ 2147483647 w 120"/>
                <a:gd name="T33" fmla="*/ 2147483647 h 156"/>
                <a:gd name="T34" fmla="*/ 2147483647 w 120"/>
                <a:gd name="T35" fmla="*/ 2147483647 h 156"/>
                <a:gd name="T36" fmla="*/ 2147483647 w 120"/>
                <a:gd name="T37" fmla="*/ 2147483647 h 156"/>
                <a:gd name="T38" fmla="*/ 2147483647 w 120"/>
                <a:gd name="T39" fmla="*/ 2147483647 h 156"/>
                <a:gd name="T40" fmla="*/ 2147483647 w 120"/>
                <a:gd name="T41" fmla="*/ 2147483647 h 156"/>
                <a:gd name="T42" fmla="*/ 2147483647 w 120"/>
                <a:gd name="T43" fmla="*/ 2147483647 h 156"/>
                <a:gd name="T44" fmla="*/ 2147483647 w 120"/>
                <a:gd name="T45" fmla="*/ 2147483647 h 156"/>
                <a:gd name="T46" fmla="*/ 2147483647 w 120"/>
                <a:gd name="T47" fmla="*/ 2147483647 h 156"/>
                <a:gd name="T48" fmla="*/ 2147483647 w 120"/>
                <a:gd name="T49" fmla="*/ 2147483647 h 156"/>
                <a:gd name="T50" fmla="*/ 2147483647 w 120"/>
                <a:gd name="T51" fmla="*/ 2147483647 h 156"/>
                <a:gd name="T52" fmla="*/ 2147483647 w 120"/>
                <a:gd name="T53" fmla="*/ 2147483647 h 156"/>
                <a:gd name="T54" fmla="*/ 2147483647 w 120"/>
                <a:gd name="T55" fmla="*/ 2147483647 h 156"/>
                <a:gd name="T56" fmla="*/ 2147483647 w 120"/>
                <a:gd name="T57" fmla="*/ 2147483647 h 156"/>
                <a:gd name="T58" fmla="*/ 2147483647 w 120"/>
                <a:gd name="T59" fmla="*/ 2147483647 h 156"/>
                <a:gd name="T60" fmla="*/ 2147483647 w 120"/>
                <a:gd name="T61" fmla="*/ 2147483647 h 156"/>
                <a:gd name="T62" fmla="*/ 2147483647 w 120"/>
                <a:gd name="T63" fmla="*/ 2147483647 h 156"/>
                <a:gd name="T64" fmla="*/ 2147483647 w 120"/>
                <a:gd name="T65" fmla="*/ 2147483647 h 156"/>
                <a:gd name="T66" fmla="*/ 2147483647 w 120"/>
                <a:gd name="T67" fmla="*/ 2147483647 h 156"/>
                <a:gd name="T68" fmla="*/ 2147483647 w 120"/>
                <a:gd name="T69" fmla="*/ 2147483647 h 156"/>
                <a:gd name="T70" fmla="*/ 2147483647 w 120"/>
                <a:gd name="T71" fmla="*/ 2147483647 h 156"/>
                <a:gd name="T72" fmla="*/ 2147483647 w 120"/>
                <a:gd name="T73" fmla="*/ 2147483647 h 156"/>
                <a:gd name="T74" fmla="*/ 2147483647 w 120"/>
                <a:gd name="T75" fmla="*/ 2147483647 h 156"/>
                <a:gd name="T76" fmla="*/ 2147483647 w 120"/>
                <a:gd name="T77" fmla="*/ 2147483647 h 156"/>
                <a:gd name="T78" fmla="*/ 2147483647 w 120"/>
                <a:gd name="T79" fmla="*/ 0 h 156"/>
                <a:gd name="T80" fmla="*/ 2147483647 w 120"/>
                <a:gd name="T81" fmla="*/ 2147483647 h 156"/>
                <a:gd name="T82" fmla="*/ 2147483647 w 120"/>
                <a:gd name="T83" fmla="*/ 2147483647 h 156"/>
                <a:gd name="T84" fmla="*/ 2147483647 w 120"/>
                <a:gd name="T85" fmla="*/ 2147483647 h 156"/>
                <a:gd name="T86" fmla="*/ 2147483647 w 120"/>
                <a:gd name="T87" fmla="*/ 2147483647 h 156"/>
                <a:gd name="T88" fmla="*/ 2147483647 w 120"/>
                <a:gd name="T89" fmla="*/ 2147483647 h 156"/>
                <a:gd name="T90" fmla="*/ 2147483647 w 120"/>
                <a:gd name="T91" fmla="*/ 2147483647 h 156"/>
                <a:gd name="T92" fmla="*/ 2147483647 w 120"/>
                <a:gd name="T93" fmla="*/ 2147483647 h 156"/>
                <a:gd name="T94" fmla="*/ 2147483647 w 120"/>
                <a:gd name="T95" fmla="*/ 2147483647 h 156"/>
                <a:gd name="T96" fmla="*/ 2147483647 w 120"/>
                <a:gd name="T97" fmla="*/ 2147483647 h 156"/>
                <a:gd name="T98" fmla="*/ 2147483647 w 120"/>
                <a:gd name="T99" fmla="*/ 2147483647 h 156"/>
                <a:gd name="T100" fmla="*/ 2147483647 w 120"/>
                <a:gd name="T101" fmla="*/ 2147483647 h 1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20"/>
                <a:gd name="T154" fmla="*/ 0 h 156"/>
                <a:gd name="T155" fmla="*/ 120 w 120"/>
                <a:gd name="T156" fmla="*/ 156 h 1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20" h="156">
                  <a:moveTo>
                    <a:pt x="0" y="60"/>
                  </a:moveTo>
                  <a:lnTo>
                    <a:pt x="6" y="66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8" y="72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18" y="102"/>
                  </a:lnTo>
                  <a:lnTo>
                    <a:pt x="18" y="108"/>
                  </a:lnTo>
                  <a:lnTo>
                    <a:pt x="18" y="114"/>
                  </a:lnTo>
                  <a:lnTo>
                    <a:pt x="18" y="120"/>
                  </a:lnTo>
                  <a:lnTo>
                    <a:pt x="18" y="126"/>
                  </a:lnTo>
                  <a:lnTo>
                    <a:pt x="24" y="126"/>
                  </a:lnTo>
                  <a:lnTo>
                    <a:pt x="24" y="132"/>
                  </a:lnTo>
                  <a:lnTo>
                    <a:pt x="24" y="138"/>
                  </a:lnTo>
                  <a:lnTo>
                    <a:pt x="30" y="144"/>
                  </a:lnTo>
                  <a:lnTo>
                    <a:pt x="36" y="144"/>
                  </a:lnTo>
                  <a:lnTo>
                    <a:pt x="36" y="138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54" y="150"/>
                  </a:lnTo>
                  <a:lnTo>
                    <a:pt x="54" y="156"/>
                  </a:lnTo>
                  <a:lnTo>
                    <a:pt x="48" y="156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6" y="150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66" y="138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44"/>
                  </a:lnTo>
                  <a:lnTo>
                    <a:pt x="84" y="144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08" y="132"/>
                  </a:lnTo>
                  <a:lnTo>
                    <a:pt x="114" y="126"/>
                  </a:lnTo>
                  <a:lnTo>
                    <a:pt x="114" y="120"/>
                  </a:lnTo>
                  <a:lnTo>
                    <a:pt x="114" y="114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14" y="96"/>
                  </a:lnTo>
                  <a:lnTo>
                    <a:pt x="120" y="96"/>
                  </a:lnTo>
                  <a:lnTo>
                    <a:pt x="114" y="90"/>
                  </a:lnTo>
                  <a:lnTo>
                    <a:pt x="108" y="90"/>
                  </a:lnTo>
                  <a:lnTo>
                    <a:pt x="108" y="84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08" y="72"/>
                  </a:lnTo>
                  <a:lnTo>
                    <a:pt x="108" y="66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54"/>
                  </a:lnTo>
                  <a:lnTo>
                    <a:pt x="108" y="54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36"/>
                  </a:lnTo>
                  <a:lnTo>
                    <a:pt x="102" y="30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2" y="36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3" name="Freeform 29"/>
            <p:cNvSpPr>
              <a:spLocks noChangeAspect="1"/>
            </p:cNvSpPr>
            <p:nvPr/>
          </p:nvSpPr>
          <p:spPr bwMode="auto">
            <a:xfrm>
              <a:off x="2878744" y="4887604"/>
              <a:ext cx="266565" cy="236552"/>
            </a:xfrm>
            <a:custGeom>
              <a:avLst/>
              <a:gdLst>
                <a:gd name="T0" fmla="*/ 2147483647 w 210"/>
                <a:gd name="T1" fmla="*/ 2147483647 h 186"/>
                <a:gd name="T2" fmla="*/ 2147483647 w 210"/>
                <a:gd name="T3" fmla="*/ 2147483647 h 186"/>
                <a:gd name="T4" fmla="*/ 2147483647 w 210"/>
                <a:gd name="T5" fmla="*/ 2147483647 h 186"/>
                <a:gd name="T6" fmla="*/ 2147483647 w 210"/>
                <a:gd name="T7" fmla="*/ 2147483647 h 186"/>
                <a:gd name="T8" fmla="*/ 2147483647 w 210"/>
                <a:gd name="T9" fmla="*/ 2147483647 h 186"/>
                <a:gd name="T10" fmla="*/ 2147483647 w 210"/>
                <a:gd name="T11" fmla="*/ 2147483647 h 186"/>
                <a:gd name="T12" fmla="*/ 2147483647 w 210"/>
                <a:gd name="T13" fmla="*/ 2147483647 h 186"/>
                <a:gd name="T14" fmla="*/ 2147483647 w 210"/>
                <a:gd name="T15" fmla="*/ 2147483647 h 186"/>
                <a:gd name="T16" fmla="*/ 2147483647 w 210"/>
                <a:gd name="T17" fmla="*/ 2147483647 h 186"/>
                <a:gd name="T18" fmla="*/ 2147483647 w 210"/>
                <a:gd name="T19" fmla="*/ 2147483647 h 186"/>
                <a:gd name="T20" fmla="*/ 2147483647 w 210"/>
                <a:gd name="T21" fmla="*/ 2147483647 h 186"/>
                <a:gd name="T22" fmla="*/ 2147483647 w 210"/>
                <a:gd name="T23" fmla="*/ 2147483647 h 186"/>
                <a:gd name="T24" fmla="*/ 2147483647 w 210"/>
                <a:gd name="T25" fmla="*/ 2147483647 h 186"/>
                <a:gd name="T26" fmla="*/ 2147483647 w 210"/>
                <a:gd name="T27" fmla="*/ 2147483647 h 186"/>
                <a:gd name="T28" fmla="*/ 2147483647 w 210"/>
                <a:gd name="T29" fmla="*/ 2147483647 h 186"/>
                <a:gd name="T30" fmla="*/ 2147483647 w 210"/>
                <a:gd name="T31" fmla="*/ 2147483647 h 186"/>
                <a:gd name="T32" fmla="*/ 2147483647 w 210"/>
                <a:gd name="T33" fmla="*/ 2147483647 h 186"/>
                <a:gd name="T34" fmla="*/ 2147483647 w 210"/>
                <a:gd name="T35" fmla="*/ 2147483647 h 186"/>
                <a:gd name="T36" fmla="*/ 2147483647 w 210"/>
                <a:gd name="T37" fmla="*/ 2147483647 h 186"/>
                <a:gd name="T38" fmla="*/ 2147483647 w 210"/>
                <a:gd name="T39" fmla="*/ 2147483647 h 186"/>
                <a:gd name="T40" fmla="*/ 2147483647 w 210"/>
                <a:gd name="T41" fmla="*/ 2147483647 h 186"/>
                <a:gd name="T42" fmla="*/ 2147483647 w 210"/>
                <a:gd name="T43" fmla="*/ 2147483647 h 186"/>
                <a:gd name="T44" fmla="*/ 2147483647 w 210"/>
                <a:gd name="T45" fmla="*/ 2147483647 h 186"/>
                <a:gd name="T46" fmla="*/ 2147483647 w 210"/>
                <a:gd name="T47" fmla="*/ 2147483647 h 186"/>
                <a:gd name="T48" fmla="*/ 2147483647 w 210"/>
                <a:gd name="T49" fmla="*/ 2147483647 h 186"/>
                <a:gd name="T50" fmla="*/ 2147483647 w 210"/>
                <a:gd name="T51" fmla="*/ 2147483647 h 186"/>
                <a:gd name="T52" fmla="*/ 2147483647 w 210"/>
                <a:gd name="T53" fmla="*/ 2147483647 h 186"/>
                <a:gd name="T54" fmla="*/ 2147483647 w 210"/>
                <a:gd name="T55" fmla="*/ 2147483647 h 186"/>
                <a:gd name="T56" fmla="*/ 2147483647 w 210"/>
                <a:gd name="T57" fmla="*/ 2147483647 h 186"/>
                <a:gd name="T58" fmla="*/ 2147483647 w 210"/>
                <a:gd name="T59" fmla="*/ 2147483647 h 186"/>
                <a:gd name="T60" fmla="*/ 2147483647 w 210"/>
                <a:gd name="T61" fmla="*/ 2147483647 h 186"/>
                <a:gd name="T62" fmla="*/ 2147483647 w 210"/>
                <a:gd name="T63" fmla="*/ 2147483647 h 186"/>
                <a:gd name="T64" fmla="*/ 2147483647 w 210"/>
                <a:gd name="T65" fmla="*/ 2147483647 h 186"/>
                <a:gd name="T66" fmla="*/ 2147483647 w 210"/>
                <a:gd name="T67" fmla="*/ 2147483647 h 186"/>
                <a:gd name="T68" fmla="*/ 2147483647 w 210"/>
                <a:gd name="T69" fmla="*/ 2147483647 h 186"/>
                <a:gd name="T70" fmla="*/ 2147483647 w 210"/>
                <a:gd name="T71" fmla="*/ 2147483647 h 186"/>
                <a:gd name="T72" fmla="*/ 2147483647 w 210"/>
                <a:gd name="T73" fmla="*/ 2147483647 h 186"/>
                <a:gd name="T74" fmla="*/ 2147483647 w 210"/>
                <a:gd name="T75" fmla="*/ 2147483647 h 186"/>
                <a:gd name="T76" fmla="*/ 2147483647 w 210"/>
                <a:gd name="T77" fmla="*/ 2147483647 h 186"/>
                <a:gd name="T78" fmla="*/ 2147483647 w 210"/>
                <a:gd name="T79" fmla="*/ 2147483647 h 186"/>
                <a:gd name="T80" fmla="*/ 2147483647 w 210"/>
                <a:gd name="T81" fmla="*/ 0 h 186"/>
                <a:gd name="T82" fmla="*/ 2147483647 w 210"/>
                <a:gd name="T83" fmla="*/ 2147483647 h 186"/>
                <a:gd name="T84" fmla="*/ 2147483647 w 210"/>
                <a:gd name="T85" fmla="*/ 2147483647 h 186"/>
                <a:gd name="T86" fmla="*/ 2147483647 w 210"/>
                <a:gd name="T87" fmla="*/ 2147483647 h 186"/>
                <a:gd name="T88" fmla="*/ 2147483647 w 210"/>
                <a:gd name="T89" fmla="*/ 2147483647 h 186"/>
                <a:gd name="T90" fmla="*/ 0 w 210"/>
                <a:gd name="T91" fmla="*/ 2147483647 h 186"/>
                <a:gd name="T92" fmla="*/ 2147483647 w 210"/>
                <a:gd name="T93" fmla="*/ 2147483647 h 186"/>
                <a:gd name="T94" fmla="*/ 2147483647 w 210"/>
                <a:gd name="T95" fmla="*/ 2147483647 h 186"/>
                <a:gd name="T96" fmla="*/ 2147483647 w 210"/>
                <a:gd name="T97" fmla="*/ 2147483647 h 186"/>
                <a:gd name="T98" fmla="*/ 2147483647 w 210"/>
                <a:gd name="T99" fmla="*/ 2147483647 h 186"/>
                <a:gd name="T100" fmla="*/ 2147483647 w 210"/>
                <a:gd name="T101" fmla="*/ 2147483647 h 186"/>
                <a:gd name="T102" fmla="*/ 2147483647 w 210"/>
                <a:gd name="T103" fmla="*/ 2147483647 h 186"/>
                <a:gd name="T104" fmla="*/ 2147483647 w 210"/>
                <a:gd name="T105" fmla="*/ 2147483647 h 186"/>
                <a:gd name="T106" fmla="*/ 2147483647 w 210"/>
                <a:gd name="T107" fmla="*/ 2147483647 h 186"/>
                <a:gd name="T108" fmla="*/ 2147483647 w 210"/>
                <a:gd name="T109" fmla="*/ 2147483647 h 186"/>
                <a:gd name="T110" fmla="*/ 2147483647 w 210"/>
                <a:gd name="T111" fmla="*/ 2147483647 h 186"/>
                <a:gd name="T112" fmla="*/ 2147483647 w 210"/>
                <a:gd name="T113" fmla="*/ 2147483647 h 186"/>
                <a:gd name="T114" fmla="*/ 2147483647 w 210"/>
                <a:gd name="T115" fmla="*/ 2147483647 h 186"/>
                <a:gd name="T116" fmla="*/ 2147483647 w 210"/>
                <a:gd name="T117" fmla="*/ 2147483647 h 18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0"/>
                <a:gd name="T178" fmla="*/ 0 h 186"/>
                <a:gd name="T179" fmla="*/ 210 w 210"/>
                <a:gd name="T180" fmla="*/ 186 h 18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0" h="186">
                  <a:moveTo>
                    <a:pt x="90" y="126"/>
                  </a:moveTo>
                  <a:lnTo>
                    <a:pt x="96" y="126"/>
                  </a:lnTo>
                  <a:lnTo>
                    <a:pt x="90" y="132"/>
                  </a:lnTo>
                  <a:lnTo>
                    <a:pt x="96" y="132"/>
                  </a:lnTo>
                  <a:lnTo>
                    <a:pt x="102" y="132"/>
                  </a:lnTo>
                  <a:lnTo>
                    <a:pt x="108" y="132"/>
                  </a:lnTo>
                  <a:lnTo>
                    <a:pt x="114" y="138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26" y="150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32" y="144"/>
                  </a:lnTo>
                  <a:lnTo>
                    <a:pt x="138" y="144"/>
                  </a:lnTo>
                  <a:lnTo>
                    <a:pt x="138" y="150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50" y="156"/>
                  </a:lnTo>
                  <a:lnTo>
                    <a:pt x="150" y="162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56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74" y="180"/>
                  </a:lnTo>
                  <a:lnTo>
                    <a:pt x="174" y="186"/>
                  </a:lnTo>
                  <a:lnTo>
                    <a:pt x="180" y="186"/>
                  </a:lnTo>
                  <a:lnTo>
                    <a:pt x="180" y="180"/>
                  </a:lnTo>
                  <a:lnTo>
                    <a:pt x="186" y="174"/>
                  </a:lnTo>
                  <a:lnTo>
                    <a:pt x="186" y="180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86"/>
                  </a:lnTo>
                  <a:lnTo>
                    <a:pt x="204" y="180"/>
                  </a:lnTo>
                  <a:lnTo>
                    <a:pt x="210" y="180"/>
                  </a:lnTo>
                  <a:lnTo>
                    <a:pt x="204" y="174"/>
                  </a:lnTo>
                  <a:lnTo>
                    <a:pt x="204" y="168"/>
                  </a:lnTo>
                  <a:lnTo>
                    <a:pt x="198" y="168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86" y="156"/>
                  </a:lnTo>
                  <a:lnTo>
                    <a:pt x="186" y="150"/>
                  </a:lnTo>
                  <a:lnTo>
                    <a:pt x="186" y="156"/>
                  </a:lnTo>
                  <a:lnTo>
                    <a:pt x="180" y="156"/>
                  </a:lnTo>
                  <a:lnTo>
                    <a:pt x="174" y="150"/>
                  </a:lnTo>
                  <a:lnTo>
                    <a:pt x="174" y="144"/>
                  </a:lnTo>
                  <a:lnTo>
                    <a:pt x="174" y="138"/>
                  </a:lnTo>
                  <a:lnTo>
                    <a:pt x="168" y="138"/>
                  </a:lnTo>
                  <a:lnTo>
                    <a:pt x="168" y="132"/>
                  </a:lnTo>
                  <a:lnTo>
                    <a:pt x="168" y="126"/>
                  </a:lnTo>
                  <a:lnTo>
                    <a:pt x="168" y="120"/>
                  </a:lnTo>
                  <a:lnTo>
                    <a:pt x="168" y="114"/>
                  </a:lnTo>
                  <a:lnTo>
                    <a:pt x="168" y="108"/>
                  </a:lnTo>
                  <a:lnTo>
                    <a:pt x="168" y="102"/>
                  </a:lnTo>
                  <a:lnTo>
                    <a:pt x="162" y="96"/>
                  </a:lnTo>
                  <a:lnTo>
                    <a:pt x="168" y="90"/>
                  </a:lnTo>
                  <a:lnTo>
                    <a:pt x="168" y="84"/>
                  </a:lnTo>
                  <a:lnTo>
                    <a:pt x="162" y="84"/>
                  </a:lnTo>
                  <a:lnTo>
                    <a:pt x="162" y="78"/>
                  </a:lnTo>
                  <a:lnTo>
                    <a:pt x="156" y="78"/>
                  </a:lnTo>
                  <a:lnTo>
                    <a:pt x="150" y="72"/>
                  </a:lnTo>
                  <a:lnTo>
                    <a:pt x="144" y="72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26" y="72"/>
                  </a:lnTo>
                  <a:lnTo>
                    <a:pt x="120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14" y="60"/>
                  </a:lnTo>
                  <a:lnTo>
                    <a:pt x="108" y="60"/>
                  </a:lnTo>
                  <a:lnTo>
                    <a:pt x="102" y="54"/>
                  </a:lnTo>
                  <a:lnTo>
                    <a:pt x="102" y="48"/>
                  </a:lnTo>
                  <a:lnTo>
                    <a:pt x="96" y="48"/>
                  </a:lnTo>
                  <a:lnTo>
                    <a:pt x="96" y="42"/>
                  </a:lnTo>
                  <a:lnTo>
                    <a:pt x="102" y="42"/>
                  </a:lnTo>
                  <a:lnTo>
                    <a:pt x="102" y="36"/>
                  </a:lnTo>
                  <a:lnTo>
                    <a:pt x="96" y="36"/>
                  </a:lnTo>
                  <a:lnTo>
                    <a:pt x="96" y="30"/>
                  </a:lnTo>
                  <a:lnTo>
                    <a:pt x="102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78" y="42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78" y="48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42"/>
                  </a:lnTo>
                  <a:lnTo>
                    <a:pt x="66" y="42"/>
                  </a:lnTo>
                  <a:lnTo>
                    <a:pt x="60" y="42"/>
                  </a:lnTo>
                  <a:lnTo>
                    <a:pt x="66" y="36"/>
                  </a:lnTo>
                  <a:lnTo>
                    <a:pt x="66" y="30"/>
                  </a:lnTo>
                  <a:lnTo>
                    <a:pt x="60" y="36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54" y="36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36" y="60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8" y="84"/>
                  </a:lnTo>
                  <a:lnTo>
                    <a:pt x="30" y="84"/>
                  </a:lnTo>
                  <a:lnTo>
                    <a:pt x="30" y="90"/>
                  </a:lnTo>
                  <a:lnTo>
                    <a:pt x="36" y="90"/>
                  </a:lnTo>
                  <a:lnTo>
                    <a:pt x="42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60" y="102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08"/>
                  </a:lnTo>
                  <a:lnTo>
                    <a:pt x="90" y="108"/>
                  </a:lnTo>
                  <a:lnTo>
                    <a:pt x="90" y="114"/>
                  </a:lnTo>
                  <a:lnTo>
                    <a:pt x="96" y="114"/>
                  </a:lnTo>
                  <a:lnTo>
                    <a:pt x="96" y="120"/>
                  </a:lnTo>
                  <a:lnTo>
                    <a:pt x="90" y="120"/>
                  </a:lnTo>
                  <a:lnTo>
                    <a:pt x="90" y="126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4" name="Freeform 30"/>
            <p:cNvSpPr>
              <a:spLocks noChangeAspect="1" noEditPoints="1"/>
            </p:cNvSpPr>
            <p:nvPr/>
          </p:nvSpPr>
          <p:spPr bwMode="auto">
            <a:xfrm>
              <a:off x="2947535" y="5047951"/>
              <a:ext cx="130702" cy="168286"/>
            </a:xfrm>
            <a:custGeom>
              <a:avLst/>
              <a:gdLst>
                <a:gd name="T0" fmla="*/ 2147483647 w 102"/>
                <a:gd name="T1" fmla="*/ 2147483647 h 132"/>
                <a:gd name="T2" fmla="*/ 0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2147483647 h 132"/>
                <a:gd name="T12" fmla="*/ 2147483647 w 102"/>
                <a:gd name="T13" fmla="*/ 2147483647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2147483647 w 102"/>
                <a:gd name="T23" fmla="*/ 2147483647 h 132"/>
                <a:gd name="T24" fmla="*/ 2147483647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0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2147483647 w 102"/>
                <a:gd name="T51" fmla="*/ 2147483647 h 132"/>
                <a:gd name="T52" fmla="*/ 2147483647 w 102"/>
                <a:gd name="T53" fmla="*/ 2147483647 h 132"/>
                <a:gd name="T54" fmla="*/ 2147483647 w 102"/>
                <a:gd name="T55" fmla="*/ 2147483647 h 132"/>
                <a:gd name="T56" fmla="*/ 2147483647 w 102"/>
                <a:gd name="T57" fmla="*/ 2147483647 h 132"/>
                <a:gd name="T58" fmla="*/ 2147483647 w 102"/>
                <a:gd name="T59" fmla="*/ 2147483647 h 132"/>
                <a:gd name="T60" fmla="*/ 2147483647 w 102"/>
                <a:gd name="T61" fmla="*/ 2147483647 h 132"/>
                <a:gd name="T62" fmla="*/ 2147483647 w 102"/>
                <a:gd name="T63" fmla="*/ 2147483647 h 132"/>
                <a:gd name="T64" fmla="*/ 2147483647 w 102"/>
                <a:gd name="T65" fmla="*/ 2147483647 h 132"/>
                <a:gd name="T66" fmla="*/ 2147483647 w 102"/>
                <a:gd name="T67" fmla="*/ 2147483647 h 132"/>
                <a:gd name="T68" fmla="*/ 2147483647 w 102"/>
                <a:gd name="T69" fmla="*/ 2147483647 h 132"/>
                <a:gd name="T70" fmla="*/ 2147483647 w 102"/>
                <a:gd name="T71" fmla="*/ 2147483647 h 132"/>
                <a:gd name="T72" fmla="*/ 2147483647 w 102"/>
                <a:gd name="T73" fmla="*/ 2147483647 h 132"/>
                <a:gd name="T74" fmla="*/ 2147483647 w 102"/>
                <a:gd name="T75" fmla="*/ 2147483647 h 132"/>
                <a:gd name="T76" fmla="*/ 2147483647 w 102"/>
                <a:gd name="T77" fmla="*/ 2147483647 h 132"/>
                <a:gd name="T78" fmla="*/ 2147483647 w 102"/>
                <a:gd name="T79" fmla="*/ 2147483647 h 132"/>
                <a:gd name="T80" fmla="*/ 2147483647 w 102"/>
                <a:gd name="T81" fmla="*/ 2147483647 h 132"/>
                <a:gd name="T82" fmla="*/ 2147483647 w 102"/>
                <a:gd name="T83" fmla="*/ 2147483647 h 132"/>
                <a:gd name="T84" fmla="*/ 2147483647 w 102"/>
                <a:gd name="T85" fmla="*/ 2147483647 h 132"/>
                <a:gd name="T86" fmla="*/ 2147483647 w 102"/>
                <a:gd name="T87" fmla="*/ 2147483647 h 13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2"/>
                <a:gd name="T133" fmla="*/ 0 h 132"/>
                <a:gd name="T134" fmla="*/ 102 w 102"/>
                <a:gd name="T135" fmla="*/ 132 h 13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2" h="132">
                  <a:moveTo>
                    <a:pt x="48" y="72"/>
                  </a:moveTo>
                  <a:lnTo>
                    <a:pt x="54" y="72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8" y="72"/>
                  </a:lnTo>
                  <a:close/>
                  <a:moveTo>
                    <a:pt x="0" y="126"/>
                  </a:moveTo>
                  <a:lnTo>
                    <a:pt x="6" y="126"/>
                  </a:lnTo>
                  <a:lnTo>
                    <a:pt x="6" y="132"/>
                  </a:lnTo>
                  <a:lnTo>
                    <a:pt x="12" y="132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36" y="126"/>
                  </a:lnTo>
                  <a:lnTo>
                    <a:pt x="42" y="120"/>
                  </a:lnTo>
                  <a:lnTo>
                    <a:pt x="48" y="120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20"/>
                  </a:lnTo>
                  <a:lnTo>
                    <a:pt x="72" y="120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14"/>
                  </a:lnTo>
                  <a:lnTo>
                    <a:pt x="90" y="114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84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90" y="72"/>
                  </a:lnTo>
                  <a:lnTo>
                    <a:pt x="90" y="66"/>
                  </a:lnTo>
                  <a:lnTo>
                    <a:pt x="90" y="60"/>
                  </a:lnTo>
                  <a:lnTo>
                    <a:pt x="90" y="54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102" y="48"/>
                  </a:lnTo>
                  <a:lnTo>
                    <a:pt x="102" y="42"/>
                  </a:lnTo>
                  <a:lnTo>
                    <a:pt x="102" y="36"/>
                  </a:lnTo>
                  <a:lnTo>
                    <a:pt x="96" y="36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90" y="24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72" y="18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54" y="48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60" y="60"/>
                  </a:lnTo>
                  <a:lnTo>
                    <a:pt x="60" y="54"/>
                  </a:lnTo>
                  <a:lnTo>
                    <a:pt x="60" y="60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54" y="60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54" y="60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78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54" y="84"/>
                  </a:lnTo>
                  <a:lnTo>
                    <a:pt x="54" y="78"/>
                  </a:lnTo>
                  <a:lnTo>
                    <a:pt x="48" y="78"/>
                  </a:lnTo>
                  <a:lnTo>
                    <a:pt x="54" y="84"/>
                  </a:lnTo>
                  <a:lnTo>
                    <a:pt x="60" y="84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48" y="96"/>
                  </a:lnTo>
                  <a:lnTo>
                    <a:pt x="42" y="96"/>
                  </a:lnTo>
                  <a:lnTo>
                    <a:pt x="48" y="96"/>
                  </a:lnTo>
                  <a:lnTo>
                    <a:pt x="42" y="96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14"/>
                  </a:lnTo>
                  <a:lnTo>
                    <a:pt x="24" y="114"/>
                  </a:lnTo>
                  <a:lnTo>
                    <a:pt x="24" y="12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0" y="126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5" name="Freeform 31"/>
            <p:cNvSpPr>
              <a:spLocks noChangeAspect="1" noEditPoints="1"/>
            </p:cNvSpPr>
            <p:nvPr/>
          </p:nvSpPr>
          <p:spPr bwMode="auto">
            <a:xfrm>
              <a:off x="2765240" y="4909830"/>
              <a:ext cx="251086" cy="328633"/>
            </a:xfrm>
            <a:custGeom>
              <a:avLst/>
              <a:gdLst>
                <a:gd name="T0" fmla="*/ 2147483647 w 198"/>
                <a:gd name="T1" fmla="*/ 2147483647 h 258"/>
                <a:gd name="T2" fmla="*/ 2147483647 w 198"/>
                <a:gd name="T3" fmla="*/ 2147483647 h 258"/>
                <a:gd name="T4" fmla="*/ 2147483647 w 198"/>
                <a:gd name="T5" fmla="*/ 2147483647 h 258"/>
                <a:gd name="T6" fmla="*/ 2147483647 w 198"/>
                <a:gd name="T7" fmla="*/ 2147483647 h 258"/>
                <a:gd name="T8" fmla="*/ 2147483647 w 198"/>
                <a:gd name="T9" fmla="*/ 2147483647 h 258"/>
                <a:gd name="T10" fmla="*/ 2147483647 w 198"/>
                <a:gd name="T11" fmla="*/ 2147483647 h 258"/>
                <a:gd name="T12" fmla="*/ 2147483647 w 198"/>
                <a:gd name="T13" fmla="*/ 2147483647 h 258"/>
                <a:gd name="T14" fmla="*/ 2147483647 w 198"/>
                <a:gd name="T15" fmla="*/ 2147483647 h 258"/>
                <a:gd name="T16" fmla="*/ 2147483647 w 198"/>
                <a:gd name="T17" fmla="*/ 2147483647 h 258"/>
                <a:gd name="T18" fmla="*/ 2147483647 w 198"/>
                <a:gd name="T19" fmla="*/ 2147483647 h 258"/>
                <a:gd name="T20" fmla="*/ 2147483647 w 198"/>
                <a:gd name="T21" fmla="*/ 2147483647 h 258"/>
                <a:gd name="T22" fmla="*/ 2147483647 w 198"/>
                <a:gd name="T23" fmla="*/ 2147483647 h 258"/>
                <a:gd name="T24" fmla="*/ 2147483647 w 198"/>
                <a:gd name="T25" fmla="*/ 2147483647 h 258"/>
                <a:gd name="T26" fmla="*/ 2147483647 w 198"/>
                <a:gd name="T27" fmla="*/ 2147483647 h 258"/>
                <a:gd name="T28" fmla="*/ 2147483647 w 198"/>
                <a:gd name="T29" fmla="*/ 2147483647 h 258"/>
                <a:gd name="T30" fmla="*/ 2147483647 w 198"/>
                <a:gd name="T31" fmla="*/ 2147483647 h 258"/>
                <a:gd name="T32" fmla="*/ 2147483647 w 198"/>
                <a:gd name="T33" fmla="*/ 2147483647 h 258"/>
                <a:gd name="T34" fmla="*/ 2147483647 w 198"/>
                <a:gd name="T35" fmla="*/ 2147483647 h 258"/>
                <a:gd name="T36" fmla="*/ 2147483647 w 198"/>
                <a:gd name="T37" fmla="*/ 2147483647 h 258"/>
                <a:gd name="T38" fmla="*/ 2147483647 w 198"/>
                <a:gd name="T39" fmla="*/ 2147483647 h 258"/>
                <a:gd name="T40" fmla="*/ 2147483647 w 198"/>
                <a:gd name="T41" fmla="*/ 2147483647 h 258"/>
                <a:gd name="T42" fmla="*/ 2147483647 w 198"/>
                <a:gd name="T43" fmla="*/ 2147483647 h 258"/>
                <a:gd name="T44" fmla="*/ 2147483647 w 198"/>
                <a:gd name="T45" fmla="*/ 2147483647 h 258"/>
                <a:gd name="T46" fmla="*/ 2147483647 w 198"/>
                <a:gd name="T47" fmla="*/ 2147483647 h 258"/>
                <a:gd name="T48" fmla="*/ 2147483647 w 198"/>
                <a:gd name="T49" fmla="*/ 2147483647 h 258"/>
                <a:gd name="T50" fmla="*/ 2147483647 w 198"/>
                <a:gd name="T51" fmla="*/ 2147483647 h 258"/>
                <a:gd name="T52" fmla="*/ 2147483647 w 198"/>
                <a:gd name="T53" fmla="*/ 2147483647 h 258"/>
                <a:gd name="T54" fmla="*/ 2147483647 w 198"/>
                <a:gd name="T55" fmla="*/ 2147483647 h 258"/>
                <a:gd name="T56" fmla="*/ 2147483647 w 198"/>
                <a:gd name="T57" fmla="*/ 2147483647 h 258"/>
                <a:gd name="T58" fmla="*/ 2147483647 w 198"/>
                <a:gd name="T59" fmla="*/ 2147483647 h 258"/>
                <a:gd name="T60" fmla="*/ 2147483647 w 198"/>
                <a:gd name="T61" fmla="*/ 2147483647 h 258"/>
                <a:gd name="T62" fmla="*/ 2147483647 w 198"/>
                <a:gd name="T63" fmla="*/ 2147483647 h 258"/>
                <a:gd name="T64" fmla="*/ 2147483647 w 198"/>
                <a:gd name="T65" fmla="*/ 2147483647 h 258"/>
                <a:gd name="T66" fmla="*/ 2147483647 w 198"/>
                <a:gd name="T67" fmla="*/ 2147483647 h 258"/>
                <a:gd name="T68" fmla="*/ 2147483647 w 198"/>
                <a:gd name="T69" fmla="*/ 2147483647 h 258"/>
                <a:gd name="T70" fmla="*/ 2147483647 w 198"/>
                <a:gd name="T71" fmla="*/ 2147483647 h 258"/>
                <a:gd name="T72" fmla="*/ 2147483647 w 198"/>
                <a:gd name="T73" fmla="*/ 2147483647 h 258"/>
                <a:gd name="T74" fmla="*/ 2147483647 w 198"/>
                <a:gd name="T75" fmla="*/ 2147483647 h 258"/>
                <a:gd name="T76" fmla="*/ 2147483647 w 198"/>
                <a:gd name="T77" fmla="*/ 0 h 258"/>
                <a:gd name="T78" fmla="*/ 2147483647 w 198"/>
                <a:gd name="T79" fmla="*/ 0 h 258"/>
                <a:gd name="T80" fmla="*/ 2147483647 w 198"/>
                <a:gd name="T81" fmla="*/ 2147483647 h 258"/>
                <a:gd name="T82" fmla="*/ 2147483647 w 198"/>
                <a:gd name="T83" fmla="*/ 2147483647 h 258"/>
                <a:gd name="T84" fmla="*/ 2147483647 w 198"/>
                <a:gd name="T85" fmla="*/ 2147483647 h 258"/>
                <a:gd name="T86" fmla="*/ 2147483647 w 198"/>
                <a:gd name="T87" fmla="*/ 2147483647 h 258"/>
                <a:gd name="T88" fmla="*/ 2147483647 w 198"/>
                <a:gd name="T89" fmla="*/ 2147483647 h 258"/>
                <a:gd name="T90" fmla="*/ 2147483647 w 198"/>
                <a:gd name="T91" fmla="*/ 2147483647 h 258"/>
                <a:gd name="T92" fmla="*/ 2147483647 w 198"/>
                <a:gd name="T93" fmla="*/ 2147483647 h 258"/>
                <a:gd name="T94" fmla="*/ 2147483647 w 198"/>
                <a:gd name="T95" fmla="*/ 2147483647 h 258"/>
                <a:gd name="T96" fmla="*/ 2147483647 w 198"/>
                <a:gd name="T97" fmla="*/ 2147483647 h 258"/>
                <a:gd name="T98" fmla="*/ 0 w 198"/>
                <a:gd name="T99" fmla="*/ 2147483647 h 258"/>
                <a:gd name="T100" fmla="*/ 2147483647 w 198"/>
                <a:gd name="T101" fmla="*/ 2147483647 h 258"/>
                <a:gd name="T102" fmla="*/ 2147483647 w 198"/>
                <a:gd name="T103" fmla="*/ 2147483647 h 25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98"/>
                <a:gd name="T157" fmla="*/ 0 h 258"/>
                <a:gd name="T158" fmla="*/ 198 w 198"/>
                <a:gd name="T159" fmla="*/ 258 h 25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98" h="258">
                  <a:moveTo>
                    <a:pt x="102" y="258"/>
                  </a:moveTo>
                  <a:lnTo>
                    <a:pt x="108" y="258"/>
                  </a:lnTo>
                  <a:lnTo>
                    <a:pt x="102" y="258"/>
                  </a:lnTo>
                  <a:close/>
                  <a:moveTo>
                    <a:pt x="54" y="174"/>
                  </a:moveTo>
                  <a:lnTo>
                    <a:pt x="60" y="174"/>
                  </a:lnTo>
                  <a:lnTo>
                    <a:pt x="54" y="168"/>
                  </a:lnTo>
                  <a:lnTo>
                    <a:pt x="54" y="174"/>
                  </a:lnTo>
                  <a:close/>
                  <a:moveTo>
                    <a:pt x="36" y="174"/>
                  </a:moveTo>
                  <a:lnTo>
                    <a:pt x="42" y="174"/>
                  </a:lnTo>
                  <a:lnTo>
                    <a:pt x="36" y="174"/>
                  </a:lnTo>
                  <a:close/>
                  <a:moveTo>
                    <a:pt x="48" y="174"/>
                  </a:move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8"/>
                  </a:lnTo>
                  <a:lnTo>
                    <a:pt x="42" y="168"/>
                  </a:lnTo>
                  <a:lnTo>
                    <a:pt x="48" y="174"/>
                  </a:lnTo>
                  <a:close/>
                  <a:moveTo>
                    <a:pt x="78" y="240"/>
                  </a:moveTo>
                  <a:lnTo>
                    <a:pt x="78" y="246"/>
                  </a:lnTo>
                  <a:lnTo>
                    <a:pt x="84" y="246"/>
                  </a:lnTo>
                  <a:lnTo>
                    <a:pt x="84" y="240"/>
                  </a:lnTo>
                  <a:lnTo>
                    <a:pt x="84" y="246"/>
                  </a:lnTo>
                  <a:lnTo>
                    <a:pt x="84" y="252"/>
                  </a:lnTo>
                  <a:lnTo>
                    <a:pt x="90" y="252"/>
                  </a:lnTo>
                  <a:lnTo>
                    <a:pt x="96" y="252"/>
                  </a:lnTo>
                  <a:lnTo>
                    <a:pt x="102" y="252"/>
                  </a:lnTo>
                  <a:lnTo>
                    <a:pt x="108" y="246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40"/>
                  </a:lnTo>
                  <a:lnTo>
                    <a:pt x="120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114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204"/>
                  </a:lnTo>
                  <a:lnTo>
                    <a:pt x="126" y="198"/>
                  </a:lnTo>
                  <a:lnTo>
                    <a:pt x="126" y="192"/>
                  </a:lnTo>
                  <a:lnTo>
                    <a:pt x="132" y="192"/>
                  </a:lnTo>
                  <a:lnTo>
                    <a:pt x="132" y="186"/>
                  </a:lnTo>
                  <a:lnTo>
                    <a:pt x="126" y="186"/>
                  </a:lnTo>
                  <a:lnTo>
                    <a:pt x="126" y="180"/>
                  </a:lnTo>
                  <a:lnTo>
                    <a:pt x="126" y="186"/>
                  </a:lnTo>
                  <a:lnTo>
                    <a:pt x="120" y="186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8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96" y="204"/>
                  </a:lnTo>
                  <a:lnTo>
                    <a:pt x="96" y="210"/>
                  </a:lnTo>
                  <a:lnTo>
                    <a:pt x="96" y="216"/>
                  </a:lnTo>
                  <a:lnTo>
                    <a:pt x="90" y="216"/>
                  </a:lnTo>
                  <a:lnTo>
                    <a:pt x="90" y="222"/>
                  </a:lnTo>
                  <a:lnTo>
                    <a:pt x="90" y="228"/>
                  </a:lnTo>
                  <a:lnTo>
                    <a:pt x="84" y="228"/>
                  </a:lnTo>
                  <a:lnTo>
                    <a:pt x="84" y="234"/>
                  </a:lnTo>
                  <a:lnTo>
                    <a:pt x="78" y="228"/>
                  </a:lnTo>
                  <a:lnTo>
                    <a:pt x="78" y="234"/>
                  </a:lnTo>
                  <a:lnTo>
                    <a:pt x="72" y="234"/>
                  </a:lnTo>
                  <a:lnTo>
                    <a:pt x="78" y="240"/>
                  </a:lnTo>
                  <a:close/>
                  <a:moveTo>
                    <a:pt x="12" y="162"/>
                  </a:moveTo>
                  <a:lnTo>
                    <a:pt x="18" y="162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60" y="156"/>
                  </a:lnTo>
                  <a:lnTo>
                    <a:pt x="60" y="150"/>
                  </a:lnTo>
                  <a:lnTo>
                    <a:pt x="66" y="150"/>
                  </a:lnTo>
                  <a:lnTo>
                    <a:pt x="66" y="156"/>
                  </a:lnTo>
                  <a:lnTo>
                    <a:pt x="66" y="150"/>
                  </a:lnTo>
                  <a:lnTo>
                    <a:pt x="66" y="156"/>
                  </a:lnTo>
                  <a:lnTo>
                    <a:pt x="66" y="150"/>
                  </a:lnTo>
                  <a:lnTo>
                    <a:pt x="72" y="150"/>
                  </a:lnTo>
                  <a:lnTo>
                    <a:pt x="72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2" y="150"/>
                  </a:lnTo>
                  <a:lnTo>
                    <a:pt x="72" y="156"/>
                  </a:lnTo>
                  <a:lnTo>
                    <a:pt x="78" y="156"/>
                  </a:lnTo>
                  <a:lnTo>
                    <a:pt x="78" y="150"/>
                  </a:lnTo>
                  <a:lnTo>
                    <a:pt x="78" y="156"/>
                  </a:lnTo>
                  <a:lnTo>
                    <a:pt x="84" y="156"/>
                  </a:lnTo>
                  <a:lnTo>
                    <a:pt x="90" y="156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96" y="168"/>
                  </a:lnTo>
                  <a:lnTo>
                    <a:pt x="102" y="162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102" y="168"/>
                  </a:lnTo>
                  <a:lnTo>
                    <a:pt x="108" y="168"/>
                  </a:lnTo>
                  <a:lnTo>
                    <a:pt x="114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32" y="174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44" y="180"/>
                  </a:lnTo>
                  <a:lnTo>
                    <a:pt x="150" y="174"/>
                  </a:lnTo>
                  <a:lnTo>
                    <a:pt x="156" y="174"/>
                  </a:lnTo>
                  <a:lnTo>
                    <a:pt x="156" y="168"/>
                  </a:lnTo>
                  <a:lnTo>
                    <a:pt x="162" y="168"/>
                  </a:lnTo>
                  <a:lnTo>
                    <a:pt x="162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68"/>
                  </a:lnTo>
                  <a:lnTo>
                    <a:pt x="168" y="168"/>
                  </a:lnTo>
                  <a:lnTo>
                    <a:pt x="174" y="168"/>
                  </a:lnTo>
                  <a:lnTo>
                    <a:pt x="174" y="162"/>
                  </a:lnTo>
                  <a:lnTo>
                    <a:pt x="174" y="168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92" y="138"/>
                  </a:lnTo>
                  <a:lnTo>
                    <a:pt x="198" y="138"/>
                  </a:lnTo>
                  <a:lnTo>
                    <a:pt x="198" y="132"/>
                  </a:lnTo>
                  <a:lnTo>
                    <a:pt x="192" y="132"/>
                  </a:lnTo>
                  <a:lnTo>
                    <a:pt x="198" y="132"/>
                  </a:lnTo>
                  <a:lnTo>
                    <a:pt x="198" y="126"/>
                  </a:lnTo>
                  <a:lnTo>
                    <a:pt x="192" y="126"/>
                  </a:lnTo>
                  <a:lnTo>
                    <a:pt x="186" y="126"/>
                  </a:lnTo>
                  <a:lnTo>
                    <a:pt x="180" y="126"/>
                  </a:lnTo>
                  <a:lnTo>
                    <a:pt x="180" y="120"/>
                  </a:lnTo>
                  <a:lnTo>
                    <a:pt x="180" y="114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80" y="108"/>
                  </a:lnTo>
                  <a:lnTo>
                    <a:pt x="180" y="102"/>
                  </a:lnTo>
                  <a:lnTo>
                    <a:pt x="186" y="102"/>
                  </a:lnTo>
                  <a:lnTo>
                    <a:pt x="186" y="96"/>
                  </a:lnTo>
                  <a:lnTo>
                    <a:pt x="180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68" y="90"/>
                  </a:lnTo>
                  <a:lnTo>
                    <a:pt x="168" y="84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50" y="84"/>
                  </a:lnTo>
                  <a:lnTo>
                    <a:pt x="150" y="78"/>
                  </a:lnTo>
                  <a:lnTo>
                    <a:pt x="144" y="78"/>
                  </a:lnTo>
                  <a:lnTo>
                    <a:pt x="144" y="72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26" y="72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02" y="48"/>
                  </a:lnTo>
                  <a:lnTo>
                    <a:pt x="108" y="48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26" y="42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24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2"/>
                  </a:lnTo>
                  <a:lnTo>
                    <a:pt x="30" y="72"/>
                  </a:lnTo>
                  <a:lnTo>
                    <a:pt x="30" y="78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12" y="102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6" y="114"/>
                  </a:lnTo>
                  <a:lnTo>
                    <a:pt x="0" y="120"/>
                  </a:lnTo>
                  <a:lnTo>
                    <a:pt x="6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26"/>
                  </a:lnTo>
                  <a:lnTo>
                    <a:pt x="6" y="132"/>
                  </a:lnTo>
                  <a:lnTo>
                    <a:pt x="0" y="138"/>
                  </a:lnTo>
                  <a:lnTo>
                    <a:pt x="0" y="144"/>
                  </a:lnTo>
                  <a:lnTo>
                    <a:pt x="6" y="144"/>
                  </a:lnTo>
                  <a:lnTo>
                    <a:pt x="12" y="144"/>
                  </a:lnTo>
                  <a:lnTo>
                    <a:pt x="12" y="150"/>
                  </a:lnTo>
                  <a:lnTo>
                    <a:pt x="12" y="156"/>
                  </a:lnTo>
                  <a:lnTo>
                    <a:pt x="12" y="162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6" name="Freeform 32"/>
            <p:cNvSpPr>
              <a:spLocks noChangeAspect="1"/>
            </p:cNvSpPr>
            <p:nvPr/>
          </p:nvSpPr>
          <p:spPr bwMode="auto">
            <a:xfrm>
              <a:off x="3047282" y="5108280"/>
              <a:ext cx="137582" cy="19845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2147483647 h 156"/>
                <a:gd name="T22" fmla="*/ 2147483647 w 108"/>
                <a:gd name="T23" fmla="*/ 2147483647 h 156"/>
                <a:gd name="T24" fmla="*/ 2147483647 w 108"/>
                <a:gd name="T25" fmla="*/ 2147483647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2147483647 w 108"/>
                <a:gd name="T43" fmla="*/ 2147483647 h 156"/>
                <a:gd name="T44" fmla="*/ 2147483647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0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2147483647 w 108"/>
                <a:gd name="T63" fmla="*/ 2147483647 h 156"/>
                <a:gd name="T64" fmla="*/ 2147483647 w 108"/>
                <a:gd name="T65" fmla="*/ 0 h 156"/>
                <a:gd name="T66" fmla="*/ 2147483647 w 108"/>
                <a:gd name="T67" fmla="*/ 2147483647 h 156"/>
                <a:gd name="T68" fmla="*/ 2147483647 w 108"/>
                <a:gd name="T69" fmla="*/ 2147483647 h 156"/>
                <a:gd name="T70" fmla="*/ 2147483647 w 108"/>
                <a:gd name="T71" fmla="*/ 2147483647 h 156"/>
                <a:gd name="T72" fmla="*/ 2147483647 w 108"/>
                <a:gd name="T73" fmla="*/ 2147483647 h 156"/>
                <a:gd name="T74" fmla="*/ 2147483647 w 108"/>
                <a:gd name="T75" fmla="*/ 2147483647 h 156"/>
                <a:gd name="T76" fmla="*/ 2147483647 w 108"/>
                <a:gd name="T77" fmla="*/ 2147483647 h 156"/>
                <a:gd name="T78" fmla="*/ 2147483647 w 108"/>
                <a:gd name="T79" fmla="*/ 2147483647 h 156"/>
                <a:gd name="T80" fmla="*/ 2147483647 w 108"/>
                <a:gd name="T81" fmla="*/ 2147483647 h 156"/>
                <a:gd name="T82" fmla="*/ 2147483647 w 108"/>
                <a:gd name="T83" fmla="*/ 2147483647 h 156"/>
                <a:gd name="T84" fmla="*/ 2147483647 w 108"/>
                <a:gd name="T85" fmla="*/ 2147483647 h 156"/>
                <a:gd name="T86" fmla="*/ 2147483647 w 108"/>
                <a:gd name="T87" fmla="*/ 2147483647 h 156"/>
                <a:gd name="T88" fmla="*/ 2147483647 w 108"/>
                <a:gd name="T89" fmla="*/ 2147483647 h 156"/>
                <a:gd name="T90" fmla="*/ 2147483647 w 108"/>
                <a:gd name="T91" fmla="*/ 2147483647 h 156"/>
                <a:gd name="T92" fmla="*/ 2147483647 w 108"/>
                <a:gd name="T93" fmla="*/ 2147483647 h 156"/>
                <a:gd name="T94" fmla="*/ 2147483647 w 108"/>
                <a:gd name="T95" fmla="*/ 2147483647 h 156"/>
                <a:gd name="T96" fmla="*/ 0 w 108"/>
                <a:gd name="T97" fmla="*/ 2147483647 h 156"/>
                <a:gd name="T98" fmla="*/ 2147483647 w 108"/>
                <a:gd name="T99" fmla="*/ 2147483647 h 156"/>
                <a:gd name="T100" fmla="*/ 2147483647 w 108"/>
                <a:gd name="T101" fmla="*/ 2147483647 h 156"/>
                <a:gd name="T102" fmla="*/ 2147483647 w 108"/>
                <a:gd name="T103" fmla="*/ 2147483647 h 156"/>
                <a:gd name="T104" fmla="*/ 2147483647 w 108"/>
                <a:gd name="T105" fmla="*/ 2147483647 h 156"/>
                <a:gd name="T106" fmla="*/ 2147483647 w 108"/>
                <a:gd name="T107" fmla="*/ 2147483647 h 156"/>
                <a:gd name="T108" fmla="*/ 2147483647 w 108"/>
                <a:gd name="T109" fmla="*/ 2147483647 h 156"/>
                <a:gd name="T110" fmla="*/ 2147483647 w 108"/>
                <a:gd name="T111" fmla="*/ 2147483647 h 15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08"/>
                <a:gd name="T169" fmla="*/ 0 h 156"/>
                <a:gd name="T170" fmla="*/ 108 w 108"/>
                <a:gd name="T171" fmla="*/ 156 h 15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08" h="156">
                  <a:moveTo>
                    <a:pt x="54" y="150"/>
                  </a:moveTo>
                  <a:lnTo>
                    <a:pt x="54" y="156"/>
                  </a:lnTo>
                  <a:lnTo>
                    <a:pt x="60" y="156"/>
                  </a:lnTo>
                  <a:lnTo>
                    <a:pt x="60" y="150"/>
                  </a:lnTo>
                  <a:lnTo>
                    <a:pt x="54" y="150"/>
                  </a:lnTo>
                  <a:lnTo>
                    <a:pt x="54" y="144"/>
                  </a:lnTo>
                  <a:lnTo>
                    <a:pt x="60" y="144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66" y="138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78" y="132"/>
                  </a:lnTo>
                  <a:lnTo>
                    <a:pt x="78" y="12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96" y="126"/>
                  </a:lnTo>
                  <a:lnTo>
                    <a:pt x="90" y="126"/>
                  </a:lnTo>
                  <a:lnTo>
                    <a:pt x="90" y="120"/>
                  </a:lnTo>
                  <a:lnTo>
                    <a:pt x="90" y="114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90" y="84"/>
                  </a:lnTo>
                  <a:lnTo>
                    <a:pt x="90" y="78"/>
                  </a:lnTo>
                  <a:lnTo>
                    <a:pt x="90" y="72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96" y="42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6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18" y="66"/>
                  </a:lnTo>
                  <a:lnTo>
                    <a:pt x="18" y="72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0"/>
                  </a:lnTo>
                  <a:lnTo>
                    <a:pt x="24" y="96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8" y="96"/>
                  </a:lnTo>
                  <a:lnTo>
                    <a:pt x="12" y="102"/>
                  </a:lnTo>
                  <a:lnTo>
                    <a:pt x="6" y="108"/>
                  </a:lnTo>
                  <a:lnTo>
                    <a:pt x="6" y="114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12" y="144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48" y="144"/>
                  </a:lnTo>
                  <a:lnTo>
                    <a:pt x="48" y="150"/>
                  </a:lnTo>
                  <a:lnTo>
                    <a:pt x="54" y="150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7" name="Freeform 33"/>
            <p:cNvSpPr>
              <a:spLocks noChangeAspect="1" noEditPoints="1"/>
            </p:cNvSpPr>
            <p:nvPr/>
          </p:nvSpPr>
          <p:spPr bwMode="auto">
            <a:xfrm>
              <a:off x="2947535" y="5192424"/>
              <a:ext cx="206372" cy="206388"/>
            </a:xfrm>
            <a:custGeom>
              <a:avLst/>
              <a:gdLst>
                <a:gd name="T0" fmla="*/ 2147483647 w 162"/>
                <a:gd name="T1" fmla="*/ 2147483647 h 162"/>
                <a:gd name="T2" fmla="*/ 2147483647 w 162"/>
                <a:gd name="T3" fmla="*/ 2147483647 h 162"/>
                <a:gd name="T4" fmla="*/ 2147483647 w 162"/>
                <a:gd name="T5" fmla="*/ 2147483647 h 162"/>
                <a:gd name="T6" fmla="*/ 2147483647 w 162"/>
                <a:gd name="T7" fmla="*/ 2147483647 h 162"/>
                <a:gd name="T8" fmla="*/ 2147483647 w 162"/>
                <a:gd name="T9" fmla="*/ 2147483647 h 162"/>
                <a:gd name="T10" fmla="*/ 2147483647 w 162"/>
                <a:gd name="T11" fmla="*/ 2147483647 h 162"/>
                <a:gd name="T12" fmla="*/ 2147483647 w 162"/>
                <a:gd name="T13" fmla="*/ 2147483647 h 162"/>
                <a:gd name="T14" fmla="*/ 2147483647 w 162"/>
                <a:gd name="T15" fmla="*/ 2147483647 h 162"/>
                <a:gd name="T16" fmla="*/ 2147483647 w 162"/>
                <a:gd name="T17" fmla="*/ 2147483647 h 162"/>
                <a:gd name="T18" fmla="*/ 2147483647 w 162"/>
                <a:gd name="T19" fmla="*/ 2147483647 h 162"/>
                <a:gd name="T20" fmla="*/ 2147483647 w 162"/>
                <a:gd name="T21" fmla="*/ 2147483647 h 162"/>
                <a:gd name="T22" fmla="*/ 2147483647 w 162"/>
                <a:gd name="T23" fmla="*/ 2147483647 h 162"/>
                <a:gd name="T24" fmla="*/ 2147483647 w 162"/>
                <a:gd name="T25" fmla="*/ 2147483647 h 162"/>
                <a:gd name="T26" fmla="*/ 2147483647 w 162"/>
                <a:gd name="T27" fmla="*/ 2147483647 h 162"/>
                <a:gd name="T28" fmla="*/ 2147483647 w 162"/>
                <a:gd name="T29" fmla="*/ 2147483647 h 162"/>
                <a:gd name="T30" fmla="*/ 2147483647 w 162"/>
                <a:gd name="T31" fmla="*/ 2147483647 h 162"/>
                <a:gd name="T32" fmla="*/ 2147483647 w 162"/>
                <a:gd name="T33" fmla="*/ 2147483647 h 162"/>
                <a:gd name="T34" fmla="*/ 2147483647 w 162"/>
                <a:gd name="T35" fmla="*/ 2147483647 h 162"/>
                <a:gd name="T36" fmla="*/ 2147483647 w 162"/>
                <a:gd name="T37" fmla="*/ 2147483647 h 162"/>
                <a:gd name="T38" fmla="*/ 2147483647 w 162"/>
                <a:gd name="T39" fmla="*/ 2147483647 h 162"/>
                <a:gd name="T40" fmla="*/ 2147483647 w 162"/>
                <a:gd name="T41" fmla="*/ 2147483647 h 162"/>
                <a:gd name="T42" fmla="*/ 2147483647 w 162"/>
                <a:gd name="T43" fmla="*/ 0 h 162"/>
                <a:gd name="T44" fmla="*/ 2147483647 w 162"/>
                <a:gd name="T45" fmla="*/ 2147483647 h 162"/>
                <a:gd name="T46" fmla="*/ 2147483647 w 162"/>
                <a:gd name="T47" fmla="*/ 2147483647 h 162"/>
                <a:gd name="T48" fmla="*/ 2147483647 w 162"/>
                <a:gd name="T49" fmla="*/ 2147483647 h 162"/>
                <a:gd name="T50" fmla="*/ 2147483647 w 162"/>
                <a:gd name="T51" fmla="*/ 2147483647 h 162"/>
                <a:gd name="T52" fmla="*/ 2147483647 w 162"/>
                <a:gd name="T53" fmla="*/ 2147483647 h 162"/>
                <a:gd name="T54" fmla="*/ 0 w 162"/>
                <a:gd name="T55" fmla="*/ 2147483647 h 162"/>
                <a:gd name="T56" fmla="*/ 2147483647 w 162"/>
                <a:gd name="T57" fmla="*/ 2147483647 h 162"/>
                <a:gd name="T58" fmla="*/ 2147483647 w 162"/>
                <a:gd name="T59" fmla="*/ 2147483647 h 162"/>
                <a:gd name="T60" fmla="*/ 2147483647 w 162"/>
                <a:gd name="T61" fmla="*/ 2147483647 h 162"/>
                <a:gd name="T62" fmla="*/ 2147483647 w 162"/>
                <a:gd name="T63" fmla="*/ 2147483647 h 162"/>
                <a:gd name="T64" fmla="*/ 2147483647 w 162"/>
                <a:gd name="T65" fmla="*/ 2147483647 h 162"/>
                <a:gd name="T66" fmla="*/ 2147483647 w 162"/>
                <a:gd name="T67" fmla="*/ 2147483647 h 162"/>
                <a:gd name="T68" fmla="*/ 2147483647 w 162"/>
                <a:gd name="T69" fmla="*/ 2147483647 h 162"/>
                <a:gd name="T70" fmla="*/ 2147483647 w 162"/>
                <a:gd name="T71" fmla="*/ 2147483647 h 162"/>
                <a:gd name="T72" fmla="*/ 2147483647 w 162"/>
                <a:gd name="T73" fmla="*/ 2147483647 h 162"/>
                <a:gd name="T74" fmla="*/ 2147483647 w 162"/>
                <a:gd name="T75" fmla="*/ 2147483647 h 162"/>
                <a:gd name="T76" fmla="*/ 0 w 162"/>
                <a:gd name="T77" fmla="*/ 2147483647 h 162"/>
                <a:gd name="T78" fmla="*/ 2147483647 w 162"/>
                <a:gd name="T79" fmla="*/ 2147483647 h 162"/>
                <a:gd name="T80" fmla="*/ 2147483647 w 162"/>
                <a:gd name="T81" fmla="*/ 2147483647 h 162"/>
                <a:gd name="T82" fmla="*/ 2147483647 w 162"/>
                <a:gd name="T83" fmla="*/ 2147483647 h 162"/>
                <a:gd name="T84" fmla="*/ 2147483647 w 162"/>
                <a:gd name="T85" fmla="*/ 2147483647 h 162"/>
                <a:gd name="T86" fmla="*/ 2147483647 w 162"/>
                <a:gd name="T87" fmla="*/ 2147483647 h 162"/>
                <a:gd name="T88" fmla="*/ 2147483647 w 162"/>
                <a:gd name="T89" fmla="*/ 2147483647 h 162"/>
                <a:gd name="T90" fmla="*/ 2147483647 w 162"/>
                <a:gd name="T91" fmla="*/ 2147483647 h 162"/>
                <a:gd name="T92" fmla="*/ 2147483647 w 162"/>
                <a:gd name="T93" fmla="*/ 2147483647 h 162"/>
                <a:gd name="T94" fmla="*/ 2147483647 w 162"/>
                <a:gd name="T95" fmla="*/ 2147483647 h 162"/>
                <a:gd name="T96" fmla="*/ 2147483647 w 162"/>
                <a:gd name="T97" fmla="*/ 2147483647 h 162"/>
                <a:gd name="T98" fmla="*/ 2147483647 w 162"/>
                <a:gd name="T99" fmla="*/ 2147483647 h 162"/>
                <a:gd name="T100" fmla="*/ 2147483647 w 162"/>
                <a:gd name="T101" fmla="*/ 2147483647 h 162"/>
                <a:gd name="T102" fmla="*/ 2147483647 w 162"/>
                <a:gd name="T103" fmla="*/ 2147483647 h 162"/>
                <a:gd name="T104" fmla="*/ 2147483647 w 162"/>
                <a:gd name="T105" fmla="*/ 2147483647 h 162"/>
                <a:gd name="T106" fmla="*/ 2147483647 w 162"/>
                <a:gd name="T107" fmla="*/ 2147483647 h 162"/>
                <a:gd name="T108" fmla="*/ 2147483647 w 162"/>
                <a:gd name="T109" fmla="*/ 2147483647 h 162"/>
                <a:gd name="T110" fmla="*/ 2147483647 w 162"/>
                <a:gd name="T111" fmla="*/ 2147483647 h 162"/>
                <a:gd name="T112" fmla="*/ 2147483647 w 162"/>
                <a:gd name="T113" fmla="*/ 2147483647 h 162"/>
                <a:gd name="T114" fmla="*/ 2147483647 w 162"/>
                <a:gd name="T115" fmla="*/ 2147483647 h 162"/>
                <a:gd name="T116" fmla="*/ 2147483647 w 162"/>
                <a:gd name="T117" fmla="*/ 2147483647 h 162"/>
                <a:gd name="T118" fmla="*/ 2147483647 w 162"/>
                <a:gd name="T119" fmla="*/ 2147483647 h 162"/>
                <a:gd name="T120" fmla="*/ 2147483647 w 162"/>
                <a:gd name="T121" fmla="*/ 2147483647 h 16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2"/>
                <a:gd name="T184" fmla="*/ 0 h 162"/>
                <a:gd name="T185" fmla="*/ 162 w 162"/>
                <a:gd name="T186" fmla="*/ 162 h 16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2" h="162">
                  <a:moveTo>
                    <a:pt x="132" y="156"/>
                  </a:moveTo>
                  <a:lnTo>
                    <a:pt x="138" y="156"/>
                  </a:lnTo>
                  <a:lnTo>
                    <a:pt x="132" y="156"/>
                  </a:lnTo>
                  <a:lnTo>
                    <a:pt x="126" y="156"/>
                  </a:lnTo>
                  <a:lnTo>
                    <a:pt x="132" y="156"/>
                  </a:lnTo>
                  <a:close/>
                  <a:moveTo>
                    <a:pt x="138" y="90"/>
                  </a:moveTo>
                  <a:lnTo>
                    <a:pt x="138" y="84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84"/>
                  </a:lnTo>
                  <a:lnTo>
                    <a:pt x="138" y="84"/>
                  </a:lnTo>
                  <a:lnTo>
                    <a:pt x="138" y="90"/>
                  </a:lnTo>
                  <a:close/>
                  <a:moveTo>
                    <a:pt x="144" y="78"/>
                  </a:moveTo>
                  <a:lnTo>
                    <a:pt x="144" y="72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56" y="72"/>
                  </a:lnTo>
                  <a:lnTo>
                    <a:pt x="156" y="66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44" y="78"/>
                  </a:lnTo>
                  <a:close/>
                  <a:moveTo>
                    <a:pt x="156" y="108"/>
                  </a:moveTo>
                  <a:lnTo>
                    <a:pt x="150" y="108"/>
                  </a:lnTo>
                  <a:lnTo>
                    <a:pt x="144" y="108"/>
                  </a:lnTo>
                  <a:lnTo>
                    <a:pt x="144" y="102"/>
                  </a:lnTo>
                  <a:lnTo>
                    <a:pt x="138" y="102"/>
                  </a:lnTo>
                  <a:lnTo>
                    <a:pt x="138" y="96"/>
                  </a:lnTo>
                  <a:lnTo>
                    <a:pt x="132" y="96"/>
                  </a:lnTo>
                  <a:lnTo>
                    <a:pt x="132" y="90"/>
                  </a:lnTo>
                  <a:lnTo>
                    <a:pt x="132" y="84"/>
                  </a:lnTo>
                  <a:lnTo>
                    <a:pt x="126" y="84"/>
                  </a:lnTo>
                  <a:lnTo>
                    <a:pt x="126" y="78"/>
                  </a:lnTo>
                  <a:lnTo>
                    <a:pt x="126" y="84"/>
                  </a:lnTo>
                  <a:lnTo>
                    <a:pt x="120" y="84"/>
                  </a:lnTo>
                  <a:lnTo>
                    <a:pt x="114" y="84"/>
                  </a:lnTo>
                  <a:lnTo>
                    <a:pt x="108" y="84"/>
                  </a:lnTo>
                  <a:lnTo>
                    <a:pt x="102" y="84"/>
                  </a:lnTo>
                  <a:lnTo>
                    <a:pt x="96" y="84"/>
                  </a:lnTo>
                  <a:lnTo>
                    <a:pt x="90" y="78"/>
                  </a:lnTo>
                  <a:lnTo>
                    <a:pt x="96" y="72"/>
                  </a:lnTo>
                  <a:lnTo>
                    <a:pt x="96" y="66"/>
                  </a:lnTo>
                  <a:lnTo>
                    <a:pt x="90" y="60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6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24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48" y="108"/>
                  </a:lnTo>
                  <a:lnTo>
                    <a:pt x="54" y="108"/>
                  </a:lnTo>
                  <a:lnTo>
                    <a:pt x="54" y="114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48" y="114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54" y="126"/>
                  </a:lnTo>
                  <a:lnTo>
                    <a:pt x="60" y="126"/>
                  </a:lnTo>
                  <a:lnTo>
                    <a:pt x="60" y="132"/>
                  </a:lnTo>
                  <a:lnTo>
                    <a:pt x="60" y="138"/>
                  </a:lnTo>
                  <a:lnTo>
                    <a:pt x="66" y="138"/>
                  </a:lnTo>
                  <a:lnTo>
                    <a:pt x="72" y="138"/>
                  </a:lnTo>
                  <a:lnTo>
                    <a:pt x="72" y="144"/>
                  </a:lnTo>
                  <a:lnTo>
                    <a:pt x="78" y="144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102" y="150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0"/>
                  </a:lnTo>
                  <a:lnTo>
                    <a:pt x="126" y="156"/>
                  </a:lnTo>
                  <a:lnTo>
                    <a:pt x="120" y="156"/>
                  </a:lnTo>
                  <a:lnTo>
                    <a:pt x="126" y="162"/>
                  </a:lnTo>
                  <a:lnTo>
                    <a:pt x="126" y="156"/>
                  </a:lnTo>
                  <a:lnTo>
                    <a:pt x="126" y="150"/>
                  </a:lnTo>
                  <a:lnTo>
                    <a:pt x="132" y="150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44" y="144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38"/>
                  </a:lnTo>
                  <a:lnTo>
                    <a:pt x="156" y="132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6" y="114"/>
                  </a:lnTo>
                  <a:lnTo>
                    <a:pt x="162" y="114"/>
                  </a:lnTo>
                  <a:lnTo>
                    <a:pt x="162" y="108"/>
                  </a:lnTo>
                  <a:lnTo>
                    <a:pt x="156" y="108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8" name="Freeform 34"/>
            <p:cNvSpPr>
              <a:spLocks noChangeAspect="1"/>
            </p:cNvSpPr>
            <p:nvPr/>
          </p:nvSpPr>
          <p:spPr bwMode="auto">
            <a:xfrm>
              <a:off x="2527912" y="4925706"/>
              <a:ext cx="282042" cy="122245"/>
            </a:xfrm>
            <a:custGeom>
              <a:avLst/>
              <a:gdLst>
                <a:gd name="T0" fmla="*/ 2147483647 w 222"/>
                <a:gd name="T1" fmla="*/ 2147483647 h 96"/>
                <a:gd name="T2" fmla="*/ 2147483647 w 222"/>
                <a:gd name="T3" fmla="*/ 2147483647 h 96"/>
                <a:gd name="T4" fmla="*/ 2147483647 w 222"/>
                <a:gd name="T5" fmla="*/ 2147483647 h 96"/>
                <a:gd name="T6" fmla="*/ 2147483647 w 222"/>
                <a:gd name="T7" fmla="*/ 2147483647 h 96"/>
                <a:gd name="T8" fmla="*/ 2147483647 w 222"/>
                <a:gd name="T9" fmla="*/ 2147483647 h 96"/>
                <a:gd name="T10" fmla="*/ 2147483647 w 222"/>
                <a:gd name="T11" fmla="*/ 2147483647 h 96"/>
                <a:gd name="T12" fmla="*/ 2147483647 w 222"/>
                <a:gd name="T13" fmla="*/ 2147483647 h 96"/>
                <a:gd name="T14" fmla="*/ 2147483647 w 222"/>
                <a:gd name="T15" fmla="*/ 2147483647 h 96"/>
                <a:gd name="T16" fmla="*/ 2147483647 w 222"/>
                <a:gd name="T17" fmla="*/ 2147483647 h 96"/>
                <a:gd name="T18" fmla="*/ 2147483647 w 222"/>
                <a:gd name="T19" fmla="*/ 2147483647 h 96"/>
                <a:gd name="T20" fmla="*/ 2147483647 w 222"/>
                <a:gd name="T21" fmla="*/ 2147483647 h 96"/>
                <a:gd name="T22" fmla="*/ 2147483647 w 222"/>
                <a:gd name="T23" fmla="*/ 2147483647 h 96"/>
                <a:gd name="T24" fmla="*/ 2147483647 w 222"/>
                <a:gd name="T25" fmla="*/ 2147483647 h 96"/>
                <a:gd name="T26" fmla="*/ 2147483647 w 222"/>
                <a:gd name="T27" fmla="*/ 2147483647 h 96"/>
                <a:gd name="T28" fmla="*/ 2147483647 w 222"/>
                <a:gd name="T29" fmla="*/ 2147483647 h 96"/>
                <a:gd name="T30" fmla="*/ 2147483647 w 222"/>
                <a:gd name="T31" fmla="*/ 2147483647 h 96"/>
                <a:gd name="T32" fmla="*/ 2147483647 w 222"/>
                <a:gd name="T33" fmla="*/ 2147483647 h 96"/>
                <a:gd name="T34" fmla="*/ 2147483647 w 222"/>
                <a:gd name="T35" fmla="*/ 2147483647 h 96"/>
                <a:gd name="T36" fmla="*/ 2147483647 w 222"/>
                <a:gd name="T37" fmla="*/ 2147483647 h 96"/>
                <a:gd name="T38" fmla="*/ 2147483647 w 222"/>
                <a:gd name="T39" fmla="*/ 2147483647 h 96"/>
                <a:gd name="T40" fmla="*/ 2147483647 w 222"/>
                <a:gd name="T41" fmla="*/ 2147483647 h 96"/>
                <a:gd name="T42" fmla="*/ 2147483647 w 222"/>
                <a:gd name="T43" fmla="*/ 2147483647 h 96"/>
                <a:gd name="T44" fmla="*/ 2147483647 w 222"/>
                <a:gd name="T45" fmla="*/ 2147483647 h 96"/>
                <a:gd name="T46" fmla="*/ 2147483647 w 222"/>
                <a:gd name="T47" fmla="*/ 2147483647 h 96"/>
                <a:gd name="T48" fmla="*/ 2147483647 w 222"/>
                <a:gd name="T49" fmla="*/ 2147483647 h 96"/>
                <a:gd name="T50" fmla="*/ 2147483647 w 222"/>
                <a:gd name="T51" fmla="*/ 2147483647 h 96"/>
                <a:gd name="T52" fmla="*/ 2147483647 w 222"/>
                <a:gd name="T53" fmla="*/ 0 h 96"/>
                <a:gd name="T54" fmla="*/ 2147483647 w 222"/>
                <a:gd name="T55" fmla="*/ 2147483647 h 96"/>
                <a:gd name="T56" fmla="*/ 2147483647 w 222"/>
                <a:gd name="T57" fmla="*/ 2147483647 h 96"/>
                <a:gd name="T58" fmla="*/ 2147483647 w 222"/>
                <a:gd name="T59" fmla="*/ 2147483647 h 96"/>
                <a:gd name="T60" fmla="*/ 2147483647 w 222"/>
                <a:gd name="T61" fmla="*/ 2147483647 h 96"/>
                <a:gd name="T62" fmla="*/ 2147483647 w 222"/>
                <a:gd name="T63" fmla="*/ 2147483647 h 96"/>
                <a:gd name="T64" fmla="*/ 2147483647 w 222"/>
                <a:gd name="T65" fmla="*/ 2147483647 h 96"/>
                <a:gd name="T66" fmla="*/ 2147483647 w 222"/>
                <a:gd name="T67" fmla="*/ 2147483647 h 96"/>
                <a:gd name="T68" fmla="*/ 2147483647 w 222"/>
                <a:gd name="T69" fmla="*/ 2147483647 h 96"/>
                <a:gd name="T70" fmla="*/ 2147483647 w 222"/>
                <a:gd name="T71" fmla="*/ 2147483647 h 96"/>
                <a:gd name="T72" fmla="*/ 2147483647 w 222"/>
                <a:gd name="T73" fmla="*/ 2147483647 h 96"/>
                <a:gd name="T74" fmla="*/ 2147483647 w 222"/>
                <a:gd name="T75" fmla="*/ 2147483647 h 96"/>
                <a:gd name="T76" fmla="*/ 2147483647 w 222"/>
                <a:gd name="T77" fmla="*/ 2147483647 h 96"/>
                <a:gd name="T78" fmla="*/ 2147483647 w 222"/>
                <a:gd name="T79" fmla="*/ 2147483647 h 96"/>
                <a:gd name="T80" fmla="*/ 2147483647 w 222"/>
                <a:gd name="T81" fmla="*/ 2147483647 h 96"/>
                <a:gd name="T82" fmla="*/ 2147483647 w 222"/>
                <a:gd name="T83" fmla="*/ 2147483647 h 96"/>
                <a:gd name="T84" fmla="*/ 2147483647 w 222"/>
                <a:gd name="T85" fmla="*/ 2147483647 h 96"/>
                <a:gd name="T86" fmla="*/ 2147483647 w 222"/>
                <a:gd name="T87" fmla="*/ 2147483647 h 96"/>
                <a:gd name="T88" fmla="*/ 2147483647 w 222"/>
                <a:gd name="T89" fmla="*/ 2147483647 h 96"/>
                <a:gd name="T90" fmla="*/ 2147483647 w 222"/>
                <a:gd name="T91" fmla="*/ 2147483647 h 96"/>
                <a:gd name="T92" fmla="*/ 0 w 222"/>
                <a:gd name="T93" fmla="*/ 2147483647 h 96"/>
                <a:gd name="T94" fmla="*/ 2147483647 w 222"/>
                <a:gd name="T95" fmla="*/ 2147483647 h 96"/>
                <a:gd name="T96" fmla="*/ 0 w 222"/>
                <a:gd name="T97" fmla="*/ 2147483647 h 9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22"/>
                <a:gd name="T148" fmla="*/ 0 h 96"/>
                <a:gd name="T149" fmla="*/ 222 w 222"/>
                <a:gd name="T150" fmla="*/ 96 h 9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22" h="96">
                  <a:moveTo>
                    <a:pt x="0" y="90"/>
                  </a:moveTo>
                  <a:lnTo>
                    <a:pt x="6" y="96"/>
                  </a:lnTo>
                  <a:lnTo>
                    <a:pt x="6" y="90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24" y="96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0"/>
                  </a:lnTo>
                  <a:lnTo>
                    <a:pt x="36" y="84"/>
                  </a:lnTo>
                  <a:lnTo>
                    <a:pt x="36" y="90"/>
                  </a:lnTo>
                  <a:lnTo>
                    <a:pt x="42" y="84"/>
                  </a:lnTo>
                  <a:lnTo>
                    <a:pt x="48" y="84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6" y="72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14" y="54"/>
                  </a:lnTo>
                  <a:lnTo>
                    <a:pt x="120" y="54"/>
                  </a:lnTo>
                  <a:lnTo>
                    <a:pt x="126" y="54"/>
                  </a:lnTo>
                  <a:lnTo>
                    <a:pt x="126" y="48"/>
                  </a:lnTo>
                  <a:lnTo>
                    <a:pt x="132" y="48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2" y="66"/>
                  </a:lnTo>
                  <a:lnTo>
                    <a:pt x="168" y="66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86" y="66"/>
                  </a:lnTo>
                  <a:lnTo>
                    <a:pt x="186" y="72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204" y="66"/>
                  </a:lnTo>
                  <a:lnTo>
                    <a:pt x="204" y="60"/>
                  </a:lnTo>
                  <a:lnTo>
                    <a:pt x="210" y="60"/>
                  </a:lnTo>
                  <a:lnTo>
                    <a:pt x="210" y="66"/>
                  </a:lnTo>
                  <a:lnTo>
                    <a:pt x="216" y="66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22" y="54"/>
                  </a:lnTo>
                  <a:lnTo>
                    <a:pt x="222" y="48"/>
                  </a:lnTo>
                  <a:lnTo>
                    <a:pt x="222" y="42"/>
                  </a:lnTo>
                  <a:lnTo>
                    <a:pt x="216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10" y="30"/>
                  </a:lnTo>
                  <a:lnTo>
                    <a:pt x="210" y="24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92" y="0"/>
                  </a:lnTo>
                  <a:lnTo>
                    <a:pt x="186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74" y="12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6" y="66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0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9" name="Freeform 35"/>
            <p:cNvSpPr>
              <a:spLocks noChangeAspect="1" noEditPoints="1"/>
            </p:cNvSpPr>
            <p:nvPr/>
          </p:nvSpPr>
          <p:spPr bwMode="auto">
            <a:xfrm>
              <a:off x="2232111" y="4765358"/>
              <a:ext cx="335355" cy="442942"/>
            </a:xfrm>
            <a:custGeom>
              <a:avLst/>
              <a:gdLst>
                <a:gd name="T0" fmla="*/ 2147483647 w 264"/>
                <a:gd name="T1" fmla="*/ 2147483647 h 348"/>
                <a:gd name="T2" fmla="*/ 2147483647 w 264"/>
                <a:gd name="T3" fmla="*/ 2147483647 h 348"/>
                <a:gd name="T4" fmla="*/ 2147483647 w 264"/>
                <a:gd name="T5" fmla="*/ 2147483647 h 348"/>
                <a:gd name="T6" fmla="*/ 2147483647 w 264"/>
                <a:gd name="T7" fmla="*/ 2147483647 h 348"/>
                <a:gd name="T8" fmla="*/ 2147483647 w 264"/>
                <a:gd name="T9" fmla="*/ 2147483647 h 348"/>
                <a:gd name="T10" fmla="*/ 2147483647 w 264"/>
                <a:gd name="T11" fmla="*/ 2147483647 h 348"/>
                <a:gd name="T12" fmla="*/ 2147483647 w 264"/>
                <a:gd name="T13" fmla="*/ 2147483647 h 348"/>
                <a:gd name="T14" fmla="*/ 2147483647 w 264"/>
                <a:gd name="T15" fmla="*/ 2147483647 h 348"/>
                <a:gd name="T16" fmla="*/ 2147483647 w 264"/>
                <a:gd name="T17" fmla="*/ 2147483647 h 348"/>
                <a:gd name="T18" fmla="*/ 2147483647 w 264"/>
                <a:gd name="T19" fmla="*/ 2147483647 h 348"/>
                <a:gd name="T20" fmla="*/ 2147483647 w 264"/>
                <a:gd name="T21" fmla="*/ 2147483647 h 348"/>
                <a:gd name="T22" fmla="*/ 2147483647 w 264"/>
                <a:gd name="T23" fmla="*/ 2147483647 h 348"/>
                <a:gd name="T24" fmla="*/ 2147483647 w 264"/>
                <a:gd name="T25" fmla="*/ 2147483647 h 348"/>
                <a:gd name="T26" fmla="*/ 2147483647 w 264"/>
                <a:gd name="T27" fmla="*/ 2147483647 h 348"/>
                <a:gd name="T28" fmla="*/ 2147483647 w 264"/>
                <a:gd name="T29" fmla="*/ 2147483647 h 348"/>
                <a:gd name="T30" fmla="*/ 2147483647 w 264"/>
                <a:gd name="T31" fmla="*/ 0 h 348"/>
                <a:gd name="T32" fmla="*/ 2147483647 w 264"/>
                <a:gd name="T33" fmla="*/ 2147483647 h 348"/>
                <a:gd name="T34" fmla="*/ 2147483647 w 264"/>
                <a:gd name="T35" fmla="*/ 2147483647 h 348"/>
                <a:gd name="T36" fmla="*/ 2147483647 w 264"/>
                <a:gd name="T37" fmla="*/ 2147483647 h 348"/>
                <a:gd name="T38" fmla="*/ 2147483647 w 264"/>
                <a:gd name="T39" fmla="*/ 2147483647 h 348"/>
                <a:gd name="T40" fmla="*/ 2147483647 w 264"/>
                <a:gd name="T41" fmla="*/ 2147483647 h 348"/>
                <a:gd name="T42" fmla="*/ 2147483647 w 264"/>
                <a:gd name="T43" fmla="*/ 2147483647 h 348"/>
                <a:gd name="T44" fmla="*/ 2147483647 w 264"/>
                <a:gd name="T45" fmla="*/ 2147483647 h 348"/>
                <a:gd name="T46" fmla="*/ 2147483647 w 264"/>
                <a:gd name="T47" fmla="*/ 2147483647 h 348"/>
                <a:gd name="T48" fmla="*/ 2147483647 w 264"/>
                <a:gd name="T49" fmla="*/ 2147483647 h 348"/>
                <a:gd name="T50" fmla="*/ 2147483647 w 264"/>
                <a:gd name="T51" fmla="*/ 2147483647 h 348"/>
                <a:gd name="T52" fmla="*/ 2147483647 w 264"/>
                <a:gd name="T53" fmla="*/ 2147483647 h 348"/>
                <a:gd name="T54" fmla="*/ 2147483647 w 264"/>
                <a:gd name="T55" fmla="*/ 2147483647 h 348"/>
                <a:gd name="T56" fmla="*/ 2147483647 w 264"/>
                <a:gd name="T57" fmla="*/ 2147483647 h 348"/>
                <a:gd name="T58" fmla="*/ 2147483647 w 264"/>
                <a:gd name="T59" fmla="*/ 2147483647 h 348"/>
                <a:gd name="T60" fmla="*/ 2147483647 w 264"/>
                <a:gd name="T61" fmla="*/ 2147483647 h 348"/>
                <a:gd name="T62" fmla="*/ 2147483647 w 264"/>
                <a:gd name="T63" fmla="*/ 2147483647 h 348"/>
                <a:gd name="T64" fmla="*/ 2147483647 w 264"/>
                <a:gd name="T65" fmla="*/ 2147483647 h 348"/>
                <a:gd name="T66" fmla="*/ 2147483647 w 264"/>
                <a:gd name="T67" fmla="*/ 2147483647 h 348"/>
                <a:gd name="T68" fmla="*/ 2147483647 w 264"/>
                <a:gd name="T69" fmla="*/ 2147483647 h 348"/>
                <a:gd name="T70" fmla="*/ 2147483647 w 264"/>
                <a:gd name="T71" fmla="*/ 2147483647 h 348"/>
                <a:gd name="T72" fmla="*/ 2147483647 w 264"/>
                <a:gd name="T73" fmla="*/ 2147483647 h 348"/>
                <a:gd name="T74" fmla="*/ 2147483647 w 264"/>
                <a:gd name="T75" fmla="*/ 2147483647 h 348"/>
                <a:gd name="T76" fmla="*/ 2147483647 w 264"/>
                <a:gd name="T77" fmla="*/ 2147483647 h 348"/>
                <a:gd name="T78" fmla="*/ 2147483647 w 264"/>
                <a:gd name="T79" fmla="*/ 2147483647 h 348"/>
                <a:gd name="T80" fmla="*/ 2147483647 w 264"/>
                <a:gd name="T81" fmla="*/ 2147483647 h 348"/>
                <a:gd name="T82" fmla="*/ 2147483647 w 264"/>
                <a:gd name="T83" fmla="*/ 2147483647 h 348"/>
                <a:gd name="T84" fmla="*/ 2147483647 w 264"/>
                <a:gd name="T85" fmla="*/ 2147483647 h 348"/>
                <a:gd name="T86" fmla="*/ 2147483647 w 264"/>
                <a:gd name="T87" fmla="*/ 2147483647 h 348"/>
                <a:gd name="T88" fmla="*/ 2147483647 w 264"/>
                <a:gd name="T89" fmla="*/ 2147483647 h 348"/>
                <a:gd name="T90" fmla="*/ 2147483647 w 264"/>
                <a:gd name="T91" fmla="*/ 2147483647 h 348"/>
                <a:gd name="T92" fmla="*/ 2147483647 w 264"/>
                <a:gd name="T93" fmla="*/ 2147483647 h 348"/>
                <a:gd name="T94" fmla="*/ 2147483647 w 264"/>
                <a:gd name="T95" fmla="*/ 2147483647 h 348"/>
                <a:gd name="T96" fmla="*/ 2147483647 w 264"/>
                <a:gd name="T97" fmla="*/ 2147483647 h 348"/>
                <a:gd name="T98" fmla="*/ 2147483647 w 264"/>
                <a:gd name="T99" fmla="*/ 2147483647 h 348"/>
                <a:gd name="T100" fmla="*/ 2147483647 w 264"/>
                <a:gd name="T101" fmla="*/ 2147483647 h 348"/>
                <a:gd name="T102" fmla="*/ 2147483647 w 264"/>
                <a:gd name="T103" fmla="*/ 2147483647 h 348"/>
                <a:gd name="T104" fmla="*/ 2147483647 w 264"/>
                <a:gd name="T105" fmla="*/ 2147483647 h 348"/>
                <a:gd name="T106" fmla="*/ 2147483647 w 264"/>
                <a:gd name="T107" fmla="*/ 2147483647 h 348"/>
                <a:gd name="T108" fmla="*/ 2147483647 w 264"/>
                <a:gd name="T109" fmla="*/ 2147483647 h 348"/>
                <a:gd name="T110" fmla="*/ 2147483647 w 264"/>
                <a:gd name="T111" fmla="*/ 2147483647 h 34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64"/>
                <a:gd name="T169" fmla="*/ 0 h 348"/>
                <a:gd name="T170" fmla="*/ 264 w 264"/>
                <a:gd name="T171" fmla="*/ 348 h 34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64" h="348">
                  <a:moveTo>
                    <a:pt x="228" y="42"/>
                  </a:moveTo>
                  <a:lnTo>
                    <a:pt x="222" y="42"/>
                  </a:lnTo>
                  <a:lnTo>
                    <a:pt x="228" y="42"/>
                  </a:lnTo>
                  <a:close/>
                  <a:moveTo>
                    <a:pt x="234" y="150"/>
                  </a:moveTo>
                  <a:lnTo>
                    <a:pt x="240" y="150"/>
                  </a:lnTo>
                  <a:lnTo>
                    <a:pt x="240" y="144"/>
                  </a:lnTo>
                  <a:lnTo>
                    <a:pt x="234" y="144"/>
                  </a:lnTo>
                  <a:lnTo>
                    <a:pt x="234" y="150"/>
                  </a:lnTo>
                  <a:close/>
                  <a:moveTo>
                    <a:pt x="204" y="54"/>
                  </a:moveTo>
                  <a:lnTo>
                    <a:pt x="204" y="60"/>
                  </a:lnTo>
                  <a:lnTo>
                    <a:pt x="210" y="60"/>
                  </a:lnTo>
                  <a:lnTo>
                    <a:pt x="210" y="54"/>
                  </a:lnTo>
                  <a:lnTo>
                    <a:pt x="210" y="60"/>
                  </a:lnTo>
                  <a:lnTo>
                    <a:pt x="216" y="60"/>
                  </a:lnTo>
                  <a:lnTo>
                    <a:pt x="210" y="54"/>
                  </a:lnTo>
                  <a:lnTo>
                    <a:pt x="210" y="60"/>
                  </a:lnTo>
                  <a:lnTo>
                    <a:pt x="204" y="54"/>
                  </a:lnTo>
                  <a:lnTo>
                    <a:pt x="198" y="54"/>
                  </a:lnTo>
                  <a:lnTo>
                    <a:pt x="204" y="54"/>
                  </a:lnTo>
                  <a:close/>
                  <a:moveTo>
                    <a:pt x="210" y="48"/>
                  </a:moveTo>
                  <a:lnTo>
                    <a:pt x="210" y="54"/>
                  </a:lnTo>
                  <a:lnTo>
                    <a:pt x="216" y="54"/>
                  </a:lnTo>
                  <a:lnTo>
                    <a:pt x="216" y="48"/>
                  </a:lnTo>
                  <a:lnTo>
                    <a:pt x="222" y="48"/>
                  </a:lnTo>
                  <a:lnTo>
                    <a:pt x="228" y="48"/>
                  </a:lnTo>
                  <a:lnTo>
                    <a:pt x="222" y="48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22" y="42"/>
                  </a:lnTo>
                  <a:lnTo>
                    <a:pt x="216" y="42"/>
                  </a:lnTo>
                  <a:lnTo>
                    <a:pt x="216" y="36"/>
                  </a:lnTo>
                  <a:lnTo>
                    <a:pt x="216" y="42"/>
                  </a:lnTo>
                  <a:lnTo>
                    <a:pt x="216" y="36"/>
                  </a:lnTo>
                  <a:lnTo>
                    <a:pt x="216" y="42"/>
                  </a:lnTo>
                  <a:lnTo>
                    <a:pt x="210" y="42"/>
                  </a:lnTo>
                  <a:lnTo>
                    <a:pt x="210" y="48"/>
                  </a:lnTo>
                  <a:close/>
                  <a:moveTo>
                    <a:pt x="192" y="48"/>
                  </a:moveTo>
                  <a:lnTo>
                    <a:pt x="198" y="48"/>
                  </a:lnTo>
                  <a:lnTo>
                    <a:pt x="198" y="54"/>
                  </a:lnTo>
                  <a:lnTo>
                    <a:pt x="198" y="48"/>
                  </a:lnTo>
                  <a:lnTo>
                    <a:pt x="198" y="42"/>
                  </a:lnTo>
                  <a:lnTo>
                    <a:pt x="204" y="42"/>
                  </a:lnTo>
                  <a:lnTo>
                    <a:pt x="204" y="48"/>
                  </a:lnTo>
                  <a:lnTo>
                    <a:pt x="210" y="48"/>
                  </a:lnTo>
                  <a:lnTo>
                    <a:pt x="210" y="42"/>
                  </a:lnTo>
                  <a:lnTo>
                    <a:pt x="204" y="42"/>
                  </a:lnTo>
                  <a:lnTo>
                    <a:pt x="210" y="42"/>
                  </a:lnTo>
                  <a:lnTo>
                    <a:pt x="210" y="36"/>
                  </a:lnTo>
                  <a:lnTo>
                    <a:pt x="216" y="36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204" y="42"/>
                  </a:lnTo>
                  <a:lnTo>
                    <a:pt x="198" y="42"/>
                  </a:lnTo>
                  <a:lnTo>
                    <a:pt x="192" y="42"/>
                  </a:lnTo>
                  <a:lnTo>
                    <a:pt x="192" y="48"/>
                  </a:lnTo>
                  <a:close/>
                  <a:moveTo>
                    <a:pt x="228" y="18"/>
                  </a:moveTo>
                  <a:lnTo>
                    <a:pt x="228" y="24"/>
                  </a:lnTo>
                  <a:lnTo>
                    <a:pt x="234" y="24"/>
                  </a:lnTo>
                  <a:lnTo>
                    <a:pt x="234" y="30"/>
                  </a:lnTo>
                  <a:lnTo>
                    <a:pt x="240" y="30"/>
                  </a:lnTo>
                  <a:lnTo>
                    <a:pt x="234" y="30"/>
                  </a:lnTo>
                  <a:lnTo>
                    <a:pt x="240" y="30"/>
                  </a:lnTo>
                  <a:lnTo>
                    <a:pt x="246" y="30"/>
                  </a:lnTo>
                  <a:lnTo>
                    <a:pt x="252" y="30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52" y="24"/>
                  </a:lnTo>
                  <a:lnTo>
                    <a:pt x="258" y="24"/>
                  </a:lnTo>
                  <a:lnTo>
                    <a:pt x="252" y="24"/>
                  </a:lnTo>
                  <a:lnTo>
                    <a:pt x="258" y="24"/>
                  </a:lnTo>
                  <a:lnTo>
                    <a:pt x="258" y="18"/>
                  </a:lnTo>
                  <a:lnTo>
                    <a:pt x="258" y="12"/>
                  </a:lnTo>
                  <a:lnTo>
                    <a:pt x="258" y="6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40" y="6"/>
                  </a:lnTo>
                  <a:lnTo>
                    <a:pt x="240" y="0"/>
                  </a:lnTo>
                  <a:lnTo>
                    <a:pt x="234" y="0"/>
                  </a:lnTo>
                  <a:lnTo>
                    <a:pt x="234" y="6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34" y="12"/>
                  </a:lnTo>
                  <a:lnTo>
                    <a:pt x="228" y="12"/>
                  </a:lnTo>
                  <a:lnTo>
                    <a:pt x="228" y="18"/>
                  </a:lnTo>
                  <a:close/>
                  <a:moveTo>
                    <a:pt x="72" y="324"/>
                  </a:moveTo>
                  <a:lnTo>
                    <a:pt x="66" y="318"/>
                  </a:lnTo>
                  <a:lnTo>
                    <a:pt x="66" y="312"/>
                  </a:lnTo>
                  <a:lnTo>
                    <a:pt x="72" y="306"/>
                  </a:lnTo>
                  <a:lnTo>
                    <a:pt x="78" y="300"/>
                  </a:lnTo>
                  <a:lnTo>
                    <a:pt x="72" y="294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78" y="282"/>
                  </a:lnTo>
                  <a:lnTo>
                    <a:pt x="78" y="276"/>
                  </a:lnTo>
                  <a:lnTo>
                    <a:pt x="84" y="276"/>
                  </a:lnTo>
                  <a:lnTo>
                    <a:pt x="90" y="276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6" y="264"/>
                  </a:lnTo>
                  <a:lnTo>
                    <a:pt x="102" y="264"/>
                  </a:lnTo>
                  <a:lnTo>
                    <a:pt x="102" y="270"/>
                  </a:lnTo>
                  <a:lnTo>
                    <a:pt x="102" y="264"/>
                  </a:lnTo>
                  <a:lnTo>
                    <a:pt x="108" y="264"/>
                  </a:lnTo>
                  <a:lnTo>
                    <a:pt x="114" y="264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26" y="264"/>
                  </a:lnTo>
                  <a:lnTo>
                    <a:pt x="132" y="264"/>
                  </a:lnTo>
                  <a:lnTo>
                    <a:pt x="138" y="264"/>
                  </a:lnTo>
                  <a:lnTo>
                    <a:pt x="144" y="264"/>
                  </a:lnTo>
                  <a:lnTo>
                    <a:pt x="150" y="264"/>
                  </a:lnTo>
                  <a:lnTo>
                    <a:pt x="150" y="258"/>
                  </a:lnTo>
                  <a:lnTo>
                    <a:pt x="156" y="258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52"/>
                  </a:lnTo>
                  <a:lnTo>
                    <a:pt x="162" y="252"/>
                  </a:lnTo>
                  <a:lnTo>
                    <a:pt x="162" y="246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8" y="240"/>
                  </a:lnTo>
                  <a:lnTo>
                    <a:pt x="168" y="234"/>
                  </a:lnTo>
                  <a:lnTo>
                    <a:pt x="174" y="234"/>
                  </a:lnTo>
                  <a:lnTo>
                    <a:pt x="174" y="228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92" y="216"/>
                  </a:lnTo>
                  <a:lnTo>
                    <a:pt x="192" y="210"/>
                  </a:lnTo>
                  <a:lnTo>
                    <a:pt x="198" y="210"/>
                  </a:lnTo>
                  <a:lnTo>
                    <a:pt x="198" y="216"/>
                  </a:lnTo>
                  <a:lnTo>
                    <a:pt x="204" y="216"/>
                  </a:lnTo>
                  <a:lnTo>
                    <a:pt x="210" y="216"/>
                  </a:lnTo>
                  <a:lnTo>
                    <a:pt x="216" y="216"/>
                  </a:lnTo>
                  <a:lnTo>
                    <a:pt x="222" y="216"/>
                  </a:lnTo>
                  <a:lnTo>
                    <a:pt x="228" y="216"/>
                  </a:lnTo>
                  <a:lnTo>
                    <a:pt x="234" y="216"/>
                  </a:lnTo>
                  <a:lnTo>
                    <a:pt x="234" y="210"/>
                  </a:lnTo>
                  <a:lnTo>
                    <a:pt x="240" y="204"/>
                  </a:lnTo>
                  <a:lnTo>
                    <a:pt x="246" y="204"/>
                  </a:lnTo>
                  <a:lnTo>
                    <a:pt x="240" y="198"/>
                  </a:lnTo>
                  <a:lnTo>
                    <a:pt x="240" y="192"/>
                  </a:lnTo>
                  <a:lnTo>
                    <a:pt x="234" y="198"/>
                  </a:lnTo>
                  <a:lnTo>
                    <a:pt x="234" y="192"/>
                  </a:lnTo>
                  <a:lnTo>
                    <a:pt x="240" y="192"/>
                  </a:lnTo>
                  <a:lnTo>
                    <a:pt x="246" y="192"/>
                  </a:lnTo>
                  <a:lnTo>
                    <a:pt x="246" y="186"/>
                  </a:lnTo>
                  <a:lnTo>
                    <a:pt x="252" y="186"/>
                  </a:lnTo>
                  <a:lnTo>
                    <a:pt x="258" y="186"/>
                  </a:lnTo>
                  <a:lnTo>
                    <a:pt x="264" y="186"/>
                  </a:lnTo>
                  <a:lnTo>
                    <a:pt x="258" y="180"/>
                  </a:lnTo>
                  <a:lnTo>
                    <a:pt x="258" y="174"/>
                  </a:lnTo>
                  <a:lnTo>
                    <a:pt x="258" y="168"/>
                  </a:lnTo>
                  <a:lnTo>
                    <a:pt x="264" y="168"/>
                  </a:lnTo>
                  <a:lnTo>
                    <a:pt x="258" y="168"/>
                  </a:lnTo>
                  <a:lnTo>
                    <a:pt x="258" y="162"/>
                  </a:lnTo>
                  <a:lnTo>
                    <a:pt x="258" y="156"/>
                  </a:lnTo>
                  <a:lnTo>
                    <a:pt x="252" y="156"/>
                  </a:lnTo>
                  <a:lnTo>
                    <a:pt x="246" y="156"/>
                  </a:lnTo>
                  <a:lnTo>
                    <a:pt x="240" y="156"/>
                  </a:lnTo>
                  <a:lnTo>
                    <a:pt x="234" y="156"/>
                  </a:lnTo>
                  <a:lnTo>
                    <a:pt x="228" y="156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28" y="150"/>
                  </a:lnTo>
                  <a:lnTo>
                    <a:pt x="228" y="144"/>
                  </a:lnTo>
                  <a:lnTo>
                    <a:pt x="234" y="138"/>
                  </a:lnTo>
                  <a:lnTo>
                    <a:pt x="240" y="138"/>
                  </a:lnTo>
                  <a:lnTo>
                    <a:pt x="246" y="138"/>
                  </a:lnTo>
                  <a:lnTo>
                    <a:pt x="252" y="138"/>
                  </a:lnTo>
                  <a:lnTo>
                    <a:pt x="258" y="138"/>
                  </a:lnTo>
                  <a:lnTo>
                    <a:pt x="258" y="132"/>
                  </a:lnTo>
                  <a:lnTo>
                    <a:pt x="252" y="132"/>
                  </a:lnTo>
                  <a:lnTo>
                    <a:pt x="246" y="132"/>
                  </a:lnTo>
                  <a:lnTo>
                    <a:pt x="240" y="132"/>
                  </a:lnTo>
                  <a:lnTo>
                    <a:pt x="246" y="132"/>
                  </a:lnTo>
                  <a:lnTo>
                    <a:pt x="240" y="132"/>
                  </a:lnTo>
                  <a:lnTo>
                    <a:pt x="234" y="132"/>
                  </a:lnTo>
                  <a:lnTo>
                    <a:pt x="240" y="132"/>
                  </a:lnTo>
                  <a:lnTo>
                    <a:pt x="234" y="132"/>
                  </a:lnTo>
                  <a:lnTo>
                    <a:pt x="228" y="132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16" y="132"/>
                  </a:lnTo>
                  <a:lnTo>
                    <a:pt x="216" y="138"/>
                  </a:lnTo>
                  <a:lnTo>
                    <a:pt x="210" y="138"/>
                  </a:lnTo>
                  <a:lnTo>
                    <a:pt x="204" y="138"/>
                  </a:lnTo>
                  <a:lnTo>
                    <a:pt x="204" y="144"/>
                  </a:lnTo>
                  <a:lnTo>
                    <a:pt x="198" y="144"/>
                  </a:lnTo>
                  <a:lnTo>
                    <a:pt x="192" y="144"/>
                  </a:lnTo>
                  <a:lnTo>
                    <a:pt x="186" y="144"/>
                  </a:lnTo>
                  <a:lnTo>
                    <a:pt x="180" y="144"/>
                  </a:lnTo>
                  <a:lnTo>
                    <a:pt x="174" y="144"/>
                  </a:lnTo>
                  <a:lnTo>
                    <a:pt x="174" y="150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8" y="150"/>
                  </a:lnTo>
                  <a:lnTo>
                    <a:pt x="168" y="156"/>
                  </a:lnTo>
                  <a:lnTo>
                    <a:pt x="162" y="156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44" y="162"/>
                  </a:lnTo>
                  <a:lnTo>
                    <a:pt x="150" y="162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50" y="180"/>
                  </a:lnTo>
                  <a:lnTo>
                    <a:pt x="144" y="180"/>
                  </a:lnTo>
                  <a:lnTo>
                    <a:pt x="144" y="186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6" y="192"/>
                  </a:lnTo>
                  <a:lnTo>
                    <a:pt x="120" y="198"/>
                  </a:lnTo>
                  <a:lnTo>
                    <a:pt x="114" y="198"/>
                  </a:lnTo>
                  <a:lnTo>
                    <a:pt x="114" y="204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14" y="210"/>
                  </a:lnTo>
                  <a:lnTo>
                    <a:pt x="108" y="210"/>
                  </a:lnTo>
                  <a:lnTo>
                    <a:pt x="102" y="210"/>
                  </a:lnTo>
                  <a:lnTo>
                    <a:pt x="102" y="216"/>
                  </a:lnTo>
                  <a:lnTo>
                    <a:pt x="102" y="222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90" y="228"/>
                  </a:lnTo>
                  <a:lnTo>
                    <a:pt x="84" y="228"/>
                  </a:lnTo>
                  <a:lnTo>
                    <a:pt x="78" y="234"/>
                  </a:lnTo>
                  <a:lnTo>
                    <a:pt x="72" y="234"/>
                  </a:lnTo>
                  <a:lnTo>
                    <a:pt x="72" y="240"/>
                  </a:lnTo>
                  <a:lnTo>
                    <a:pt x="66" y="240"/>
                  </a:lnTo>
                  <a:lnTo>
                    <a:pt x="66" y="246"/>
                  </a:lnTo>
                  <a:lnTo>
                    <a:pt x="60" y="246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2" y="264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70"/>
                  </a:lnTo>
                  <a:lnTo>
                    <a:pt x="30" y="276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12" y="282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6" y="294"/>
                  </a:lnTo>
                  <a:lnTo>
                    <a:pt x="12" y="300"/>
                  </a:lnTo>
                  <a:lnTo>
                    <a:pt x="6" y="306"/>
                  </a:lnTo>
                  <a:lnTo>
                    <a:pt x="6" y="312"/>
                  </a:lnTo>
                  <a:lnTo>
                    <a:pt x="0" y="312"/>
                  </a:lnTo>
                  <a:lnTo>
                    <a:pt x="6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8" y="324"/>
                  </a:lnTo>
                  <a:lnTo>
                    <a:pt x="24" y="324"/>
                  </a:lnTo>
                  <a:lnTo>
                    <a:pt x="24" y="330"/>
                  </a:lnTo>
                  <a:lnTo>
                    <a:pt x="24" y="336"/>
                  </a:lnTo>
                  <a:lnTo>
                    <a:pt x="18" y="336"/>
                  </a:lnTo>
                  <a:lnTo>
                    <a:pt x="24" y="336"/>
                  </a:lnTo>
                  <a:lnTo>
                    <a:pt x="24" y="342"/>
                  </a:lnTo>
                  <a:lnTo>
                    <a:pt x="24" y="348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48" y="342"/>
                  </a:lnTo>
                  <a:lnTo>
                    <a:pt x="54" y="348"/>
                  </a:lnTo>
                  <a:lnTo>
                    <a:pt x="54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6" y="324"/>
                  </a:lnTo>
                  <a:lnTo>
                    <a:pt x="72" y="32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0" name="Freeform 36"/>
            <p:cNvSpPr>
              <a:spLocks noChangeAspect="1" noEditPoints="1"/>
            </p:cNvSpPr>
            <p:nvPr/>
          </p:nvSpPr>
          <p:spPr bwMode="auto">
            <a:xfrm>
              <a:off x="2558867" y="4979685"/>
              <a:ext cx="237328" cy="220676"/>
            </a:xfrm>
            <a:custGeom>
              <a:avLst/>
              <a:gdLst>
                <a:gd name="T0" fmla="*/ 2147483647 w 186"/>
                <a:gd name="T1" fmla="*/ 2147483647 h 174"/>
                <a:gd name="T2" fmla="*/ 2147483647 w 186"/>
                <a:gd name="T3" fmla="*/ 2147483647 h 174"/>
                <a:gd name="T4" fmla="*/ 2147483647 w 186"/>
                <a:gd name="T5" fmla="*/ 2147483647 h 174"/>
                <a:gd name="T6" fmla="*/ 2147483647 w 186"/>
                <a:gd name="T7" fmla="*/ 2147483647 h 174"/>
                <a:gd name="T8" fmla="*/ 2147483647 w 186"/>
                <a:gd name="T9" fmla="*/ 2147483647 h 174"/>
                <a:gd name="T10" fmla="*/ 2147483647 w 186"/>
                <a:gd name="T11" fmla="*/ 2147483647 h 174"/>
                <a:gd name="T12" fmla="*/ 2147483647 w 186"/>
                <a:gd name="T13" fmla="*/ 2147483647 h 174"/>
                <a:gd name="T14" fmla="*/ 2147483647 w 186"/>
                <a:gd name="T15" fmla="*/ 2147483647 h 174"/>
                <a:gd name="T16" fmla="*/ 0 w 186"/>
                <a:gd name="T17" fmla="*/ 2147483647 h 174"/>
                <a:gd name="T18" fmla="*/ 2147483647 w 186"/>
                <a:gd name="T19" fmla="*/ 2147483647 h 174"/>
                <a:gd name="T20" fmla="*/ 2147483647 w 186"/>
                <a:gd name="T21" fmla="*/ 2147483647 h 174"/>
                <a:gd name="T22" fmla="*/ 2147483647 w 186"/>
                <a:gd name="T23" fmla="*/ 2147483647 h 174"/>
                <a:gd name="T24" fmla="*/ 2147483647 w 186"/>
                <a:gd name="T25" fmla="*/ 2147483647 h 174"/>
                <a:gd name="T26" fmla="*/ 2147483647 w 186"/>
                <a:gd name="T27" fmla="*/ 2147483647 h 174"/>
                <a:gd name="T28" fmla="*/ 2147483647 w 186"/>
                <a:gd name="T29" fmla="*/ 2147483647 h 174"/>
                <a:gd name="T30" fmla="*/ 2147483647 w 186"/>
                <a:gd name="T31" fmla="*/ 2147483647 h 174"/>
                <a:gd name="T32" fmla="*/ 2147483647 w 186"/>
                <a:gd name="T33" fmla="*/ 2147483647 h 174"/>
                <a:gd name="T34" fmla="*/ 2147483647 w 186"/>
                <a:gd name="T35" fmla="*/ 2147483647 h 174"/>
                <a:gd name="T36" fmla="*/ 2147483647 w 186"/>
                <a:gd name="T37" fmla="*/ 2147483647 h 174"/>
                <a:gd name="T38" fmla="*/ 2147483647 w 186"/>
                <a:gd name="T39" fmla="*/ 2147483647 h 174"/>
                <a:gd name="T40" fmla="*/ 2147483647 w 186"/>
                <a:gd name="T41" fmla="*/ 2147483647 h 174"/>
                <a:gd name="T42" fmla="*/ 2147483647 w 186"/>
                <a:gd name="T43" fmla="*/ 2147483647 h 174"/>
                <a:gd name="T44" fmla="*/ 2147483647 w 186"/>
                <a:gd name="T45" fmla="*/ 2147483647 h 174"/>
                <a:gd name="T46" fmla="*/ 2147483647 w 186"/>
                <a:gd name="T47" fmla="*/ 2147483647 h 174"/>
                <a:gd name="T48" fmla="*/ 2147483647 w 186"/>
                <a:gd name="T49" fmla="*/ 2147483647 h 174"/>
                <a:gd name="T50" fmla="*/ 2147483647 w 186"/>
                <a:gd name="T51" fmla="*/ 2147483647 h 174"/>
                <a:gd name="T52" fmla="*/ 2147483647 w 186"/>
                <a:gd name="T53" fmla="*/ 2147483647 h 174"/>
                <a:gd name="T54" fmla="*/ 2147483647 w 186"/>
                <a:gd name="T55" fmla="*/ 2147483647 h 174"/>
                <a:gd name="T56" fmla="*/ 2147483647 w 186"/>
                <a:gd name="T57" fmla="*/ 2147483647 h 174"/>
                <a:gd name="T58" fmla="*/ 2147483647 w 186"/>
                <a:gd name="T59" fmla="*/ 2147483647 h 174"/>
                <a:gd name="T60" fmla="*/ 2147483647 w 186"/>
                <a:gd name="T61" fmla="*/ 2147483647 h 174"/>
                <a:gd name="T62" fmla="*/ 2147483647 w 186"/>
                <a:gd name="T63" fmla="*/ 2147483647 h 174"/>
                <a:gd name="T64" fmla="*/ 2147483647 w 186"/>
                <a:gd name="T65" fmla="*/ 2147483647 h 174"/>
                <a:gd name="T66" fmla="*/ 2147483647 w 186"/>
                <a:gd name="T67" fmla="*/ 2147483647 h 174"/>
                <a:gd name="T68" fmla="*/ 2147483647 w 186"/>
                <a:gd name="T69" fmla="*/ 2147483647 h 174"/>
                <a:gd name="T70" fmla="*/ 2147483647 w 186"/>
                <a:gd name="T71" fmla="*/ 2147483647 h 174"/>
                <a:gd name="T72" fmla="*/ 2147483647 w 186"/>
                <a:gd name="T73" fmla="*/ 2147483647 h 174"/>
                <a:gd name="T74" fmla="*/ 2147483647 w 186"/>
                <a:gd name="T75" fmla="*/ 2147483647 h 174"/>
                <a:gd name="T76" fmla="*/ 2147483647 w 186"/>
                <a:gd name="T77" fmla="*/ 2147483647 h 174"/>
                <a:gd name="T78" fmla="*/ 2147483647 w 186"/>
                <a:gd name="T79" fmla="*/ 2147483647 h 174"/>
                <a:gd name="T80" fmla="*/ 2147483647 w 186"/>
                <a:gd name="T81" fmla="*/ 2147483647 h 174"/>
                <a:gd name="T82" fmla="*/ 2147483647 w 186"/>
                <a:gd name="T83" fmla="*/ 2147483647 h 174"/>
                <a:gd name="T84" fmla="*/ 2147483647 w 186"/>
                <a:gd name="T85" fmla="*/ 2147483647 h 174"/>
                <a:gd name="T86" fmla="*/ 2147483647 w 186"/>
                <a:gd name="T87" fmla="*/ 0 h 174"/>
                <a:gd name="T88" fmla="*/ 2147483647 w 186"/>
                <a:gd name="T89" fmla="*/ 2147483647 h 174"/>
                <a:gd name="T90" fmla="*/ 2147483647 w 186"/>
                <a:gd name="T91" fmla="*/ 2147483647 h 174"/>
                <a:gd name="T92" fmla="*/ 2147483647 w 186"/>
                <a:gd name="T93" fmla="*/ 2147483647 h 174"/>
                <a:gd name="T94" fmla="*/ 2147483647 w 186"/>
                <a:gd name="T95" fmla="*/ 2147483647 h 174"/>
                <a:gd name="T96" fmla="*/ 2147483647 w 186"/>
                <a:gd name="T97" fmla="*/ 2147483647 h 174"/>
                <a:gd name="T98" fmla="*/ 2147483647 w 186"/>
                <a:gd name="T99" fmla="*/ 2147483647 h 174"/>
                <a:gd name="T100" fmla="*/ 2147483647 w 186"/>
                <a:gd name="T101" fmla="*/ 2147483647 h 174"/>
                <a:gd name="T102" fmla="*/ 2147483647 w 186"/>
                <a:gd name="T103" fmla="*/ 2147483647 h 174"/>
                <a:gd name="T104" fmla="*/ 0 w 186"/>
                <a:gd name="T105" fmla="*/ 2147483647 h 17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6"/>
                <a:gd name="T160" fmla="*/ 0 h 174"/>
                <a:gd name="T161" fmla="*/ 186 w 186"/>
                <a:gd name="T162" fmla="*/ 174 h 17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6" h="174">
                  <a:moveTo>
                    <a:pt x="48" y="162"/>
                  </a:moveTo>
                  <a:lnTo>
                    <a:pt x="48" y="156"/>
                  </a:lnTo>
                  <a:lnTo>
                    <a:pt x="42" y="156"/>
                  </a:lnTo>
                  <a:lnTo>
                    <a:pt x="48" y="162"/>
                  </a:lnTo>
                  <a:close/>
                  <a:moveTo>
                    <a:pt x="168" y="114"/>
                  </a:moveTo>
                  <a:lnTo>
                    <a:pt x="174" y="114"/>
                  </a:lnTo>
                  <a:lnTo>
                    <a:pt x="168" y="114"/>
                  </a:lnTo>
                  <a:lnTo>
                    <a:pt x="162" y="114"/>
                  </a:lnTo>
                  <a:lnTo>
                    <a:pt x="168" y="114"/>
                  </a:lnTo>
                  <a:close/>
                  <a:moveTo>
                    <a:pt x="60" y="174"/>
                  </a:moveTo>
                  <a:lnTo>
                    <a:pt x="60" y="168"/>
                  </a:lnTo>
                  <a:lnTo>
                    <a:pt x="60" y="174"/>
                  </a:lnTo>
                  <a:close/>
                  <a:moveTo>
                    <a:pt x="162" y="120"/>
                  </a:moveTo>
                  <a:lnTo>
                    <a:pt x="162" y="114"/>
                  </a:lnTo>
                  <a:lnTo>
                    <a:pt x="168" y="114"/>
                  </a:lnTo>
                  <a:lnTo>
                    <a:pt x="162" y="114"/>
                  </a:lnTo>
                  <a:lnTo>
                    <a:pt x="162" y="120"/>
                  </a:lnTo>
                  <a:close/>
                  <a:moveTo>
                    <a:pt x="48" y="168"/>
                  </a:moveTo>
                  <a:lnTo>
                    <a:pt x="48" y="162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54" y="162"/>
                  </a:lnTo>
                  <a:lnTo>
                    <a:pt x="48" y="162"/>
                  </a:lnTo>
                  <a:lnTo>
                    <a:pt x="48" y="168"/>
                  </a:lnTo>
                  <a:close/>
                  <a:moveTo>
                    <a:pt x="168" y="108"/>
                  </a:moveTo>
                  <a:lnTo>
                    <a:pt x="168" y="114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80" y="108"/>
                  </a:lnTo>
                  <a:lnTo>
                    <a:pt x="180" y="114"/>
                  </a:lnTo>
                  <a:lnTo>
                    <a:pt x="180" y="108"/>
                  </a:lnTo>
                  <a:lnTo>
                    <a:pt x="174" y="108"/>
                  </a:lnTo>
                  <a:lnTo>
                    <a:pt x="168" y="108"/>
                  </a:lnTo>
                  <a:close/>
                  <a:moveTo>
                    <a:pt x="0" y="54"/>
                  </a:moveTo>
                  <a:lnTo>
                    <a:pt x="6" y="60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18" y="102"/>
                  </a:lnTo>
                  <a:lnTo>
                    <a:pt x="18" y="108"/>
                  </a:lnTo>
                  <a:lnTo>
                    <a:pt x="24" y="114"/>
                  </a:lnTo>
                  <a:lnTo>
                    <a:pt x="24" y="120"/>
                  </a:lnTo>
                  <a:lnTo>
                    <a:pt x="24" y="126"/>
                  </a:lnTo>
                  <a:lnTo>
                    <a:pt x="24" y="132"/>
                  </a:lnTo>
                  <a:lnTo>
                    <a:pt x="30" y="132"/>
                  </a:lnTo>
                  <a:lnTo>
                    <a:pt x="36" y="138"/>
                  </a:lnTo>
                  <a:lnTo>
                    <a:pt x="36" y="144"/>
                  </a:lnTo>
                  <a:lnTo>
                    <a:pt x="36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2" y="150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48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8" y="144"/>
                  </a:lnTo>
                  <a:lnTo>
                    <a:pt x="48" y="150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60" y="150"/>
                  </a:lnTo>
                  <a:lnTo>
                    <a:pt x="66" y="150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44"/>
                  </a:lnTo>
                  <a:lnTo>
                    <a:pt x="72" y="144"/>
                  </a:lnTo>
                  <a:lnTo>
                    <a:pt x="72" y="138"/>
                  </a:lnTo>
                  <a:lnTo>
                    <a:pt x="78" y="138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8" y="144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44"/>
                  </a:lnTo>
                  <a:lnTo>
                    <a:pt x="90" y="150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56"/>
                  </a:lnTo>
                  <a:lnTo>
                    <a:pt x="96" y="156"/>
                  </a:lnTo>
                  <a:lnTo>
                    <a:pt x="102" y="150"/>
                  </a:lnTo>
                  <a:lnTo>
                    <a:pt x="108" y="150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32" y="132"/>
                  </a:lnTo>
                  <a:lnTo>
                    <a:pt x="126" y="132"/>
                  </a:lnTo>
                  <a:lnTo>
                    <a:pt x="120" y="132"/>
                  </a:lnTo>
                  <a:lnTo>
                    <a:pt x="114" y="132"/>
                  </a:lnTo>
                  <a:lnTo>
                    <a:pt x="114" y="138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2" y="132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38" y="132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62" y="114"/>
                  </a:lnTo>
                  <a:lnTo>
                    <a:pt x="162" y="108"/>
                  </a:lnTo>
                  <a:lnTo>
                    <a:pt x="156" y="108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62" y="108"/>
                  </a:lnTo>
                  <a:lnTo>
                    <a:pt x="168" y="108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74" y="96"/>
                  </a:lnTo>
                  <a:lnTo>
                    <a:pt x="174" y="90"/>
                  </a:lnTo>
                  <a:lnTo>
                    <a:pt x="168" y="90"/>
                  </a:lnTo>
                  <a:lnTo>
                    <a:pt x="162" y="90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68" y="72"/>
                  </a:lnTo>
                  <a:lnTo>
                    <a:pt x="162" y="72"/>
                  </a:lnTo>
                  <a:lnTo>
                    <a:pt x="162" y="66"/>
                  </a:lnTo>
                  <a:lnTo>
                    <a:pt x="168" y="66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60"/>
                  </a:lnTo>
                  <a:lnTo>
                    <a:pt x="168" y="54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74" y="36"/>
                  </a:lnTo>
                  <a:lnTo>
                    <a:pt x="180" y="36"/>
                  </a:lnTo>
                  <a:lnTo>
                    <a:pt x="186" y="36"/>
                  </a:lnTo>
                  <a:lnTo>
                    <a:pt x="186" y="30"/>
                  </a:lnTo>
                  <a:lnTo>
                    <a:pt x="180" y="30"/>
                  </a:lnTo>
                  <a:lnTo>
                    <a:pt x="180" y="24"/>
                  </a:lnTo>
                  <a:lnTo>
                    <a:pt x="180" y="18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62" y="24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14" y="0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02" y="6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1" name="Freeform 37"/>
            <p:cNvSpPr>
              <a:spLocks noChangeAspect="1" noEditPoints="1"/>
            </p:cNvSpPr>
            <p:nvPr/>
          </p:nvSpPr>
          <p:spPr bwMode="auto">
            <a:xfrm>
              <a:off x="2314660" y="5032075"/>
              <a:ext cx="290641" cy="228615"/>
            </a:xfrm>
            <a:custGeom>
              <a:avLst/>
              <a:gdLst>
                <a:gd name="T0" fmla="*/ 2147483647 w 228"/>
                <a:gd name="T1" fmla="*/ 2147483647 h 180"/>
                <a:gd name="T2" fmla="*/ 2147483647 w 228"/>
                <a:gd name="T3" fmla="*/ 2147483647 h 180"/>
                <a:gd name="T4" fmla="*/ 2147483647 w 228"/>
                <a:gd name="T5" fmla="*/ 2147483647 h 180"/>
                <a:gd name="T6" fmla="*/ 2147483647 w 228"/>
                <a:gd name="T7" fmla="*/ 2147483647 h 180"/>
                <a:gd name="T8" fmla="*/ 2147483647 w 228"/>
                <a:gd name="T9" fmla="*/ 2147483647 h 180"/>
                <a:gd name="T10" fmla="*/ 2147483647 w 228"/>
                <a:gd name="T11" fmla="*/ 2147483647 h 180"/>
                <a:gd name="T12" fmla="*/ 2147483647 w 228"/>
                <a:gd name="T13" fmla="*/ 2147483647 h 180"/>
                <a:gd name="T14" fmla="*/ 2147483647 w 228"/>
                <a:gd name="T15" fmla="*/ 2147483647 h 180"/>
                <a:gd name="T16" fmla="*/ 2147483647 w 228"/>
                <a:gd name="T17" fmla="*/ 2147483647 h 180"/>
                <a:gd name="T18" fmla="*/ 2147483647 w 228"/>
                <a:gd name="T19" fmla="*/ 2147483647 h 180"/>
                <a:gd name="T20" fmla="*/ 2147483647 w 228"/>
                <a:gd name="T21" fmla="*/ 2147483647 h 180"/>
                <a:gd name="T22" fmla="*/ 2147483647 w 228"/>
                <a:gd name="T23" fmla="*/ 2147483647 h 180"/>
                <a:gd name="T24" fmla="*/ 2147483647 w 228"/>
                <a:gd name="T25" fmla="*/ 2147483647 h 180"/>
                <a:gd name="T26" fmla="*/ 2147483647 w 228"/>
                <a:gd name="T27" fmla="*/ 2147483647 h 180"/>
                <a:gd name="T28" fmla="*/ 2147483647 w 228"/>
                <a:gd name="T29" fmla="*/ 2147483647 h 180"/>
                <a:gd name="T30" fmla="*/ 2147483647 w 228"/>
                <a:gd name="T31" fmla="*/ 2147483647 h 180"/>
                <a:gd name="T32" fmla="*/ 2147483647 w 228"/>
                <a:gd name="T33" fmla="*/ 2147483647 h 180"/>
                <a:gd name="T34" fmla="*/ 2147483647 w 228"/>
                <a:gd name="T35" fmla="*/ 2147483647 h 180"/>
                <a:gd name="T36" fmla="*/ 2147483647 w 228"/>
                <a:gd name="T37" fmla="*/ 2147483647 h 180"/>
                <a:gd name="T38" fmla="*/ 2147483647 w 228"/>
                <a:gd name="T39" fmla="*/ 2147483647 h 180"/>
                <a:gd name="T40" fmla="*/ 2147483647 w 228"/>
                <a:gd name="T41" fmla="*/ 2147483647 h 180"/>
                <a:gd name="T42" fmla="*/ 2147483647 w 228"/>
                <a:gd name="T43" fmla="*/ 2147483647 h 180"/>
                <a:gd name="T44" fmla="*/ 2147483647 w 228"/>
                <a:gd name="T45" fmla="*/ 2147483647 h 180"/>
                <a:gd name="T46" fmla="*/ 2147483647 w 228"/>
                <a:gd name="T47" fmla="*/ 2147483647 h 180"/>
                <a:gd name="T48" fmla="*/ 2147483647 w 228"/>
                <a:gd name="T49" fmla="*/ 2147483647 h 180"/>
                <a:gd name="T50" fmla="*/ 2147483647 w 228"/>
                <a:gd name="T51" fmla="*/ 2147483647 h 180"/>
                <a:gd name="T52" fmla="*/ 2147483647 w 228"/>
                <a:gd name="T53" fmla="*/ 2147483647 h 180"/>
                <a:gd name="T54" fmla="*/ 2147483647 w 228"/>
                <a:gd name="T55" fmla="*/ 2147483647 h 180"/>
                <a:gd name="T56" fmla="*/ 2147483647 w 228"/>
                <a:gd name="T57" fmla="*/ 2147483647 h 180"/>
                <a:gd name="T58" fmla="*/ 2147483647 w 228"/>
                <a:gd name="T59" fmla="*/ 2147483647 h 180"/>
                <a:gd name="T60" fmla="*/ 2147483647 w 228"/>
                <a:gd name="T61" fmla="*/ 2147483647 h 180"/>
                <a:gd name="T62" fmla="*/ 2147483647 w 228"/>
                <a:gd name="T63" fmla="*/ 2147483647 h 180"/>
                <a:gd name="T64" fmla="*/ 2147483647 w 228"/>
                <a:gd name="T65" fmla="*/ 2147483647 h 180"/>
                <a:gd name="T66" fmla="*/ 2147483647 w 228"/>
                <a:gd name="T67" fmla="*/ 2147483647 h 180"/>
                <a:gd name="T68" fmla="*/ 2147483647 w 228"/>
                <a:gd name="T69" fmla="*/ 2147483647 h 180"/>
                <a:gd name="T70" fmla="*/ 2147483647 w 228"/>
                <a:gd name="T71" fmla="*/ 2147483647 h 180"/>
                <a:gd name="T72" fmla="*/ 2147483647 w 228"/>
                <a:gd name="T73" fmla="*/ 2147483647 h 180"/>
                <a:gd name="T74" fmla="*/ 2147483647 w 228"/>
                <a:gd name="T75" fmla="*/ 2147483647 h 180"/>
                <a:gd name="T76" fmla="*/ 2147483647 w 228"/>
                <a:gd name="T77" fmla="*/ 2147483647 h 180"/>
                <a:gd name="T78" fmla="*/ 2147483647 w 228"/>
                <a:gd name="T79" fmla="*/ 2147483647 h 180"/>
                <a:gd name="T80" fmla="*/ 2147483647 w 228"/>
                <a:gd name="T81" fmla="*/ 2147483647 h 180"/>
                <a:gd name="T82" fmla="*/ 2147483647 w 228"/>
                <a:gd name="T83" fmla="*/ 2147483647 h 180"/>
                <a:gd name="T84" fmla="*/ 2147483647 w 228"/>
                <a:gd name="T85" fmla="*/ 2147483647 h 180"/>
                <a:gd name="T86" fmla="*/ 2147483647 w 228"/>
                <a:gd name="T87" fmla="*/ 2147483647 h 180"/>
                <a:gd name="T88" fmla="*/ 2147483647 w 228"/>
                <a:gd name="T89" fmla="*/ 2147483647 h 180"/>
                <a:gd name="T90" fmla="*/ 2147483647 w 228"/>
                <a:gd name="T91" fmla="*/ 2147483647 h 180"/>
                <a:gd name="T92" fmla="*/ 2147483647 w 228"/>
                <a:gd name="T93" fmla="*/ 2147483647 h 180"/>
                <a:gd name="T94" fmla="*/ 2147483647 w 228"/>
                <a:gd name="T95" fmla="*/ 2147483647 h 180"/>
                <a:gd name="T96" fmla="*/ 2147483647 w 228"/>
                <a:gd name="T97" fmla="*/ 2147483647 h 180"/>
                <a:gd name="T98" fmla="*/ 2147483647 w 228"/>
                <a:gd name="T99" fmla="*/ 2147483647 h 180"/>
                <a:gd name="T100" fmla="*/ 2147483647 w 228"/>
                <a:gd name="T101" fmla="*/ 2147483647 h 180"/>
                <a:gd name="T102" fmla="*/ 2147483647 w 228"/>
                <a:gd name="T103" fmla="*/ 2147483647 h 180"/>
                <a:gd name="T104" fmla="*/ 2147483647 w 228"/>
                <a:gd name="T105" fmla="*/ 2147483647 h 180"/>
                <a:gd name="T106" fmla="*/ 2147483647 w 228"/>
                <a:gd name="T107" fmla="*/ 0 h 180"/>
                <a:gd name="T108" fmla="*/ 2147483647 w 228"/>
                <a:gd name="T109" fmla="*/ 2147483647 h 180"/>
                <a:gd name="T110" fmla="*/ 2147483647 w 228"/>
                <a:gd name="T111" fmla="*/ 2147483647 h 180"/>
                <a:gd name="T112" fmla="*/ 2147483647 w 228"/>
                <a:gd name="T113" fmla="*/ 2147483647 h 180"/>
                <a:gd name="T114" fmla="*/ 2147483647 w 228"/>
                <a:gd name="T115" fmla="*/ 2147483647 h 180"/>
                <a:gd name="T116" fmla="*/ 2147483647 w 228"/>
                <a:gd name="T117" fmla="*/ 2147483647 h 180"/>
                <a:gd name="T118" fmla="*/ 2147483647 w 228"/>
                <a:gd name="T119" fmla="*/ 2147483647 h 180"/>
                <a:gd name="T120" fmla="*/ 2147483647 w 228"/>
                <a:gd name="T121" fmla="*/ 2147483647 h 180"/>
                <a:gd name="T122" fmla="*/ 2147483647 w 228"/>
                <a:gd name="T123" fmla="*/ 2147483647 h 1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28"/>
                <a:gd name="T187" fmla="*/ 0 h 180"/>
                <a:gd name="T188" fmla="*/ 228 w 228"/>
                <a:gd name="T189" fmla="*/ 180 h 1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28" h="180">
                  <a:moveTo>
                    <a:pt x="180" y="126"/>
                  </a:moveTo>
                  <a:lnTo>
                    <a:pt x="186" y="126"/>
                  </a:lnTo>
                  <a:lnTo>
                    <a:pt x="180" y="126"/>
                  </a:lnTo>
                  <a:close/>
                  <a:moveTo>
                    <a:pt x="144" y="144"/>
                  </a:moveTo>
                  <a:lnTo>
                    <a:pt x="144" y="138"/>
                  </a:lnTo>
                  <a:lnTo>
                    <a:pt x="144" y="144"/>
                  </a:lnTo>
                  <a:close/>
                  <a:moveTo>
                    <a:pt x="198" y="126"/>
                  </a:moveTo>
                  <a:lnTo>
                    <a:pt x="198" y="120"/>
                  </a:lnTo>
                  <a:lnTo>
                    <a:pt x="198" y="126"/>
                  </a:lnTo>
                  <a:lnTo>
                    <a:pt x="204" y="126"/>
                  </a:lnTo>
                  <a:lnTo>
                    <a:pt x="198" y="126"/>
                  </a:lnTo>
                  <a:close/>
                  <a:moveTo>
                    <a:pt x="198" y="132"/>
                  </a:moveTo>
                  <a:lnTo>
                    <a:pt x="204" y="132"/>
                  </a:lnTo>
                  <a:lnTo>
                    <a:pt x="198" y="132"/>
                  </a:lnTo>
                  <a:close/>
                  <a:moveTo>
                    <a:pt x="126" y="162"/>
                  </a:moveTo>
                  <a:lnTo>
                    <a:pt x="126" y="156"/>
                  </a:lnTo>
                  <a:lnTo>
                    <a:pt x="120" y="156"/>
                  </a:lnTo>
                  <a:lnTo>
                    <a:pt x="120" y="162"/>
                  </a:lnTo>
                  <a:lnTo>
                    <a:pt x="126" y="162"/>
                  </a:lnTo>
                  <a:close/>
                  <a:moveTo>
                    <a:pt x="60" y="162"/>
                  </a:moveTo>
                  <a:lnTo>
                    <a:pt x="60" y="168"/>
                  </a:lnTo>
                  <a:lnTo>
                    <a:pt x="60" y="162"/>
                  </a:lnTo>
                  <a:lnTo>
                    <a:pt x="66" y="162"/>
                  </a:lnTo>
                  <a:lnTo>
                    <a:pt x="60" y="162"/>
                  </a:lnTo>
                  <a:close/>
                  <a:moveTo>
                    <a:pt x="174" y="138"/>
                  </a:moveTo>
                  <a:lnTo>
                    <a:pt x="180" y="132"/>
                  </a:lnTo>
                  <a:lnTo>
                    <a:pt x="174" y="132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74" y="138"/>
                  </a:lnTo>
                  <a:close/>
                  <a:moveTo>
                    <a:pt x="102" y="162"/>
                  </a:moveTo>
                  <a:lnTo>
                    <a:pt x="108" y="162"/>
                  </a:lnTo>
                  <a:lnTo>
                    <a:pt x="108" y="156"/>
                  </a:lnTo>
                  <a:lnTo>
                    <a:pt x="102" y="156"/>
                  </a:lnTo>
                  <a:lnTo>
                    <a:pt x="102" y="162"/>
                  </a:lnTo>
                  <a:close/>
                  <a:moveTo>
                    <a:pt x="204" y="132"/>
                  </a:moveTo>
                  <a:lnTo>
                    <a:pt x="210" y="132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204" y="132"/>
                  </a:lnTo>
                  <a:close/>
                  <a:moveTo>
                    <a:pt x="132" y="162"/>
                  </a:moveTo>
                  <a:lnTo>
                    <a:pt x="138" y="162"/>
                  </a:lnTo>
                  <a:lnTo>
                    <a:pt x="138" y="156"/>
                  </a:lnTo>
                  <a:lnTo>
                    <a:pt x="132" y="156"/>
                  </a:lnTo>
                  <a:lnTo>
                    <a:pt x="126" y="162"/>
                  </a:lnTo>
                  <a:lnTo>
                    <a:pt x="132" y="162"/>
                  </a:lnTo>
                  <a:close/>
                  <a:moveTo>
                    <a:pt x="186" y="126"/>
                  </a:moveTo>
                  <a:lnTo>
                    <a:pt x="192" y="132"/>
                  </a:lnTo>
                  <a:lnTo>
                    <a:pt x="192" y="126"/>
                  </a:lnTo>
                  <a:lnTo>
                    <a:pt x="192" y="120"/>
                  </a:lnTo>
                  <a:lnTo>
                    <a:pt x="186" y="120"/>
                  </a:lnTo>
                  <a:lnTo>
                    <a:pt x="186" y="126"/>
                  </a:lnTo>
                  <a:close/>
                  <a:moveTo>
                    <a:pt x="108" y="162"/>
                  </a:moveTo>
                  <a:lnTo>
                    <a:pt x="114" y="162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14" y="156"/>
                  </a:lnTo>
                  <a:lnTo>
                    <a:pt x="108" y="156"/>
                  </a:lnTo>
                  <a:lnTo>
                    <a:pt x="108" y="162"/>
                  </a:lnTo>
                  <a:close/>
                  <a:moveTo>
                    <a:pt x="180" y="138"/>
                  </a:moveTo>
                  <a:lnTo>
                    <a:pt x="186" y="138"/>
                  </a:lnTo>
                  <a:lnTo>
                    <a:pt x="186" y="144"/>
                  </a:lnTo>
                  <a:lnTo>
                    <a:pt x="192" y="144"/>
                  </a:lnTo>
                  <a:lnTo>
                    <a:pt x="192" y="138"/>
                  </a:lnTo>
                  <a:lnTo>
                    <a:pt x="192" y="132"/>
                  </a:lnTo>
                  <a:lnTo>
                    <a:pt x="186" y="132"/>
                  </a:lnTo>
                  <a:lnTo>
                    <a:pt x="180" y="132"/>
                  </a:lnTo>
                  <a:lnTo>
                    <a:pt x="180" y="138"/>
                  </a:lnTo>
                  <a:close/>
                  <a:moveTo>
                    <a:pt x="168" y="138"/>
                  </a:moveTo>
                  <a:lnTo>
                    <a:pt x="168" y="144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38"/>
                  </a:lnTo>
                  <a:lnTo>
                    <a:pt x="174" y="138"/>
                  </a:lnTo>
                  <a:lnTo>
                    <a:pt x="168" y="132"/>
                  </a:lnTo>
                  <a:lnTo>
                    <a:pt x="168" y="138"/>
                  </a:lnTo>
                  <a:close/>
                  <a:moveTo>
                    <a:pt x="36" y="150"/>
                  </a:moveTo>
                  <a:lnTo>
                    <a:pt x="42" y="150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36" y="144"/>
                  </a:lnTo>
                  <a:lnTo>
                    <a:pt x="36" y="150"/>
                  </a:lnTo>
                  <a:close/>
                  <a:moveTo>
                    <a:pt x="132" y="150"/>
                  </a:moveTo>
                  <a:lnTo>
                    <a:pt x="132" y="156"/>
                  </a:lnTo>
                  <a:lnTo>
                    <a:pt x="138" y="156"/>
                  </a:lnTo>
                  <a:lnTo>
                    <a:pt x="144" y="156"/>
                  </a:lnTo>
                  <a:lnTo>
                    <a:pt x="144" y="150"/>
                  </a:lnTo>
                  <a:lnTo>
                    <a:pt x="150" y="144"/>
                  </a:lnTo>
                  <a:lnTo>
                    <a:pt x="144" y="144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38" y="150"/>
                  </a:lnTo>
                  <a:lnTo>
                    <a:pt x="132" y="150"/>
                  </a:lnTo>
                  <a:close/>
                  <a:moveTo>
                    <a:pt x="72" y="174"/>
                  </a:moveTo>
                  <a:lnTo>
                    <a:pt x="78" y="174"/>
                  </a:lnTo>
                  <a:lnTo>
                    <a:pt x="84" y="174"/>
                  </a:lnTo>
                  <a:lnTo>
                    <a:pt x="84" y="180"/>
                  </a:lnTo>
                  <a:lnTo>
                    <a:pt x="90" y="180"/>
                  </a:lnTo>
                  <a:lnTo>
                    <a:pt x="84" y="180"/>
                  </a:lnTo>
                  <a:lnTo>
                    <a:pt x="90" y="174"/>
                  </a:lnTo>
                  <a:lnTo>
                    <a:pt x="90" y="168"/>
                  </a:lnTo>
                  <a:lnTo>
                    <a:pt x="90" y="174"/>
                  </a:lnTo>
                  <a:lnTo>
                    <a:pt x="90" y="168"/>
                  </a:lnTo>
                  <a:lnTo>
                    <a:pt x="84" y="168"/>
                  </a:lnTo>
                  <a:lnTo>
                    <a:pt x="84" y="174"/>
                  </a:lnTo>
                  <a:lnTo>
                    <a:pt x="84" y="168"/>
                  </a:lnTo>
                  <a:lnTo>
                    <a:pt x="84" y="162"/>
                  </a:lnTo>
                  <a:lnTo>
                    <a:pt x="84" y="156"/>
                  </a:lnTo>
                  <a:lnTo>
                    <a:pt x="78" y="156"/>
                  </a:lnTo>
                  <a:lnTo>
                    <a:pt x="78" y="162"/>
                  </a:lnTo>
                  <a:lnTo>
                    <a:pt x="78" y="168"/>
                  </a:lnTo>
                  <a:lnTo>
                    <a:pt x="72" y="168"/>
                  </a:lnTo>
                  <a:lnTo>
                    <a:pt x="72" y="174"/>
                  </a:lnTo>
                  <a:close/>
                  <a:moveTo>
                    <a:pt x="60" y="150"/>
                  </a:moveTo>
                  <a:lnTo>
                    <a:pt x="60" y="156"/>
                  </a:lnTo>
                  <a:lnTo>
                    <a:pt x="66" y="156"/>
                  </a:lnTo>
                  <a:lnTo>
                    <a:pt x="66" y="162"/>
                  </a:lnTo>
                  <a:lnTo>
                    <a:pt x="66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62"/>
                  </a:lnTo>
                  <a:lnTo>
                    <a:pt x="72" y="162"/>
                  </a:lnTo>
                  <a:lnTo>
                    <a:pt x="72" y="156"/>
                  </a:lnTo>
                  <a:lnTo>
                    <a:pt x="72" y="150"/>
                  </a:lnTo>
                  <a:lnTo>
                    <a:pt x="72" y="144"/>
                  </a:lnTo>
                  <a:lnTo>
                    <a:pt x="78" y="144"/>
                  </a:lnTo>
                  <a:lnTo>
                    <a:pt x="72" y="144"/>
                  </a:lnTo>
                  <a:lnTo>
                    <a:pt x="66" y="144"/>
                  </a:lnTo>
                  <a:lnTo>
                    <a:pt x="66" y="150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56"/>
                  </a:lnTo>
                  <a:lnTo>
                    <a:pt x="72" y="150"/>
                  </a:lnTo>
                  <a:lnTo>
                    <a:pt x="66" y="150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54" y="144"/>
                  </a:lnTo>
                  <a:lnTo>
                    <a:pt x="54" y="150"/>
                  </a:lnTo>
                  <a:lnTo>
                    <a:pt x="60" y="150"/>
                  </a:lnTo>
                  <a:close/>
                  <a:moveTo>
                    <a:pt x="6" y="114"/>
                  </a:moveTo>
                  <a:lnTo>
                    <a:pt x="6" y="120"/>
                  </a:lnTo>
                  <a:lnTo>
                    <a:pt x="6" y="126"/>
                  </a:lnTo>
                  <a:lnTo>
                    <a:pt x="6" y="132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0" y="150"/>
                  </a:lnTo>
                  <a:lnTo>
                    <a:pt x="30" y="156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30" y="150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60" y="126"/>
                  </a:lnTo>
                  <a:lnTo>
                    <a:pt x="66" y="126"/>
                  </a:lnTo>
                  <a:lnTo>
                    <a:pt x="60" y="126"/>
                  </a:lnTo>
                  <a:lnTo>
                    <a:pt x="60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78" y="126"/>
                  </a:lnTo>
                  <a:lnTo>
                    <a:pt x="84" y="126"/>
                  </a:lnTo>
                  <a:lnTo>
                    <a:pt x="84" y="132"/>
                  </a:lnTo>
                  <a:lnTo>
                    <a:pt x="84" y="138"/>
                  </a:lnTo>
                  <a:lnTo>
                    <a:pt x="78" y="138"/>
                  </a:lnTo>
                  <a:lnTo>
                    <a:pt x="78" y="132"/>
                  </a:lnTo>
                  <a:lnTo>
                    <a:pt x="72" y="132"/>
                  </a:lnTo>
                  <a:lnTo>
                    <a:pt x="78" y="132"/>
                  </a:lnTo>
                  <a:lnTo>
                    <a:pt x="72" y="138"/>
                  </a:lnTo>
                  <a:lnTo>
                    <a:pt x="78" y="138"/>
                  </a:lnTo>
                  <a:lnTo>
                    <a:pt x="78" y="144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84" y="156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96" y="156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8" y="132"/>
                  </a:lnTo>
                  <a:lnTo>
                    <a:pt x="174" y="126"/>
                  </a:lnTo>
                  <a:lnTo>
                    <a:pt x="168" y="126"/>
                  </a:lnTo>
                  <a:lnTo>
                    <a:pt x="174" y="126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0"/>
                  </a:lnTo>
                  <a:lnTo>
                    <a:pt x="198" y="114"/>
                  </a:lnTo>
                  <a:lnTo>
                    <a:pt x="198" y="120"/>
                  </a:lnTo>
                  <a:lnTo>
                    <a:pt x="198" y="114"/>
                  </a:lnTo>
                  <a:lnTo>
                    <a:pt x="198" y="120"/>
                  </a:lnTo>
                  <a:lnTo>
                    <a:pt x="198" y="126"/>
                  </a:lnTo>
                  <a:lnTo>
                    <a:pt x="198" y="120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6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22" y="114"/>
                  </a:lnTo>
                  <a:lnTo>
                    <a:pt x="216" y="114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22" y="114"/>
                  </a:lnTo>
                  <a:lnTo>
                    <a:pt x="222" y="108"/>
                  </a:lnTo>
                  <a:lnTo>
                    <a:pt x="222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28" y="102"/>
                  </a:lnTo>
                  <a:lnTo>
                    <a:pt x="228" y="96"/>
                  </a:lnTo>
                  <a:lnTo>
                    <a:pt x="222" y="90"/>
                  </a:lnTo>
                  <a:lnTo>
                    <a:pt x="216" y="90"/>
                  </a:lnTo>
                  <a:lnTo>
                    <a:pt x="216" y="84"/>
                  </a:lnTo>
                  <a:lnTo>
                    <a:pt x="216" y="78"/>
                  </a:lnTo>
                  <a:lnTo>
                    <a:pt x="216" y="72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0" y="54"/>
                  </a:lnTo>
                  <a:lnTo>
                    <a:pt x="210" y="48"/>
                  </a:lnTo>
                  <a:lnTo>
                    <a:pt x="204" y="48"/>
                  </a:lnTo>
                  <a:lnTo>
                    <a:pt x="204" y="42"/>
                  </a:lnTo>
                  <a:lnTo>
                    <a:pt x="198" y="42"/>
                  </a:lnTo>
                  <a:lnTo>
                    <a:pt x="198" y="36"/>
                  </a:lnTo>
                  <a:lnTo>
                    <a:pt x="198" y="30"/>
                  </a:lnTo>
                  <a:lnTo>
                    <a:pt x="198" y="24"/>
                  </a:lnTo>
                  <a:lnTo>
                    <a:pt x="198" y="18"/>
                  </a:lnTo>
                  <a:lnTo>
                    <a:pt x="192" y="12"/>
                  </a:lnTo>
                  <a:lnTo>
                    <a:pt x="192" y="6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74" y="6"/>
                  </a:lnTo>
                  <a:lnTo>
                    <a:pt x="174" y="12"/>
                  </a:lnTo>
                  <a:lnTo>
                    <a:pt x="168" y="6"/>
                  </a:lnTo>
                  <a:lnTo>
                    <a:pt x="162" y="6"/>
                  </a:lnTo>
                  <a:lnTo>
                    <a:pt x="156" y="6"/>
                  </a:lnTo>
                  <a:lnTo>
                    <a:pt x="150" y="6"/>
                  </a:lnTo>
                  <a:lnTo>
                    <a:pt x="144" y="6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26" y="0"/>
                  </a:lnTo>
                  <a:lnTo>
                    <a:pt x="126" y="6"/>
                  </a:lnTo>
                  <a:lnTo>
                    <a:pt x="120" y="12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96" y="30"/>
                  </a:lnTo>
                  <a:lnTo>
                    <a:pt x="90" y="36"/>
                  </a:lnTo>
                  <a:lnTo>
                    <a:pt x="96" y="36"/>
                  </a:lnTo>
                  <a:lnTo>
                    <a:pt x="96" y="42"/>
                  </a:lnTo>
                  <a:lnTo>
                    <a:pt x="102" y="42"/>
                  </a:lnTo>
                  <a:lnTo>
                    <a:pt x="102" y="48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36" y="54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2" y="84"/>
                  </a:lnTo>
                  <a:lnTo>
                    <a:pt x="6" y="84"/>
                  </a:lnTo>
                  <a:lnTo>
                    <a:pt x="12" y="90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0" y="108"/>
                  </a:lnTo>
                  <a:lnTo>
                    <a:pt x="6" y="11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2" name="Freeform 38"/>
            <p:cNvSpPr>
              <a:spLocks noChangeAspect="1" noEditPoints="1"/>
            </p:cNvSpPr>
            <p:nvPr/>
          </p:nvSpPr>
          <p:spPr bwMode="auto">
            <a:xfrm>
              <a:off x="2056695" y="5101930"/>
              <a:ext cx="357712" cy="234965"/>
            </a:xfrm>
            <a:custGeom>
              <a:avLst/>
              <a:gdLst>
                <a:gd name="T0" fmla="*/ 2147483647 w 282"/>
                <a:gd name="T1" fmla="*/ 2147483647 h 186"/>
                <a:gd name="T2" fmla="*/ 2147483647 w 282"/>
                <a:gd name="T3" fmla="*/ 2147483647 h 186"/>
                <a:gd name="T4" fmla="*/ 2147483647 w 282"/>
                <a:gd name="T5" fmla="*/ 2147483647 h 186"/>
                <a:gd name="T6" fmla="*/ 2147483647 w 282"/>
                <a:gd name="T7" fmla="*/ 2147483647 h 186"/>
                <a:gd name="T8" fmla="*/ 2147483647 w 282"/>
                <a:gd name="T9" fmla="*/ 2147483647 h 186"/>
                <a:gd name="T10" fmla="*/ 2147483647 w 282"/>
                <a:gd name="T11" fmla="*/ 2147483647 h 186"/>
                <a:gd name="T12" fmla="*/ 2147483647 w 282"/>
                <a:gd name="T13" fmla="*/ 2147483647 h 186"/>
                <a:gd name="T14" fmla="*/ 2147483647 w 282"/>
                <a:gd name="T15" fmla="*/ 2147483647 h 186"/>
                <a:gd name="T16" fmla="*/ 2147483647 w 282"/>
                <a:gd name="T17" fmla="*/ 2147483647 h 186"/>
                <a:gd name="T18" fmla="*/ 2147483647 w 282"/>
                <a:gd name="T19" fmla="*/ 0 h 186"/>
                <a:gd name="T20" fmla="*/ 2147483647 w 282"/>
                <a:gd name="T21" fmla="*/ 2147483647 h 186"/>
                <a:gd name="T22" fmla="*/ 2147483647 w 282"/>
                <a:gd name="T23" fmla="*/ 2147483647 h 186"/>
                <a:gd name="T24" fmla="*/ 2147483647 w 282"/>
                <a:gd name="T25" fmla="*/ 2147483647 h 186"/>
                <a:gd name="T26" fmla="*/ 2147483647 w 282"/>
                <a:gd name="T27" fmla="*/ 2147483647 h 186"/>
                <a:gd name="T28" fmla="*/ 2147483647 w 282"/>
                <a:gd name="T29" fmla="*/ 2147483647 h 186"/>
                <a:gd name="T30" fmla="*/ 2147483647 w 282"/>
                <a:gd name="T31" fmla="*/ 2147483647 h 186"/>
                <a:gd name="T32" fmla="*/ 2147483647 w 282"/>
                <a:gd name="T33" fmla="*/ 2147483647 h 186"/>
                <a:gd name="T34" fmla="*/ 2147483647 w 282"/>
                <a:gd name="T35" fmla="*/ 2147483647 h 186"/>
                <a:gd name="T36" fmla="*/ 2147483647 w 282"/>
                <a:gd name="T37" fmla="*/ 2147483647 h 186"/>
                <a:gd name="T38" fmla="*/ 2147483647 w 282"/>
                <a:gd name="T39" fmla="*/ 2147483647 h 186"/>
                <a:gd name="T40" fmla="*/ 2147483647 w 282"/>
                <a:gd name="T41" fmla="*/ 2147483647 h 186"/>
                <a:gd name="T42" fmla="*/ 2147483647 w 282"/>
                <a:gd name="T43" fmla="*/ 2147483647 h 186"/>
                <a:gd name="T44" fmla="*/ 2147483647 w 282"/>
                <a:gd name="T45" fmla="*/ 2147483647 h 186"/>
                <a:gd name="T46" fmla="*/ 2147483647 w 282"/>
                <a:gd name="T47" fmla="*/ 2147483647 h 186"/>
                <a:gd name="T48" fmla="*/ 2147483647 w 282"/>
                <a:gd name="T49" fmla="*/ 2147483647 h 186"/>
                <a:gd name="T50" fmla="*/ 2147483647 w 282"/>
                <a:gd name="T51" fmla="*/ 2147483647 h 186"/>
                <a:gd name="T52" fmla="*/ 2147483647 w 282"/>
                <a:gd name="T53" fmla="*/ 2147483647 h 186"/>
                <a:gd name="T54" fmla="*/ 2147483647 w 282"/>
                <a:gd name="T55" fmla="*/ 2147483647 h 186"/>
                <a:gd name="T56" fmla="*/ 2147483647 w 282"/>
                <a:gd name="T57" fmla="*/ 2147483647 h 186"/>
                <a:gd name="T58" fmla="*/ 2147483647 w 282"/>
                <a:gd name="T59" fmla="*/ 2147483647 h 186"/>
                <a:gd name="T60" fmla="*/ 2147483647 w 282"/>
                <a:gd name="T61" fmla="*/ 2147483647 h 186"/>
                <a:gd name="T62" fmla="*/ 2147483647 w 282"/>
                <a:gd name="T63" fmla="*/ 2147483647 h 186"/>
                <a:gd name="T64" fmla="*/ 2147483647 w 282"/>
                <a:gd name="T65" fmla="*/ 2147483647 h 186"/>
                <a:gd name="T66" fmla="*/ 2147483647 w 282"/>
                <a:gd name="T67" fmla="*/ 2147483647 h 186"/>
                <a:gd name="T68" fmla="*/ 2147483647 w 282"/>
                <a:gd name="T69" fmla="*/ 2147483647 h 186"/>
                <a:gd name="T70" fmla="*/ 2147483647 w 282"/>
                <a:gd name="T71" fmla="*/ 2147483647 h 186"/>
                <a:gd name="T72" fmla="*/ 2147483647 w 282"/>
                <a:gd name="T73" fmla="*/ 2147483647 h 186"/>
                <a:gd name="T74" fmla="*/ 2147483647 w 282"/>
                <a:gd name="T75" fmla="*/ 2147483647 h 186"/>
                <a:gd name="T76" fmla="*/ 2147483647 w 282"/>
                <a:gd name="T77" fmla="*/ 2147483647 h 186"/>
                <a:gd name="T78" fmla="*/ 2147483647 w 282"/>
                <a:gd name="T79" fmla="*/ 2147483647 h 186"/>
                <a:gd name="T80" fmla="*/ 2147483647 w 282"/>
                <a:gd name="T81" fmla="*/ 2147483647 h 186"/>
                <a:gd name="T82" fmla="*/ 2147483647 w 282"/>
                <a:gd name="T83" fmla="*/ 2147483647 h 186"/>
                <a:gd name="T84" fmla="*/ 2147483647 w 282"/>
                <a:gd name="T85" fmla="*/ 2147483647 h 186"/>
                <a:gd name="T86" fmla="*/ 2147483647 w 282"/>
                <a:gd name="T87" fmla="*/ 2147483647 h 186"/>
                <a:gd name="T88" fmla="*/ 2147483647 w 282"/>
                <a:gd name="T89" fmla="*/ 2147483647 h 186"/>
                <a:gd name="T90" fmla="*/ 2147483647 w 282"/>
                <a:gd name="T91" fmla="*/ 2147483647 h 186"/>
                <a:gd name="T92" fmla="*/ 2147483647 w 282"/>
                <a:gd name="T93" fmla="*/ 2147483647 h 186"/>
                <a:gd name="T94" fmla="*/ 2147483647 w 282"/>
                <a:gd name="T95" fmla="*/ 2147483647 h 186"/>
                <a:gd name="T96" fmla="*/ 2147483647 w 282"/>
                <a:gd name="T97" fmla="*/ 2147483647 h 186"/>
                <a:gd name="T98" fmla="*/ 2147483647 w 282"/>
                <a:gd name="T99" fmla="*/ 2147483647 h 186"/>
                <a:gd name="T100" fmla="*/ 2147483647 w 282"/>
                <a:gd name="T101" fmla="*/ 2147483647 h 186"/>
                <a:gd name="T102" fmla="*/ 2147483647 w 282"/>
                <a:gd name="T103" fmla="*/ 2147483647 h 186"/>
                <a:gd name="T104" fmla="*/ 2147483647 w 282"/>
                <a:gd name="T105" fmla="*/ 2147483647 h 186"/>
                <a:gd name="T106" fmla="*/ 2147483647 w 282"/>
                <a:gd name="T107" fmla="*/ 2147483647 h 186"/>
                <a:gd name="T108" fmla="*/ 2147483647 w 282"/>
                <a:gd name="T109" fmla="*/ 2147483647 h 186"/>
                <a:gd name="T110" fmla="*/ 2147483647 w 282"/>
                <a:gd name="T111" fmla="*/ 2147483647 h 18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186"/>
                <a:gd name="T170" fmla="*/ 282 w 282"/>
                <a:gd name="T171" fmla="*/ 186 h 18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186">
                  <a:moveTo>
                    <a:pt x="210" y="156"/>
                  </a:moveTo>
                  <a:lnTo>
                    <a:pt x="210" y="150"/>
                  </a:lnTo>
                  <a:lnTo>
                    <a:pt x="210" y="156"/>
                  </a:lnTo>
                  <a:close/>
                  <a:moveTo>
                    <a:pt x="216" y="156"/>
                  </a:moveTo>
                  <a:lnTo>
                    <a:pt x="216" y="162"/>
                  </a:lnTo>
                  <a:lnTo>
                    <a:pt x="216" y="156"/>
                  </a:lnTo>
                  <a:lnTo>
                    <a:pt x="210" y="156"/>
                  </a:lnTo>
                  <a:lnTo>
                    <a:pt x="216" y="156"/>
                  </a:lnTo>
                  <a:close/>
                  <a:moveTo>
                    <a:pt x="270" y="132"/>
                  </a:moveTo>
                  <a:lnTo>
                    <a:pt x="264" y="132"/>
                  </a:lnTo>
                  <a:lnTo>
                    <a:pt x="270" y="132"/>
                  </a:lnTo>
                  <a:close/>
                  <a:moveTo>
                    <a:pt x="96" y="54"/>
                  </a:moveTo>
                  <a:lnTo>
                    <a:pt x="102" y="54"/>
                  </a:lnTo>
                  <a:lnTo>
                    <a:pt x="102" y="48"/>
                  </a:lnTo>
                  <a:lnTo>
                    <a:pt x="96" y="48"/>
                  </a:lnTo>
                  <a:lnTo>
                    <a:pt x="96" y="54"/>
                  </a:lnTo>
                  <a:close/>
                  <a:moveTo>
                    <a:pt x="78" y="48"/>
                  </a:moveTo>
                  <a:lnTo>
                    <a:pt x="78" y="54"/>
                  </a:lnTo>
                  <a:lnTo>
                    <a:pt x="78" y="48"/>
                  </a:lnTo>
                  <a:close/>
                  <a:moveTo>
                    <a:pt x="204" y="162"/>
                  </a:moveTo>
                  <a:lnTo>
                    <a:pt x="210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04" y="162"/>
                  </a:lnTo>
                  <a:close/>
                  <a:moveTo>
                    <a:pt x="0" y="120"/>
                  </a:moveTo>
                  <a:lnTo>
                    <a:pt x="6" y="120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20"/>
                  </a:lnTo>
                  <a:close/>
                  <a:moveTo>
                    <a:pt x="162" y="132"/>
                  </a:moveTo>
                  <a:lnTo>
                    <a:pt x="162" y="126"/>
                  </a:lnTo>
                  <a:lnTo>
                    <a:pt x="162" y="132"/>
                  </a:lnTo>
                  <a:lnTo>
                    <a:pt x="156" y="132"/>
                  </a:lnTo>
                  <a:lnTo>
                    <a:pt x="162" y="132"/>
                  </a:lnTo>
                  <a:close/>
                  <a:moveTo>
                    <a:pt x="228" y="186"/>
                  </a:moveTo>
                  <a:lnTo>
                    <a:pt x="228" y="180"/>
                  </a:lnTo>
                  <a:lnTo>
                    <a:pt x="228" y="174"/>
                  </a:lnTo>
                  <a:lnTo>
                    <a:pt x="228" y="180"/>
                  </a:lnTo>
                  <a:lnTo>
                    <a:pt x="228" y="186"/>
                  </a:lnTo>
                  <a:close/>
                  <a:moveTo>
                    <a:pt x="6" y="78"/>
                  </a:moveTo>
                  <a:lnTo>
                    <a:pt x="12" y="78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6" y="78"/>
                  </a:lnTo>
                  <a:close/>
                  <a:moveTo>
                    <a:pt x="198" y="174"/>
                  </a:moveTo>
                  <a:lnTo>
                    <a:pt x="204" y="174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92" y="174"/>
                  </a:lnTo>
                  <a:lnTo>
                    <a:pt x="198" y="174"/>
                  </a:lnTo>
                  <a:close/>
                  <a:moveTo>
                    <a:pt x="132" y="138"/>
                  </a:moveTo>
                  <a:lnTo>
                    <a:pt x="132" y="132"/>
                  </a:lnTo>
                  <a:lnTo>
                    <a:pt x="138" y="132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26" y="138"/>
                  </a:lnTo>
                  <a:lnTo>
                    <a:pt x="132" y="138"/>
                  </a:lnTo>
                  <a:close/>
                  <a:moveTo>
                    <a:pt x="48" y="6"/>
                  </a:moveTo>
                  <a:lnTo>
                    <a:pt x="54" y="6"/>
                  </a:lnTo>
                  <a:lnTo>
                    <a:pt x="54" y="0"/>
                  </a:lnTo>
                  <a:lnTo>
                    <a:pt x="48" y="0"/>
                  </a:lnTo>
                  <a:lnTo>
                    <a:pt x="48" y="6"/>
                  </a:lnTo>
                  <a:close/>
                  <a:moveTo>
                    <a:pt x="150" y="138"/>
                  </a:moveTo>
                  <a:lnTo>
                    <a:pt x="156" y="138"/>
                  </a:lnTo>
                  <a:lnTo>
                    <a:pt x="156" y="132"/>
                  </a:lnTo>
                  <a:lnTo>
                    <a:pt x="150" y="132"/>
                  </a:lnTo>
                  <a:lnTo>
                    <a:pt x="150" y="138"/>
                  </a:lnTo>
                  <a:close/>
                  <a:moveTo>
                    <a:pt x="174" y="150"/>
                  </a:moveTo>
                  <a:lnTo>
                    <a:pt x="174" y="144"/>
                  </a:lnTo>
                  <a:lnTo>
                    <a:pt x="180" y="144"/>
                  </a:lnTo>
                  <a:lnTo>
                    <a:pt x="180" y="138"/>
                  </a:lnTo>
                  <a:lnTo>
                    <a:pt x="174" y="144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74" y="150"/>
                  </a:lnTo>
                  <a:close/>
                  <a:moveTo>
                    <a:pt x="234" y="168"/>
                  </a:moveTo>
                  <a:lnTo>
                    <a:pt x="240" y="174"/>
                  </a:lnTo>
                  <a:lnTo>
                    <a:pt x="246" y="174"/>
                  </a:lnTo>
                  <a:lnTo>
                    <a:pt x="246" y="168"/>
                  </a:lnTo>
                  <a:lnTo>
                    <a:pt x="240" y="168"/>
                  </a:lnTo>
                  <a:lnTo>
                    <a:pt x="234" y="168"/>
                  </a:lnTo>
                  <a:close/>
                  <a:moveTo>
                    <a:pt x="234" y="156"/>
                  </a:moveTo>
                  <a:lnTo>
                    <a:pt x="240" y="162"/>
                  </a:lnTo>
                  <a:lnTo>
                    <a:pt x="240" y="156"/>
                  </a:lnTo>
                  <a:lnTo>
                    <a:pt x="246" y="156"/>
                  </a:lnTo>
                  <a:lnTo>
                    <a:pt x="252" y="156"/>
                  </a:lnTo>
                  <a:lnTo>
                    <a:pt x="258" y="156"/>
                  </a:lnTo>
                  <a:lnTo>
                    <a:pt x="258" y="162"/>
                  </a:lnTo>
                  <a:lnTo>
                    <a:pt x="258" y="156"/>
                  </a:lnTo>
                  <a:lnTo>
                    <a:pt x="264" y="162"/>
                  </a:lnTo>
                  <a:lnTo>
                    <a:pt x="264" y="156"/>
                  </a:lnTo>
                  <a:lnTo>
                    <a:pt x="264" y="150"/>
                  </a:lnTo>
                  <a:lnTo>
                    <a:pt x="270" y="150"/>
                  </a:lnTo>
                  <a:lnTo>
                    <a:pt x="276" y="150"/>
                  </a:lnTo>
                  <a:lnTo>
                    <a:pt x="276" y="144"/>
                  </a:lnTo>
                  <a:lnTo>
                    <a:pt x="282" y="144"/>
                  </a:lnTo>
                  <a:lnTo>
                    <a:pt x="276" y="144"/>
                  </a:lnTo>
                  <a:lnTo>
                    <a:pt x="270" y="144"/>
                  </a:lnTo>
                  <a:lnTo>
                    <a:pt x="270" y="150"/>
                  </a:lnTo>
                  <a:lnTo>
                    <a:pt x="264" y="150"/>
                  </a:lnTo>
                  <a:lnTo>
                    <a:pt x="258" y="150"/>
                  </a:lnTo>
                  <a:lnTo>
                    <a:pt x="252" y="150"/>
                  </a:lnTo>
                  <a:lnTo>
                    <a:pt x="246" y="144"/>
                  </a:lnTo>
                  <a:lnTo>
                    <a:pt x="240" y="144"/>
                  </a:lnTo>
                  <a:lnTo>
                    <a:pt x="234" y="144"/>
                  </a:lnTo>
                  <a:lnTo>
                    <a:pt x="234" y="150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56"/>
                  </a:lnTo>
                  <a:close/>
                  <a:moveTo>
                    <a:pt x="234" y="102"/>
                  </a:moveTo>
                  <a:lnTo>
                    <a:pt x="228" y="102"/>
                  </a:lnTo>
                  <a:lnTo>
                    <a:pt x="234" y="102"/>
                  </a:lnTo>
                  <a:lnTo>
                    <a:pt x="234" y="96"/>
                  </a:lnTo>
                  <a:lnTo>
                    <a:pt x="228" y="96"/>
                  </a:lnTo>
                  <a:lnTo>
                    <a:pt x="222" y="96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78"/>
                  </a:lnTo>
                  <a:lnTo>
                    <a:pt x="210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98" y="66"/>
                  </a:lnTo>
                  <a:lnTo>
                    <a:pt x="198" y="72"/>
                  </a:lnTo>
                  <a:lnTo>
                    <a:pt x="192" y="78"/>
                  </a:lnTo>
                  <a:lnTo>
                    <a:pt x="192" y="84"/>
                  </a:lnTo>
                  <a:lnTo>
                    <a:pt x="186" y="78"/>
                  </a:lnTo>
                  <a:lnTo>
                    <a:pt x="180" y="78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8" y="84"/>
                  </a:lnTo>
                  <a:lnTo>
                    <a:pt x="162" y="84"/>
                  </a:lnTo>
                  <a:lnTo>
                    <a:pt x="162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72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60"/>
                  </a:lnTo>
                  <a:lnTo>
                    <a:pt x="150" y="60"/>
                  </a:lnTo>
                  <a:lnTo>
                    <a:pt x="144" y="60"/>
                  </a:lnTo>
                  <a:lnTo>
                    <a:pt x="144" y="54"/>
                  </a:lnTo>
                  <a:lnTo>
                    <a:pt x="144" y="48"/>
                  </a:lnTo>
                  <a:lnTo>
                    <a:pt x="138" y="48"/>
                  </a:lnTo>
                  <a:lnTo>
                    <a:pt x="144" y="48"/>
                  </a:lnTo>
                  <a:lnTo>
                    <a:pt x="144" y="42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44" y="18"/>
                  </a:lnTo>
                  <a:lnTo>
                    <a:pt x="138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0" y="36"/>
                  </a:lnTo>
                  <a:lnTo>
                    <a:pt x="12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108" y="48"/>
                  </a:lnTo>
                  <a:lnTo>
                    <a:pt x="102" y="48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2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2" y="66"/>
                  </a:lnTo>
                  <a:lnTo>
                    <a:pt x="72" y="60"/>
                  </a:lnTo>
                  <a:lnTo>
                    <a:pt x="66" y="60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60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60" y="72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2" y="66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24" y="66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30" y="66"/>
                  </a:lnTo>
                  <a:lnTo>
                    <a:pt x="36" y="66"/>
                  </a:lnTo>
                  <a:lnTo>
                    <a:pt x="36" y="72"/>
                  </a:lnTo>
                  <a:lnTo>
                    <a:pt x="30" y="72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72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18" y="102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18" y="108"/>
                  </a:lnTo>
                  <a:lnTo>
                    <a:pt x="18" y="114"/>
                  </a:lnTo>
                  <a:lnTo>
                    <a:pt x="12" y="114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18" y="126"/>
                  </a:lnTo>
                  <a:lnTo>
                    <a:pt x="24" y="126"/>
                  </a:lnTo>
                  <a:lnTo>
                    <a:pt x="24" y="132"/>
                  </a:lnTo>
                  <a:lnTo>
                    <a:pt x="18" y="132"/>
                  </a:lnTo>
                  <a:lnTo>
                    <a:pt x="24" y="132"/>
                  </a:lnTo>
                  <a:lnTo>
                    <a:pt x="24" y="138"/>
                  </a:lnTo>
                  <a:lnTo>
                    <a:pt x="24" y="144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6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38"/>
                  </a:lnTo>
                  <a:lnTo>
                    <a:pt x="60" y="132"/>
                  </a:lnTo>
                  <a:lnTo>
                    <a:pt x="60" y="138"/>
                  </a:lnTo>
                  <a:lnTo>
                    <a:pt x="66" y="138"/>
                  </a:lnTo>
                  <a:lnTo>
                    <a:pt x="66" y="144"/>
                  </a:lnTo>
                  <a:lnTo>
                    <a:pt x="66" y="150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2" y="138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84" y="144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96" y="138"/>
                  </a:lnTo>
                  <a:lnTo>
                    <a:pt x="96" y="132"/>
                  </a:lnTo>
                  <a:lnTo>
                    <a:pt x="102" y="132"/>
                  </a:lnTo>
                  <a:lnTo>
                    <a:pt x="96" y="132"/>
                  </a:lnTo>
                  <a:lnTo>
                    <a:pt x="102" y="132"/>
                  </a:lnTo>
                  <a:lnTo>
                    <a:pt x="102" y="126"/>
                  </a:lnTo>
                  <a:lnTo>
                    <a:pt x="102" y="132"/>
                  </a:lnTo>
                  <a:lnTo>
                    <a:pt x="102" y="138"/>
                  </a:lnTo>
                  <a:lnTo>
                    <a:pt x="102" y="132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14" y="132"/>
                  </a:lnTo>
                  <a:lnTo>
                    <a:pt x="120" y="126"/>
                  </a:lnTo>
                  <a:lnTo>
                    <a:pt x="120" y="132"/>
                  </a:lnTo>
                  <a:lnTo>
                    <a:pt x="120" y="138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32" y="132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26"/>
                  </a:lnTo>
                  <a:lnTo>
                    <a:pt x="144" y="126"/>
                  </a:lnTo>
                  <a:lnTo>
                    <a:pt x="144" y="132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6"/>
                  </a:lnTo>
                  <a:lnTo>
                    <a:pt x="168" y="126"/>
                  </a:lnTo>
                  <a:lnTo>
                    <a:pt x="168" y="132"/>
                  </a:lnTo>
                  <a:lnTo>
                    <a:pt x="174" y="132"/>
                  </a:lnTo>
                  <a:lnTo>
                    <a:pt x="168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8" y="144"/>
                  </a:lnTo>
                  <a:lnTo>
                    <a:pt x="174" y="144"/>
                  </a:lnTo>
                  <a:lnTo>
                    <a:pt x="174" y="138"/>
                  </a:lnTo>
                  <a:lnTo>
                    <a:pt x="168" y="138"/>
                  </a:lnTo>
                  <a:lnTo>
                    <a:pt x="174" y="138"/>
                  </a:lnTo>
                  <a:lnTo>
                    <a:pt x="174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86" y="144"/>
                  </a:lnTo>
                  <a:lnTo>
                    <a:pt x="192" y="144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6" y="156"/>
                  </a:lnTo>
                  <a:lnTo>
                    <a:pt x="222" y="156"/>
                  </a:lnTo>
                  <a:lnTo>
                    <a:pt x="222" y="162"/>
                  </a:lnTo>
                  <a:lnTo>
                    <a:pt x="216" y="162"/>
                  </a:lnTo>
                  <a:lnTo>
                    <a:pt x="216" y="168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74"/>
                  </a:lnTo>
                  <a:lnTo>
                    <a:pt x="216" y="168"/>
                  </a:lnTo>
                  <a:lnTo>
                    <a:pt x="222" y="168"/>
                  </a:lnTo>
                  <a:lnTo>
                    <a:pt x="222" y="162"/>
                  </a:lnTo>
                  <a:lnTo>
                    <a:pt x="228" y="162"/>
                  </a:lnTo>
                  <a:lnTo>
                    <a:pt x="228" y="156"/>
                  </a:lnTo>
                  <a:lnTo>
                    <a:pt x="222" y="156"/>
                  </a:lnTo>
                  <a:lnTo>
                    <a:pt x="222" y="150"/>
                  </a:lnTo>
                  <a:lnTo>
                    <a:pt x="222" y="144"/>
                  </a:lnTo>
                  <a:lnTo>
                    <a:pt x="228" y="144"/>
                  </a:lnTo>
                  <a:lnTo>
                    <a:pt x="234" y="144"/>
                  </a:lnTo>
                  <a:lnTo>
                    <a:pt x="234" y="138"/>
                  </a:lnTo>
                  <a:lnTo>
                    <a:pt x="234" y="132"/>
                  </a:lnTo>
                  <a:lnTo>
                    <a:pt x="234" y="126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40" y="114"/>
                  </a:lnTo>
                  <a:lnTo>
                    <a:pt x="240" y="108"/>
                  </a:lnTo>
                  <a:lnTo>
                    <a:pt x="234" y="108"/>
                  </a:lnTo>
                  <a:lnTo>
                    <a:pt x="240" y="108"/>
                  </a:lnTo>
                  <a:lnTo>
                    <a:pt x="240" y="102"/>
                  </a:lnTo>
                  <a:lnTo>
                    <a:pt x="234" y="102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3" name="Freeform 39"/>
            <p:cNvSpPr>
              <a:spLocks noChangeAspect="1" noEditPoints="1"/>
            </p:cNvSpPr>
            <p:nvPr/>
          </p:nvSpPr>
          <p:spPr bwMode="auto">
            <a:xfrm>
              <a:off x="2658614" y="5222588"/>
              <a:ext cx="228730" cy="152410"/>
            </a:xfrm>
            <a:custGeom>
              <a:avLst/>
              <a:gdLst>
                <a:gd name="T0" fmla="*/ 2147483647 w 180"/>
                <a:gd name="T1" fmla="*/ 2147483647 h 120"/>
                <a:gd name="T2" fmla="*/ 2147483647 w 180"/>
                <a:gd name="T3" fmla="*/ 0 h 120"/>
                <a:gd name="T4" fmla="*/ 2147483647 w 180"/>
                <a:gd name="T5" fmla="*/ 0 h 120"/>
                <a:gd name="T6" fmla="*/ 2147483647 w 180"/>
                <a:gd name="T7" fmla="*/ 2147483647 h 120"/>
                <a:gd name="T8" fmla="*/ 2147483647 w 180"/>
                <a:gd name="T9" fmla="*/ 2147483647 h 120"/>
                <a:gd name="T10" fmla="*/ 2147483647 w 180"/>
                <a:gd name="T11" fmla="*/ 2147483647 h 120"/>
                <a:gd name="T12" fmla="*/ 2147483647 w 180"/>
                <a:gd name="T13" fmla="*/ 2147483647 h 120"/>
                <a:gd name="T14" fmla="*/ 2147483647 w 180"/>
                <a:gd name="T15" fmla="*/ 2147483647 h 120"/>
                <a:gd name="T16" fmla="*/ 2147483647 w 180"/>
                <a:gd name="T17" fmla="*/ 2147483647 h 120"/>
                <a:gd name="T18" fmla="*/ 2147483647 w 180"/>
                <a:gd name="T19" fmla="*/ 2147483647 h 120"/>
                <a:gd name="T20" fmla="*/ 2147483647 w 180"/>
                <a:gd name="T21" fmla="*/ 2147483647 h 120"/>
                <a:gd name="T22" fmla="*/ 2147483647 w 180"/>
                <a:gd name="T23" fmla="*/ 2147483647 h 120"/>
                <a:gd name="T24" fmla="*/ 2147483647 w 180"/>
                <a:gd name="T25" fmla="*/ 2147483647 h 120"/>
                <a:gd name="T26" fmla="*/ 2147483647 w 180"/>
                <a:gd name="T27" fmla="*/ 2147483647 h 120"/>
                <a:gd name="T28" fmla="*/ 2147483647 w 180"/>
                <a:gd name="T29" fmla="*/ 2147483647 h 120"/>
                <a:gd name="T30" fmla="*/ 2147483647 w 180"/>
                <a:gd name="T31" fmla="*/ 2147483647 h 120"/>
                <a:gd name="T32" fmla="*/ 2147483647 w 180"/>
                <a:gd name="T33" fmla="*/ 2147483647 h 120"/>
                <a:gd name="T34" fmla="*/ 2147483647 w 180"/>
                <a:gd name="T35" fmla="*/ 2147483647 h 120"/>
                <a:gd name="T36" fmla="*/ 2147483647 w 180"/>
                <a:gd name="T37" fmla="*/ 2147483647 h 120"/>
                <a:gd name="T38" fmla="*/ 2147483647 w 180"/>
                <a:gd name="T39" fmla="*/ 2147483647 h 120"/>
                <a:gd name="T40" fmla="*/ 2147483647 w 180"/>
                <a:gd name="T41" fmla="*/ 2147483647 h 120"/>
                <a:gd name="T42" fmla="*/ 2147483647 w 180"/>
                <a:gd name="T43" fmla="*/ 2147483647 h 120"/>
                <a:gd name="T44" fmla="*/ 2147483647 w 180"/>
                <a:gd name="T45" fmla="*/ 2147483647 h 120"/>
                <a:gd name="T46" fmla="*/ 2147483647 w 180"/>
                <a:gd name="T47" fmla="*/ 2147483647 h 120"/>
                <a:gd name="T48" fmla="*/ 2147483647 w 180"/>
                <a:gd name="T49" fmla="*/ 2147483647 h 120"/>
                <a:gd name="T50" fmla="*/ 2147483647 w 180"/>
                <a:gd name="T51" fmla="*/ 2147483647 h 120"/>
                <a:gd name="T52" fmla="*/ 2147483647 w 180"/>
                <a:gd name="T53" fmla="*/ 2147483647 h 120"/>
                <a:gd name="T54" fmla="*/ 2147483647 w 180"/>
                <a:gd name="T55" fmla="*/ 2147483647 h 120"/>
                <a:gd name="T56" fmla="*/ 2147483647 w 180"/>
                <a:gd name="T57" fmla="*/ 2147483647 h 120"/>
                <a:gd name="T58" fmla="*/ 2147483647 w 180"/>
                <a:gd name="T59" fmla="*/ 2147483647 h 120"/>
                <a:gd name="T60" fmla="*/ 2147483647 w 180"/>
                <a:gd name="T61" fmla="*/ 2147483647 h 120"/>
                <a:gd name="T62" fmla="*/ 2147483647 w 180"/>
                <a:gd name="T63" fmla="*/ 2147483647 h 120"/>
                <a:gd name="T64" fmla="*/ 2147483647 w 180"/>
                <a:gd name="T65" fmla="*/ 2147483647 h 120"/>
                <a:gd name="T66" fmla="*/ 2147483647 w 180"/>
                <a:gd name="T67" fmla="*/ 2147483647 h 120"/>
                <a:gd name="T68" fmla="*/ 2147483647 w 180"/>
                <a:gd name="T69" fmla="*/ 0 h 120"/>
                <a:gd name="T70" fmla="*/ 2147483647 w 180"/>
                <a:gd name="T71" fmla="*/ 2147483647 h 120"/>
                <a:gd name="T72" fmla="*/ 2147483647 w 180"/>
                <a:gd name="T73" fmla="*/ 2147483647 h 120"/>
                <a:gd name="T74" fmla="*/ 2147483647 w 180"/>
                <a:gd name="T75" fmla="*/ 2147483647 h 120"/>
                <a:gd name="T76" fmla="*/ 2147483647 w 180"/>
                <a:gd name="T77" fmla="*/ 2147483647 h 120"/>
                <a:gd name="T78" fmla="*/ 2147483647 w 180"/>
                <a:gd name="T79" fmla="*/ 2147483647 h 120"/>
                <a:gd name="T80" fmla="*/ 2147483647 w 180"/>
                <a:gd name="T81" fmla="*/ 2147483647 h 120"/>
                <a:gd name="T82" fmla="*/ 2147483647 w 180"/>
                <a:gd name="T83" fmla="*/ 2147483647 h 120"/>
                <a:gd name="T84" fmla="*/ 2147483647 w 180"/>
                <a:gd name="T85" fmla="*/ 2147483647 h 120"/>
                <a:gd name="T86" fmla="*/ 2147483647 w 180"/>
                <a:gd name="T87" fmla="*/ 2147483647 h 120"/>
                <a:gd name="T88" fmla="*/ 2147483647 w 180"/>
                <a:gd name="T89" fmla="*/ 2147483647 h 120"/>
                <a:gd name="T90" fmla="*/ 2147483647 w 180"/>
                <a:gd name="T91" fmla="*/ 2147483647 h 120"/>
                <a:gd name="T92" fmla="*/ 2147483647 w 180"/>
                <a:gd name="T93" fmla="*/ 2147483647 h 120"/>
                <a:gd name="T94" fmla="*/ 0 w 180"/>
                <a:gd name="T95" fmla="*/ 2147483647 h 120"/>
                <a:gd name="T96" fmla="*/ 2147483647 w 180"/>
                <a:gd name="T97" fmla="*/ 2147483647 h 12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80"/>
                <a:gd name="T148" fmla="*/ 0 h 120"/>
                <a:gd name="T149" fmla="*/ 180 w 180"/>
                <a:gd name="T150" fmla="*/ 120 h 12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80" h="120">
                  <a:moveTo>
                    <a:pt x="150" y="0"/>
                  </a:moveTo>
                  <a:lnTo>
                    <a:pt x="156" y="0"/>
                  </a:lnTo>
                  <a:lnTo>
                    <a:pt x="156" y="6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0" y="0"/>
                  </a:lnTo>
                  <a:close/>
                  <a:moveTo>
                    <a:pt x="0" y="60"/>
                  </a:move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24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42" y="72"/>
                  </a:lnTo>
                  <a:lnTo>
                    <a:pt x="42" y="78"/>
                  </a:lnTo>
                  <a:lnTo>
                    <a:pt x="48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6" y="72"/>
                  </a:lnTo>
                  <a:lnTo>
                    <a:pt x="66" y="78"/>
                  </a:lnTo>
                  <a:lnTo>
                    <a:pt x="66" y="84"/>
                  </a:lnTo>
                  <a:lnTo>
                    <a:pt x="72" y="84"/>
                  </a:lnTo>
                  <a:lnTo>
                    <a:pt x="72" y="90"/>
                  </a:lnTo>
                  <a:lnTo>
                    <a:pt x="66" y="96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84" y="90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2"/>
                  </a:lnTo>
                  <a:lnTo>
                    <a:pt x="84" y="108"/>
                  </a:lnTo>
                  <a:lnTo>
                    <a:pt x="90" y="108"/>
                  </a:lnTo>
                  <a:lnTo>
                    <a:pt x="90" y="114"/>
                  </a:lnTo>
                  <a:lnTo>
                    <a:pt x="96" y="114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20"/>
                  </a:lnTo>
                  <a:lnTo>
                    <a:pt x="114" y="114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14"/>
                  </a:lnTo>
                  <a:lnTo>
                    <a:pt x="114" y="108"/>
                  </a:lnTo>
                  <a:lnTo>
                    <a:pt x="120" y="108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20" y="102"/>
                  </a:lnTo>
                  <a:lnTo>
                    <a:pt x="126" y="102"/>
                  </a:lnTo>
                  <a:lnTo>
                    <a:pt x="126" y="96"/>
                  </a:lnTo>
                  <a:lnTo>
                    <a:pt x="126" y="102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44" y="90"/>
                  </a:lnTo>
                  <a:lnTo>
                    <a:pt x="150" y="90"/>
                  </a:lnTo>
                  <a:lnTo>
                    <a:pt x="150" y="84"/>
                  </a:lnTo>
                  <a:lnTo>
                    <a:pt x="150" y="78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68" y="78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80" y="66"/>
                  </a:lnTo>
                  <a:lnTo>
                    <a:pt x="174" y="66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68" y="66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68" y="48"/>
                  </a:lnTo>
                  <a:lnTo>
                    <a:pt x="162" y="48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6"/>
                  </a:lnTo>
                  <a:lnTo>
                    <a:pt x="156" y="42"/>
                  </a:lnTo>
                  <a:lnTo>
                    <a:pt x="150" y="42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44" y="30"/>
                  </a:lnTo>
                  <a:lnTo>
                    <a:pt x="150" y="30"/>
                  </a:lnTo>
                  <a:lnTo>
                    <a:pt x="150" y="24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0" y="24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6" y="12"/>
                  </a:lnTo>
                  <a:lnTo>
                    <a:pt x="156" y="6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48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4" name="Freeform 40"/>
            <p:cNvSpPr>
              <a:spLocks noChangeAspect="1" noEditPoints="1"/>
            </p:cNvSpPr>
            <p:nvPr/>
          </p:nvSpPr>
          <p:spPr bwMode="auto">
            <a:xfrm>
              <a:off x="2634537" y="5154321"/>
              <a:ext cx="184016" cy="114307"/>
            </a:xfrm>
            <a:custGeom>
              <a:avLst/>
              <a:gdLst>
                <a:gd name="T0" fmla="*/ 2147483647 w 144"/>
                <a:gd name="T1" fmla="*/ 2147483647 h 90"/>
                <a:gd name="T2" fmla="*/ 2147483647 w 144"/>
                <a:gd name="T3" fmla="*/ 2147483647 h 90"/>
                <a:gd name="T4" fmla="*/ 2147483647 w 144"/>
                <a:gd name="T5" fmla="*/ 2147483647 h 90"/>
                <a:gd name="T6" fmla="*/ 2147483647 w 144"/>
                <a:gd name="T7" fmla="*/ 2147483647 h 90"/>
                <a:gd name="T8" fmla="*/ 2147483647 w 144"/>
                <a:gd name="T9" fmla="*/ 2147483647 h 90"/>
                <a:gd name="T10" fmla="*/ 2147483647 w 144"/>
                <a:gd name="T11" fmla="*/ 2147483647 h 90"/>
                <a:gd name="T12" fmla="*/ 2147483647 w 144"/>
                <a:gd name="T13" fmla="*/ 2147483647 h 90"/>
                <a:gd name="T14" fmla="*/ 2147483647 w 144"/>
                <a:gd name="T15" fmla="*/ 2147483647 h 90"/>
                <a:gd name="T16" fmla="*/ 2147483647 w 144"/>
                <a:gd name="T17" fmla="*/ 2147483647 h 90"/>
                <a:gd name="T18" fmla="*/ 2147483647 w 144"/>
                <a:gd name="T19" fmla="*/ 2147483647 h 90"/>
                <a:gd name="T20" fmla="*/ 2147483647 w 144"/>
                <a:gd name="T21" fmla="*/ 2147483647 h 90"/>
                <a:gd name="T22" fmla="*/ 2147483647 w 144"/>
                <a:gd name="T23" fmla="*/ 2147483647 h 90"/>
                <a:gd name="T24" fmla="*/ 2147483647 w 144"/>
                <a:gd name="T25" fmla="*/ 2147483647 h 90"/>
                <a:gd name="T26" fmla="*/ 2147483647 w 144"/>
                <a:gd name="T27" fmla="*/ 2147483647 h 90"/>
                <a:gd name="T28" fmla="*/ 2147483647 w 144"/>
                <a:gd name="T29" fmla="*/ 2147483647 h 90"/>
                <a:gd name="T30" fmla="*/ 2147483647 w 144"/>
                <a:gd name="T31" fmla="*/ 2147483647 h 90"/>
                <a:gd name="T32" fmla="*/ 2147483647 w 144"/>
                <a:gd name="T33" fmla="*/ 2147483647 h 90"/>
                <a:gd name="T34" fmla="*/ 2147483647 w 144"/>
                <a:gd name="T35" fmla="*/ 2147483647 h 90"/>
                <a:gd name="T36" fmla="*/ 2147483647 w 144"/>
                <a:gd name="T37" fmla="*/ 2147483647 h 90"/>
                <a:gd name="T38" fmla="*/ 2147483647 w 144"/>
                <a:gd name="T39" fmla="*/ 2147483647 h 90"/>
                <a:gd name="T40" fmla="*/ 2147483647 w 144"/>
                <a:gd name="T41" fmla="*/ 2147483647 h 90"/>
                <a:gd name="T42" fmla="*/ 2147483647 w 144"/>
                <a:gd name="T43" fmla="*/ 2147483647 h 90"/>
                <a:gd name="T44" fmla="*/ 2147483647 w 144"/>
                <a:gd name="T45" fmla="*/ 2147483647 h 90"/>
                <a:gd name="T46" fmla="*/ 2147483647 w 144"/>
                <a:gd name="T47" fmla="*/ 0 h 90"/>
                <a:gd name="T48" fmla="*/ 2147483647 w 144"/>
                <a:gd name="T49" fmla="*/ 0 h 90"/>
                <a:gd name="T50" fmla="*/ 2147483647 w 144"/>
                <a:gd name="T51" fmla="*/ 2147483647 h 90"/>
                <a:gd name="T52" fmla="*/ 2147483647 w 144"/>
                <a:gd name="T53" fmla="*/ 2147483647 h 90"/>
                <a:gd name="T54" fmla="*/ 2147483647 w 144"/>
                <a:gd name="T55" fmla="*/ 2147483647 h 90"/>
                <a:gd name="T56" fmla="*/ 2147483647 w 144"/>
                <a:gd name="T57" fmla="*/ 2147483647 h 90"/>
                <a:gd name="T58" fmla="*/ 2147483647 w 144"/>
                <a:gd name="T59" fmla="*/ 2147483647 h 90"/>
                <a:gd name="T60" fmla="*/ 2147483647 w 144"/>
                <a:gd name="T61" fmla="*/ 2147483647 h 90"/>
                <a:gd name="T62" fmla="*/ 2147483647 w 144"/>
                <a:gd name="T63" fmla="*/ 2147483647 h 90"/>
                <a:gd name="T64" fmla="*/ 2147483647 w 144"/>
                <a:gd name="T65" fmla="*/ 2147483647 h 90"/>
                <a:gd name="T66" fmla="*/ 2147483647 w 144"/>
                <a:gd name="T67" fmla="*/ 2147483647 h 90"/>
                <a:gd name="T68" fmla="*/ 2147483647 w 144"/>
                <a:gd name="T69" fmla="*/ 2147483647 h 90"/>
                <a:gd name="T70" fmla="*/ 2147483647 w 144"/>
                <a:gd name="T71" fmla="*/ 2147483647 h 90"/>
                <a:gd name="T72" fmla="*/ 2147483647 w 144"/>
                <a:gd name="T73" fmla="*/ 2147483647 h 90"/>
                <a:gd name="T74" fmla="*/ 2147483647 w 144"/>
                <a:gd name="T75" fmla="*/ 2147483647 h 90"/>
                <a:gd name="T76" fmla="*/ 2147483647 w 144"/>
                <a:gd name="T77" fmla="*/ 2147483647 h 90"/>
                <a:gd name="T78" fmla="*/ 2147483647 w 144"/>
                <a:gd name="T79" fmla="*/ 2147483647 h 90"/>
                <a:gd name="T80" fmla="*/ 2147483647 w 144"/>
                <a:gd name="T81" fmla="*/ 2147483647 h 90"/>
                <a:gd name="T82" fmla="*/ 2147483647 w 144"/>
                <a:gd name="T83" fmla="*/ 2147483647 h 90"/>
                <a:gd name="T84" fmla="*/ 2147483647 w 144"/>
                <a:gd name="T85" fmla="*/ 2147483647 h 90"/>
                <a:gd name="T86" fmla="*/ 2147483647 w 144"/>
                <a:gd name="T87" fmla="*/ 2147483647 h 90"/>
                <a:gd name="T88" fmla="*/ 2147483647 w 144"/>
                <a:gd name="T89" fmla="*/ 2147483647 h 90"/>
                <a:gd name="T90" fmla="*/ 2147483647 w 144"/>
                <a:gd name="T91" fmla="*/ 2147483647 h 90"/>
                <a:gd name="T92" fmla="*/ 2147483647 w 144"/>
                <a:gd name="T93" fmla="*/ 2147483647 h 90"/>
                <a:gd name="T94" fmla="*/ 2147483647 w 144"/>
                <a:gd name="T95" fmla="*/ 2147483647 h 90"/>
                <a:gd name="T96" fmla="*/ 2147483647 w 144"/>
                <a:gd name="T97" fmla="*/ 2147483647 h 90"/>
                <a:gd name="T98" fmla="*/ 2147483647 w 144"/>
                <a:gd name="T99" fmla="*/ 2147483647 h 90"/>
                <a:gd name="T100" fmla="*/ 2147483647 w 144"/>
                <a:gd name="T101" fmla="*/ 2147483647 h 90"/>
                <a:gd name="T102" fmla="*/ 2147483647 w 144"/>
                <a:gd name="T103" fmla="*/ 2147483647 h 90"/>
                <a:gd name="T104" fmla="*/ 2147483647 w 144"/>
                <a:gd name="T105" fmla="*/ 2147483647 h 90"/>
                <a:gd name="T106" fmla="*/ 2147483647 w 144"/>
                <a:gd name="T107" fmla="*/ 2147483647 h 90"/>
                <a:gd name="T108" fmla="*/ 2147483647 w 144"/>
                <a:gd name="T109" fmla="*/ 2147483647 h 90"/>
                <a:gd name="T110" fmla="*/ 2147483647 w 144"/>
                <a:gd name="T111" fmla="*/ 2147483647 h 90"/>
                <a:gd name="T112" fmla="*/ 2147483647 w 144"/>
                <a:gd name="T113" fmla="*/ 2147483647 h 90"/>
                <a:gd name="T114" fmla="*/ 2147483647 w 144"/>
                <a:gd name="T115" fmla="*/ 2147483647 h 90"/>
                <a:gd name="T116" fmla="*/ 2147483647 w 144"/>
                <a:gd name="T117" fmla="*/ 2147483647 h 90"/>
                <a:gd name="T118" fmla="*/ 0 w 144"/>
                <a:gd name="T119" fmla="*/ 2147483647 h 90"/>
                <a:gd name="T120" fmla="*/ 2147483647 w 144"/>
                <a:gd name="T121" fmla="*/ 2147483647 h 90"/>
                <a:gd name="T122" fmla="*/ 2147483647 w 144"/>
                <a:gd name="T123" fmla="*/ 2147483647 h 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"/>
                <a:gd name="T187" fmla="*/ 0 h 90"/>
                <a:gd name="T188" fmla="*/ 144 w 144"/>
                <a:gd name="T189" fmla="*/ 90 h 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" h="90">
                  <a:moveTo>
                    <a:pt x="90" y="12"/>
                  </a:moveTo>
                  <a:lnTo>
                    <a:pt x="84" y="12"/>
                  </a:lnTo>
                  <a:lnTo>
                    <a:pt x="90" y="12"/>
                  </a:lnTo>
                  <a:close/>
                  <a:moveTo>
                    <a:pt x="78" y="24"/>
                  </a:moveTo>
                  <a:lnTo>
                    <a:pt x="78" y="18"/>
                  </a:lnTo>
                  <a:lnTo>
                    <a:pt x="78" y="24"/>
                  </a:lnTo>
                  <a:close/>
                  <a:moveTo>
                    <a:pt x="12" y="42"/>
                  </a:moveTo>
                  <a:lnTo>
                    <a:pt x="18" y="42"/>
                  </a:lnTo>
                  <a:lnTo>
                    <a:pt x="12" y="36"/>
                  </a:lnTo>
                  <a:lnTo>
                    <a:pt x="12" y="42"/>
                  </a:lnTo>
                  <a:close/>
                  <a:moveTo>
                    <a:pt x="78" y="30"/>
                  </a:moveTo>
                  <a:lnTo>
                    <a:pt x="78" y="24"/>
                  </a:lnTo>
                  <a:lnTo>
                    <a:pt x="72" y="30"/>
                  </a:lnTo>
                  <a:lnTo>
                    <a:pt x="78" y="30"/>
                  </a:lnTo>
                  <a:close/>
                  <a:moveTo>
                    <a:pt x="12" y="24"/>
                  </a:moveTo>
                  <a:lnTo>
                    <a:pt x="12" y="30"/>
                  </a:lnTo>
                  <a:lnTo>
                    <a:pt x="12" y="24"/>
                  </a:lnTo>
                  <a:close/>
                  <a:moveTo>
                    <a:pt x="6" y="48"/>
                  </a:moveTo>
                  <a:lnTo>
                    <a:pt x="12" y="48"/>
                  </a:lnTo>
                  <a:lnTo>
                    <a:pt x="6" y="48"/>
                  </a:lnTo>
                  <a:close/>
                  <a:moveTo>
                    <a:pt x="30" y="30"/>
                  </a:moveTo>
                  <a:lnTo>
                    <a:pt x="36" y="30"/>
                  </a:lnTo>
                  <a:lnTo>
                    <a:pt x="30" y="30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24"/>
                  </a:lnTo>
                  <a:lnTo>
                    <a:pt x="30" y="30"/>
                  </a:lnTo>
                  <a:close/>
                  <a:moveTo>
                    <a:pt x="60" y="18"/>
                  </a:moveTo>
                  <a:lnTo>
                    <a:pt x="66" y="18"/>
                  </a:lnTo>
                  <a:lnTo>
                    <a:pt x="66" y="12"/>
                  </a:lnTo>
                  <a:lnTo>
                    <a:pt x="60" y="12"/>
                  </a:lnTo>
                  <a:lnTo>
                    <a:pt x="60" y="18"/>
                  </a:lnTo>
                  <a:close/>
                  <a:moveTo>
                    <a:pt x="18" y="36"/>
                  </a:moveTo>
                  <a:lnTo>
                    <a:pt x="18" y="30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36"/>
                  </a:lnTo>
                  <a:close/>
                  <a:moveTo>
                    <a:pt x="72" y="12"/>
                  </a:moveTo>
                  <a:lnTo>
                    <a:pt x="72" y="6"/>
                  </a:lnTo>
                  <a:lnTo>
                    <a:pt x="66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72" y="12"/>
                  </a:lnTo>
                  <a:close/>
                  <a:moveTo>
                    <a:pt x="90" y="18"/>
                  </a:moveTo>
                  <a:lnTo>
                    <a:pt x="96" y="18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18"/>
                  </a:lnTo>
                  <a:close/>
                  <a:moveTo>
                    <a:pt x="6" y="84"/>
                  </a:moveTo>
                  <a:lnTo>
                    <a:pt x="12" y="90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36" y="84"/>
                  </a:lnTo>
                  <a:lnTo>
                    <a:pt x="36" y="78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60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72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84" y="72"/>
                  </a:lnTo>
                  <a:lnTo>
                    <a:pt x="84" y="78"/>
                  </a:lnTo>
                  <a:lnTo>
                    <a:pt x="84" y="72"/>
                  </a:lnTo>
                  <a:lnTo>
                    <a:pt x="90" y="72"/>
                  </a:lnTo>
                  <a:lnTo>
                    <a:pt x="96" y="72"/>
                  </a:lnTo>
                  <a:lnTo>
                    <a:pt x="96" y="66"/>
                  </a:lnTo>
                  <a:lnTo>
                    <a:pt x="102" y="66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32" y="66"/>
                  </a:lnTo>
                  <a:lnTo>
                    <a:pt x="138" y="66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60"/>
                  </a:lnTo>
                  <a:lnTo>
                    <a:pt x="138" y="54"/>
                  </a:lnTo>
                  <a:lnTo>
                    <a:pt x="132" y="54"/>
                  </a:lnTo>
                  <a:lnTo>
                    <a:pt x="138" y="54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26" y="5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14" y="48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14" y="42"/>
                  </a:lnTo>
                  <a:lnTo>
                    <a:pt x="114" y="36"/>
                  </a:lnTo>
                  <a:lnTo>
                    <a:pt x="108" y="36"/>
                  </a:lnTo>
                  <a:lnTo>
                    <a:pt x="102" y="36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96" y="36"/>
                  </a:lnTo>
                  <a:lnTo>
                    <a:pt x="96" y="30"/>
                  </a:lnTo>
                  <a:lnTo>
                    <a:pt x="90" y="24"/>
                  </a:lnTo>
                  <a:lnTo>
                    <a:pt x="90" y="30"/>
                  </a:lnTo>
                  <a:lnTo>
                    <a:pt x="84" y="30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72" y="36"/>
                  </a:lnTo>
                  <a:lnTo>
                    <a:pt x="66" y="36"/>
                  </a:lnTo>
                  <a:lnTo>
                    <a:pt x="66" y="30"/>
                  </a:lnTo>
                  <a:lnTo>
                    <a:pt x="60" y="30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42" y="36"/>
                  </a:lnTo>
                  <a:lnTo>
                    <a:pt x="48" y="36"/>
                  </a:lnTo>
                  <a:lnTo>
                    <a:pt x="42" y="30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2" y="36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2" y="84"/>
                  </a:lnTo>
                  <a:lnTo>
                    <a:pt x="6" y="8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5" name="Freeform 41"/>
            <p:cNvSpPr>
              <a:spLocks noChangeAspect="1" noEditPoints="1"/>
            </p:cNvSpPr>
            <p:nvPr/>
          </p:nvSpPr>
          <p:spPr bwMode="auto">
            <a:xfrm>
              <a:off x="2323260" y="5208300"/>
              <a:ext cx="342233" cy="304820"/>
            </a:xfrm>
            <a:custGeom>
              <a:avLst/>
              <a:gdLst>
                <a:gd name="T0" fmla="*/ 2147483647 w 270"/>
                <a:gd name="T1" fmla="*/ 2147483647 h 240"/>
                <a:gd name="T2" fmla="*/ 2147483647 w 270"/>
                <a:gd name="T3" fmla="*/ 2147483647 h 240"/>
                <a:gd name="T4" fmla="*/ 2147483647 w 270"/>
                <a:gd name="T5" fmla="*/ 2147483647 h 240"/>
                <a:gd name="T6" fmla="*/ 2147483647 w 270"/>
                <a:gd name="T7" fmla="*/ 2147483647 h 240"/>
                <a:gd name="T8" fmla="*/ 2147483647 w 270"/>
                <a:gd name="T9" fmla="*/ 2147483647 h 240"/>
                <a:gd name="T10" fmla="*/ 2147483647 w 270"/>
                <a:gd name="T11" fmla="*/ 2147483647 h 240"/>
                <a:gd name="T12" fmla="*/ 2147483647 w 270"/>
                <a:gd name="T13" fmla="*/ 2147483647 h 240"/>
                <a:gd name="T14" fmla="*/ 2147483647 w 270"/>
                <a:gd name="T15" fmla="*/ 2147483647 h 240"/>
                <a:gd name="T16" fmla="*/ 2147483647 w 270"/>
                <a:gd name="T17" fmla="*/ 0 h 240"/>
                <a:gd name="T18" fmla="*/ 2147483647 w 270"/>
                <a:gd name="T19" fmla="*/ 2147483647 h 240"/>
                <a:gd name="T20" fmla="*/ 2147483647 w 270"/>
                <a:gd name="T21" fmla="*/ 2147483647 h 240"/>
                <a:gd name="T22" fmla="*/ 2147483647 w 270"/>
                <a:gd name="T23" fmla="*/ 2147483647 h 240"/>
                <a:gd name="T24" fmla="*/ 2147483647 w 270"/>
                <a:gd name="T25" fmla="*/ 2147483647 h 240"/>
                <a:gd name="T26" fmla="*/ 2147483647 w 270"/>
                <a:gd name="T27" fmla="*/ 2147483647 h 240"/>
                <a:gd name="T28" fmla="*/ 2147483647 w 270"/>
                <a:gd name="T29" fmla="*/ 2147483647 h 240"/>
                <a:gd name="T30" fmla="*/ 2147483647 w 270"/>
                <a:gd name="T31" fmla="*/ 2147483647 h 240"/>
                <a:gd name="T32" fmla="*/ 2147483647 w 270"/>
                <a:gd name="T33" fmla="*/ 2147483647 h 240"/>
                <a:gd name="T34" fmla="*/ 2147483647 w 270"/>
                <a:gd name="T35" fmla="*/ 2147483647 h 240"/>
                <a:gd name="T36" fmla="*/ 2147483647 w 270"/>
                <a:gd name="T37" fmla="*/ 2147483647 h 240"/>
                <a:gd name="T38" fmla="*/ 2147483647 w 270"/>
                <a:gd name="T39" fmla="*/ 2147483647 h 240"/>
                <a:gd name="T40" fmla="*/ 2147483647 w 270"/>
                <a:gd name="T41" fmla="*/ 2147483647 h 240"/>
                <a:gd name="T42" fmla="*/ 2147483647 w 270"/>
                <a:gd name="T43" fmla="*/ 2147483647 h 240"/>
                <a:gd name="T44" fmla="*/ 2147483647 w 270"/>
                <a:gd name="T45" fmla="*/ 2147483647 h 240"/>
                <a:gd name="T46" fmla="*/ 2147483647 w 270"/>
                <a:gd name="T47" fmla="*/ 2147483647 h 240"/>
                <a:gd name="T48" fmla="*/ 2147483647 w 270"/>
                <a:gd name="T49" fmla="*/ 2147483647 h 240"/>
                <a:gd name="T50" fmla="*/ 2147483647 w 270"/>
                <a:gd name="T51" fmla="*/ 2147483647 h 240"/>
                <a:gd name="T52" fmla="*/ 2147483647 w 270"/>
                <a:gd name="T53" fmla="*/ 2147483647 h 240"/>
                <a:gd name="T54" fmla="*/ 2147483647 w 270"/>
                <a:gd name="T55" fmla="*/ 2147483647 h 240"/>
                <a:gd name="T56" fmla="*/ 2147483647 w 270"/>
                <a:gd name="T57" fmla="*/ 2147483647 h 240"/>
                <a:gd name="T58" fmla="*/ 2147483647 w 270"/>
                <a:gd name="T59" fmla="*/ 2147483647 h 240"/>
                <a:gd name="T60" fmla="*/ 2147483647 w 270"/>
                <a:gd name="T61" fmla="*/ 2147483647 h 240"/>
                <a:gd name="T62" fmla="*/ 2147483647 w 270"/>
                <a:gd name="T63" fmla="*/ 2147483647 h 240"/>
                <a:gd name="T64" fmla="*/ 2147483647 w 270"/>
                <a:gd name="T65" fmla="*/ 2147483647 h 240"/>
                <a:gd name="T66" fmla="*/ 2147483647 w 270"/>
                <a:gd name="T67" fmla="*/ 2147483647 h 240"/>
                <a:gd name="T68" fmla="*/ 2147483647 w 270"/>
                <a:gd name="T69" fmla="*/ 2147483647 h 240"/>
                <a:gd name="T70" fmla="*/ 2147483647 w 270"/>
                <a:gd name="T71" fmla="*/ 2147483647 h 240"/>
                <a:gd name="T72" fmla="*/ 2147483647 w 270"/>
                <a:gd name="T73" fmla="*/ 2147483647 h 240"/>
                <a:gd name="T74" fmla="*/ 2147483647 w 270"/>
                <a:gd name="T75" fmla="*/ 2147483647 h 240"/>
                <a:gd name="T76" fmla="*/ 2147483647 w 270"/>
                <a:gd name="T77" fmla="*/ 2147483647 h 240"/>
                <a:gd name="T78" fmla="*/ 0 w 270"/>
                <a:gd name="T79" fmla="*/ 2147483647 h 240"/>
                <a:gd name="T80" fmla="*/ 2147483647 w 270"/>
                <a:gd name="T81" fmla="*/ 2147483647 h 240"/>
                <a:gd name="T82" fmla="*/ 2147483647 w 270"/>
                <a:gd name="T83" fmla="*/ 2147483647 h 240"/>
                <a:gd name="T84" fmla="*/ 2147483647 w 270"/>
                <a:gd name="T85" fmla="*/ 2147483647 h 240"/>
                <a:gd name="T86" fmla="*/ 2147483647 w 270"/>
                <a:gd name="T87" fmla="*/ 2147483647 h 240"/>
                <a:gd name="T88" fmla="*/ 2147483647 w 270"/>
                <a:gd name="T89" fmla="*/ 2147483647 h 240"/>
                <a:gd name="T90" fmla="*/ 2147483647 w 270"/>
                <a:gd name="T91" fmla="*/ 2147483647 h 240"/>
                <a:gd name="T92" fmla="*/ 2147483647 w 270"/>
                <a:gd name="T93" fmla="*/ 2147483647 h 240"/>
                <a:gd name="T94" fmla="*/ 2147483647 w 270"/>
                <a:gd name="T95" fmla="*/ 2147483647 h 240"/>
                <a:gd name="T96" fmla="*/ 2147483647 w 270"/>
                <a:gd name="T97" fmla="*/ 2147483647 h 240"/>
                <a:gd name="T98" fmla="*/ 2147483647 w 270"/>
                <a:gd name="T99" fmla="*/ 2147483647 h 240"/>
                <a:gd name="T100" fmla="*/ 2147483647 w 270"/>
                <a:gd name="T101" fmla="*/ 2147483647 h 240"/>
                <a:gd name="T102" fmla="*/ 2147483647 w 270"/>
                <a:gd name="T103" fmla="*/ 2147483647 h 240"/>
                <a:gd name="T104" fmla="*/ 2147483647 w 270"/>
                <a:gd name="T105" fmla="*/ 2147483647 h 240"/>
                <a:gd name="T106" fmla="*/ 2147483647 w 270"/>
                <a:gd name="T107" fmla="*/ 2147483647 h 240"/>
                <a:gd name="T108" fmla="*/ 2147483647 w 270"/>
                <a:gd name="T109" fmla="*/ 2147483647 h 24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0"/>
                <a:gd name="T166" fmla="*/ 0 h 240"/>
                <a:gd name="T167" fmla="*/ 270 w 270"/>
                <a:gd name="T168" fmla="*/ 240 h 24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0" h="240">
                  <a:moveTo>
                    <a:pt x="78" y="234"/>
                  </a:moveTo>
                  <a:lnTo>
                    <a:pt x="78" y="228"/>
                  </a:lnTo>
                  <a:lnTo>
                    <a:pt x="78" y="234"/>
                  </a:lnTo>
                  <a:close/>
                  <a:moveTo>
                    <a:pt x="54" y="198"/>
                  </a:moveTo>
                  <a:lnTo>
                    <a:pt x="60" y="198"/>
                  </a:lnTo>
                  <a:lnTo>
                    <a:pt x="54" y="192"/>
                  </a:lnTo>
                  <a:lnTo>
                    <a:pt x="54" y="198"/>
                  </a:lnTo>
                  <a:close/>
                  <a:moveTo>
                    <a:pt x="198" y="18"/>
                  </a:moveTo>
                  <a:lnTo>
                    <a:pt x="198" y="24"/>
                  </a:lnTo>
                  <a:lnTo>
                    <a:pt x="198" y="18"/>
                  </a:lnTo>
                  <a:close/>
                  <a:moveTo>
                    <a:pt x="204" y="24"/>
                  </a:moveTo>
                  <a:lnTo>
                    <a:pt x="204" y="18"/>
                  </a:lnTo>
                  <a:lnTo>
                    <a:pt x="204" y="24"/>
                  </a:lnTo>
                  <a:close/>
                  <a:moveTo>
                    <a:pt x="138" y="18"/>
                  </a:moveTo>
                  <a:lnTo>
                    <a:pt x="144" y="18"/>
                  </a:lnTo>
                  <a:lnTo>
                    <a:pt x="138" y="18"/>
                  </a:lnTo>
                  <a:close/>
                  <a:moveTo>
                    <a:pt x="84" y="186"/>
                  </a:moveTo>
                  <a:lnTo>
                    <a:pt x="90" y="186"/>
                  </a:lnTo>
                  <a:lnTo>
                    <a:pt x="90" y="180"/>
                  </a:lnTo>
                  <a:lnTo>
                    <a:pt x="84" y="180"/>
                  </a:lnTo>
                  <a:lnTo>
                    <a:pt x="84" y="186"/>
                  </a:lnTo>
                  <a:close/>
                  <a:moveTo>
                    <a:pt x="180" y="12"/>
                  </a:moveTo>
                  <a:lnTo>
                    <a:pt x="174" y="12"/>
                  </a:lnTo>
                  <a:lnTo>
                    <a:pt x="180" y="12"/>
                  </a:lnTo>
                  <a:lnTo>
                    <a:pt x="186" y="12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close/>
                  <a:moveTo>
                    <a:pt x="72" y="60"/>
                  </a:moveTo>
                  <a:lnTo>
                    <a:pt x="72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close/>
                  <a:moveTo>
                    <a:pt x="132" y="24"/>
                  </a:moveTo>
                  <a:lnTo>
                    <a:pt x="132" y="18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32" y="24"/>
                  </a:lnTo>
                  <a:close/>
                  <a:moveTo>
                    <a:pt x="102" y="60"/>
                  </a:moveTo>
                  <a:lnTo>
                    <a:pt x="102" y="54"/>
                  </a:lnTo>
                  <a:lnTo>
                    <a:pt x="102" y="60"/>
                  </a:lnTo>
                  <a:lnTo>
                    <a:pt x="96" y="60"/>
                  </a:lnTo>
                  <a:lnTo>
                    <a:pt x="102" y="60"/>
                  </a:lnTo>
                  <a:close/>
                  <a:moveTo>
                    <a:pt x="78" y="54"/>
                  </a:moveTo>
                  <a:lnTo>
                    <a:pt x="78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78" y="54"/>
                  </a:lnTo>
                  <a:close/>
                  <a:moveTo>
                    <a:pt x="60" y="186"/>
                  </a:moveTo>
                  <a:lnTo>
                    <a:pt x="60" y="192"/>
                  </a:lnTo>
                  <a:lnTo>
                    <a:pt x="60" y="186"/>
                  </a:lnTo>
                  <a:lnTo>
                    <a:pt x="66" y="186"/>
                  </a:lnTo>
                  <a:lnTo>
                    <a:pt x="60" y="186"/>
                  </a:lnTo>
                  <a:close/>
                  <a:moveTo>
                    <a:pt x="174" y="12"/>
                  </a:moveTo>
                  <a:lnTo>
                    <a:pt x="180" y="12"/>
                  </a:lnTo>
                  <a:lnTo>
                    <a:pt x="180" y="6"/>
                  </a:lnTo>
                  <a:lnTo>
                    <a:pt x="174" y="6"/>
                  </a:lnTo>
                  <a:lnTo>
                    <a:pt x="174" y="12"/>
                  </a:lnTo>
                  <a:close/>
                  <a:moveTo>
                    <a:pt x="186" y="6"/>
                  </a:moveTo>
                  <a:lnTo>
                    <a:pt x="186" y="12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86" y="0"/>
                  </a:lnTo>
                  <a:lnTo>
                    <a:pt x="186" y="6"/>
                  </a:lnTo>
                  <a:close/>
                  <a:moveTo>
                    <a:pt x="48" y="192"/>
                  </a:moveTo>
                  <a:lnTo>
                    <a:pt x="48" y="198"/>
                  </a:lnTo>
                  <a:lnTo>
                    <a:pt x="54" y="198"/>
                  </a:lnTo>
                  <a:lnTo>
                    <a:pt x="54" y="192"/>
                  </a:lnTo>
                  <a:lnTo>
                    <a:pt x="48" y="192"/>
                  </a:lnTo>
                  <a:lnTo>
                    <a:pt x="42" y="192"/>
                  </a:lnTo>
                  <a:lnTo>
                    <a:pt x="48" y="192"/>
                  </a:lnTo>
                  <a:close/>
                  <a:moveTo>
                    <a:pt x="102" y="66"/>
                  </a:moveTo>
                  <a:lnTo>
                    <a:pt x="102" y="72"/>
                  </a:lnTo>
                  <a:lnTo>
                    <a:pt x="108" y="72"/>
                  </a:lnTo>
                  <a:lnTo>
                    <a:pt x="102" y="72"/>
                  </a:lnTo>
                  <a:lnTo>
                    <a:pt x="102" y="66"/>
                  </a:lnTo>
                  <a:lnTo>
                    <a:pt x="108" y="66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102" y="66"/>
                  </a:lnTo>
                  <a:close/>
                  <a:moveTo>
                    <a:pt x="162" y="18"/>
                  </a:moveTo>
                  <a:lnTo>
                    <a:pt x="168" y="18"/>
                  </a:lnTo>
                  <a:lnTo>
                    <a:pt x="174" y="18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68" y="18"/>
                  </a:lnTo>
                  <a:lnTo>
                    <a:pt x="168" y="12"/>
                  </a:lnTo>
                  <a:lnTo>
                    <a:pt x="162" y="12"/>
                  </a:lnTo>
                  <a:lnTo>
                    <a:pt x="162" y="18"/>
                  </a:lnTo>
                  <a:close/>
                  <a:moveTo>
                    <a:pt x="90" y="60"/>
                  </a:moveTo>
                  <a:lnTo>
                    <a:pt x="96" y="60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0" y="54"/>
                  </a:lnTo>
                  <a:lnTo>
                    <a:pt x="84" y="60"/>
                  </a:lnTo>
                  <a:lnTo>
                    <a:pt x="90" y="60"/>
                  </a:lnTo>
                  <a:close/>
                  <a:moveTo>
                    <a:pt x="156" y="36"/>
                  </a:moveTo>
                  <a:lnTo>
                    <a:pt x="162" y="30"/>
                  </a:lnTo>
                  <a:lnTo>
                    <a:pt x="168" y="30"/>
                  </a:lnTo>
                  <a:lnTo>
                    <a:pt x="168" y="24"/>
                  </a:lnTo>
                  <a:lnTo>
                    <a:pt x="162" y="18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56" y="36"/>
                  </a:lnTo>
                  <a:close/>
                  <a:moveTo>
                    <a:pt x="144" y="18"/>
                  </a:moveTo>
                  <a:lnTo>
                    <a:pt x="150" y="18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6" y="6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44" y="12"/>
                  </a:lnTo>
                  <a:lnTo>
                    <a:pt x="144" y="18"/>
                  </a:lnTo>
                  <a:close/>
                  <a:moveTo>
                    <a:pt x="114" y="234"/>
                  </a:moveTo>
                  <a:lnTo>
                    <a:pt x="114" y="228"/>
                  </a:lnTo>
                  <a:lnTo>
                    <a:pt x="120" y="228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114" y="210"/>
                  </a:lnTo>
                  <a:lnTo>
                    <a:pt x="114" y="204"/>
                  </a:lnTo>
                  <a:lnTo>
                    <a:pt x="108" y="204"/>
                  </a:lnTo>
                  <a:lnTo>
                    <a:pt x="108" y="198"/>
                  </a:lnTo>
                  <a:lnTo>
                    <a:pt x="102" y="192"/>
                  </a:lnTo>
                  <a:lnTo>
                    <a:pt x="108" y="192"/>
                  </a:lnTo>
                  <a:lnTo>
                    <a:pt x="108" y="198"/>
                  </a:lnTo>
                  <a:lnTo>
                    <a:pt x="114" y="198"/>
                  </a:lnTo>
                  <a:lnTo>
                    <a:pt x="126" y="192"/>
                  </a:lnTo>
                  <a:lnTo>
                    <a:pt x="126" y="186"/>
                  </a:lnTo>
                  <a:lnTo>
                    <a:pt x="126" y="180"/>
                  </a:lnTo>
                  <a:lnTo>
                    <a:pt x="132" y="180"/>
                  </a:lnTo>
                  <a:lnTo>
                    <a:pt x="132" y="174"/>
                  </a:lnTo>
                  <a:lnTo>
                    <a:pt x="138" y="174"/>
                  </a:lnTo>
                  <a:lnTo>
                    <a:pt x="144" y="174"/>
                  </a:lnTo>
                  <a:lnTo>
                    <a:pt x="144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44" y="162"/>
                  </a:lnTo>
                  <a:lnTo>
                    <a:pt x="138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44"/>
                  </a:lnTo>
                  <a:lnTo>
                    <a:pt x="144" y="144"/>
                  </a:lnTo>
                  <a:lnTo>
                    <a:pt x="150" y="144"/>
                  </a:lnTo>
                  <a:lnTo>
                    <a:pt x="156" y="144"/>
                  </a:lnTo>
                  <a:lnTo>
                    <a:pt x="162" y="144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8" y="132"/>
                  </a:lnTo>
                  <a:lnTo>
                    <a:pt x="174" y="132"/>
                  </a:lnTo>
                  <a:lnTo>
                    <a:pt x="168" y="126"/>
                  </a:lnTo>
                  <a:lnTo>
                    <a:pt x="168" y="120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80" y="108"/>
                  </a:lnTo>
                  <a:lnTo>
                    <a:pt x="180" y="102"/>
                  </a:lnTo>
                  <a:lnTo>
                    <a:pt x="186" y="96"/>
                  </a:lnTo>
                  <a:lnTo>
                    <a:pt x="186" y="90"/>
                  </a:lnTo>
                  <a:lnTo>
                    <a:pt x="192" y="90"/>
                  </a:lnTo>
                  <a:lnTo>
                    <a:pt x="198" y="90"/>
                  </a:lnTo>
                  <a:lnTo>
                    <a:pt x="198" y="84"/>
                  </a:lnTo>
                  <a:lnTo>
                    <a:pt x="204" y="84"/>
                  </a:lnTo>
                  <a:lnTo>
                    <a:pt x="204" y="78"/>
                  </a:lnTo>
                  <a:lnTo>
                    <a:pt x="204" y="84"/>
                  </a:lnTo>
                  <a:lnTo>
                    <a:pt x="210" y="84"/>
                  </a:lnTo>
                  <a:lnTo>
                    <a:pt x="216" y="84"/>
                  </a:lnTo>
                  <a:lnTo>
                    <a:pt x="216" y="78"/>
                  </a:lnTo>
                  <a:lnTo>
                    <a:pt x="222" y="84"/>
                  </a:lnTo>
                  <a:lnTo>
                    <a:pt x="222" y="78"/>
                  </a:lnTo>
                  <a:lnTo>
                    <a:pt x="228" y="78"/>
                  </a:lnTo>
                  <a:lnTo>
                    <a:pt x="234" y="78"/>
                  </a:lnTo>
                  <a:lnTo>
                    <a:pt x="240" y="84"/>
                  </a:lnTo>
                  <a:lnTo>
                    <a:pt x="240" y="78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58" y="72"/>
                  </a:lnTo>
                  <a:lnTo>
                    <a:pt x="264" y="72"/>
                  </a:lnTo>
                  <a:lnTo>
                    <a:pt x="270" y="66"/>
                  </a:lnTo>
                  <a:lnTo>
                    <a:pt x="270" y="60"/>
                  </a:lnTo>
                  <a:lnTo>
                    <a:pt x="270" y="54"/>
                  </a:lnTo>
                  <a:lnTo>
                    <a:pt x="264" y="54"/>
                  </a:lnTo>
                  <a:lnTo>
                    <a:pt x="270" y="54"/>
                  </a:lnTo>
                  <a:lnTo>
                    <a:pt x="264" y="48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48"/>
                  </a:lnTo>
                  <a:lnTo>
                    <a:pt x="246" y="48"/>
                  </a:lnTo>
                  <a:lnTo>
                    <a:pt x="246" y="54"/>
                  </a:lnTo>
                  <a:lnTo>
                    <a:pt x="240" y="54"/>
                  </a:lnTo>
                  <a:lnTo>
                    <a:pt x="234" y="60"/>
                  </a:lnTo>
                  <a:lnTo>
                    <a:pt x="234" y="54"/>
                  </a:lnTo>
                  <a:lnTo>
                    <a:pt x="228" y="54"/>
                  </a:lnTo>
                  <a:lnTo>
                    <a:pt x="222" y="54"/>
                  </a:lnTo>
                  <a:lnTo>
                    <a:pt x="216" y="54"/>
                  </a:lnTo>
                  <a:lnTo>
                    <a:pt x="210" y="54"/>
                  </a:lnTo>
                  <a:lnTo>
                    <a:pt x="204" y="54"/>
                  </a:lnTo>
                  <a:lnTo>
                    <a:pt x="198" y="54"/>
                  </a:lnTo>
                  <a:lnTo>
                    <a:pt x="198" y="60"/>
                  </a:lnTo>
                  <a:lnTo>
                    <a:pt x="198" y="54"/>
                  </a:lnTo>
                  <a:lnTo>
                    <a:pt x="198" y="60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66"/>
                  </a:lnTo>
                  <a:lnTo>
                    <a:pt x="186" y="60"/>
                  </a:lnTo>
                  <a:lnTo>
                    <a:pt x="186" y="66"/>
                  </a:lnTo>
                  <a:lnTo>
                    <a:pt x="186" y="60"/>
                  </a:lnTo>
                  <a:lnTo>
                    <a:pt x="180" y="66"/>
                  </a:lnTo>
                  <a:lnTo>
                    <a:pt x="174" y="66"/>
                  </a:lnTo>
                  <a:lnTo>
                    <a:pt x="174" y="60"/>
                  </a:lnTo>
                  <a:lnTo>
                    <a:pt x="174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42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44" y="30"/>
                  </a:lnTo>
                  <a:lnTo>
                    <a:pt x="138" y="30"/>
                  </a:lnTo>
                  <a:lnTo>
                    <a:pt x="138" y="36"/>
                  </a:lnTo>
                  <a:lnTo>
                    <a:pt x="144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32" y="42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14" y="54"/>
                  </a:lnTo>
                  <a:lnTo>
                    <a:pt x="120" y="54"/>
                  </a:lnTo>
                  <a:lnTo>
                    <a:pt x="120" y="60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8" y="72"/>
                  </a:lnTo>
                  <a:lnTo>
                    <a:pt x="108" y="78"/>
                  </a:lnTo>
                  <a:lnTo>
                    <a:pt x="108" y="84"/>
                  </a:lnTo>
                  <a:lnTo>
                    <a:pt x="108" y="90"/>
                  </a:lnTo>
                  <a:lnTo>
                    <a:pt x="108" y="96"/>
                  </a:lnTo>
                  <a:lnTo>
                    <a:pt x="102" y="96"/>
                  </a:lnTo>
                  <a:lnTo>
                    <a:pt x="102" y="102"/>
                  </a:lnTo>
                  <a:lnTo>
                    <a:pt x="96" y="108"/>
                  </a:lnTo>
                  <a:lnTo>
                    <a:pt x="90" y="108"/>
                  </a:lnTo>
                  <a:lnTo>
                    <a:pt x="90" y="114"/>
                  </a:lnTo>
                  <a:lnTo>
                    <a:pt x="84" y="114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26"/>
                  </a:lnTo>
                  <a:lnTo>
                    <a:pt x="66" y="126"/>
                  </a:lnTo>
                  <a:lnTo>
                    <a:pt x="66" y="132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54" y="138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36" y="144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12" y="156"/>
                  </a:lnTo>
                  <a:lnTo>
                    <a:pt x="6" y="156"/>
                  </a:lnTo>
                  <a:lnTo>
                    <a:pt x="6" y="162"/>
                  </a:lnTo>
                  <a:lnTo>
                    <a:pt x="0" y="162"/>
                  </a:lnTo>
                  <a:lnTo>
                    <a:pt x="6" y="162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8" y="144"/>
                  </a:lnTo>
                  <a:lnTo>
                    <a:pt x="54" y="144"/>
                  </a:lnTo>
                  <a:lnTo>
                    <a:pt x="54" y="138"/>
                  </a:lnTo>
                  <a:lnTo>
                    <a:pt x="60" y="144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0" y="150"/>
                  </a:lnTo>
                  <a:lnTo>
                    <a:pt x="66" y="150"/>
                  </a:lnTo>
                  <a:lnTo>
                    <a:pt x="66" y="144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60" y="162"/>
                  </a:lnTo>
                  <a:lnTo>
                    <a:pt x="66" y="162"/>
                  </a:lnTo>
                  <a:lnTo>
                    <a:pt x="66" y="156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60" y="168"/>
                  </a:lnTo>
                  <a:lnTo>
                    <a:pt x="66" y="168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84" y="168"/>
                  </a:lnTo>
                  <a:lnTo>
                    <a:pt x="78" y="174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84" y="180"/>
                  </a:lnTo>
                  <a:lnTo>
                    <a:pt x="84" y="174"/>
                  </a:lnTo>
                  <a:lnTo>
                    <a:pt x="84" y="180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84" y="180"/>
                  </a:lnTo>
                  <a:lnTo>
                    <a:pt x="90" y="180"/>
                  </a:lnTo>
                  <a:lnTo>
                    <a:pt x="90" y="186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8" y="186"/>
                  </a:lnTo>
                  <a:lnTo>
                    <a:pt x="72" y="186"/>
                  </a:lnTo>
                  <a:lnTo>
                    <a:pt x="66" y="186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72" y="186"/>
                  </a:lnTo>
                  <a:lnTo>
                    <a:pt x="66" y="186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72" y="192"/>
                  </a:lnTo>
                  <a:lnTo>
                    <a:pt x="72" y="198"/>
                  </a:lnTo>
                  <a:lnTo>
                    <a:pt x="78" y="198"/>
                  </a:lnTo>
                  <a:lnTo>
                    <a:pt x="84" y="198"/>
                  </a:lnTo>
                  <a:lnTo>
                    <a:pt x="84" y="204"/>
                  </a:lnTo>
                  <a:lnTo>
                    <a:pt x="78" y="204"/>
                  </a:lnTo>
                  <a:lnTo>
                    <a:pt x="78" y="198"/>
                  </a:lnTo>
                  <a:lnTo>
                    <a:pt x="78" y="204"/>
                  </a:lnTo>
                  <a:lnTo>
                    <a:pt x="78" y="210"/>
                  </a:lnTo>
                  <a:lnTo>
                    <a:pt x="84" y="210"/>
                  </a:lnTo>
                  <a:lnTo>
                    <a:pt x="78" y="210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6" y="216"/>
                  </a:lnTo>
                  <a:lnTo>
                    <a:pt x="66" y="222"/>
                  </a:lnTo>
                  <a:lnTo>
                    <a:pt x="66" y="216"/>
                  </a:lnTo>
                  <a:lnTo>
                    <a:pt x="72" y="216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78" y="216"/>
                  </a:lnTo>
                  <a:lnTo>
                    <a:pt x="84" y="216"/>
                  </a:lnTo>
                  <a:lnTo>
                    <a:pt x="84" y="222"/>
                  </a:lnTo>
                  <a:lnTo>
                    <a:pt x="90" y="228"/>
                  </a:lnTo>
                  <a:lnTo>
                    <a:pt x="96" y="228"/>
                  </a:lnTo>
                  <a:lnTo>
                    <a:pt x="90" y="228"/>
                  </a:lnTo>
                  <a:lnTo>
                    <a:pt x="84" y="228"/>
                  </a:lnTo>
                  <a:lnTo>
                    <a:pt x="84" y="222"/>
                  </a:lnTo>
                  <a:lnTo>
                    <a:pt x="84" y="228"/>
                  </a:lnTo>
                  <a:lnTo>
                    <a:pt x="78" y="228"/>
                  </a:lnTo>
                  <a:lnTo>
                    <a:pt x="84" y="228"/>
                  </a:lnTo>
                  <a:lnTo>
                    <a:pt x="84" y="234"/>
                  </a:lnTo>
                  <a:lnTo>
                    <a:pt x="78" y="234"/>
                  </a:lnTo>
                  <a:lnTo>
                    <a:pt x="84" y="234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90" y="234"/>
                  </a:lnTo>
                  <a:lnTo>
                    <a:pt x="84" y="234"/>
                  </a:lnTo>
                  <a:lnTo>
                    <a:pt x="90" y="234"/>
                  </a:lnTo>
                  <a:lnTo>
                    <a:pt x="84" y="234"/>
                  </a:lnTo>
                  <a:lnTo>
                    <a:pt x="90" y="234"/>
                  </a:lnTo>
                  <a:lnTo>
                    <a:pt x="90" y="228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14" y="23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6" name="Freeform 42"/>
            <p:cNvSpPr>
              <a:spLocks noChangeAspect="1" noEditPoints="1"/>
            </p:cNvSpPr>
            <p:nvPr/>
          </p:nvSpPr>
          <p:spPr bwMode="auto">
            <a:xfrm>
              <a:off x="2445363" y="5298793"/>
              <a:ext cx="357712" cy="260367"/>
            </a:xfrm>
            <a:custGeom>
              <a:avLst/>
              <a:gdLst>
                <a:gd name="T0" fmla="*/ 2147483647 w 282"/>
                <a:gd name="T1" fmla="*/ 2147483647 h 204"/>
                <a:gd name="T2" fmla="*/ 2147483647 w 282"/>
                <a:gd name="T3" fmla="*/ 2147483647 h 204"/>
                <a:gd name="T4" fmla="*/ 2147483647 w 282"/>
                <a:gd name="T5" fmla="*/ 2147483647 h 204"/>
                <a:gd name="T6" fmla="*/ 2147483647 w 282"/>
                <a:gd name="T7" fmla="*/ 2147483647 h 204"/>
                <a:gd name="T8" fmla="*/ 2147483647 w 282"/>
                <a:gd name="T9" fmla="*/ 2147483647 h 204"/>
                <a:gd name="T10" fmla="*/ 2147483647 w 282"/>
                <a:gd name="T11" fmla="*/ 2147483647 h 204"/>
                <a:gd name="T12" fmla="*/ 2147483647 w 282"/>
                <a:gd name="T13" fmla="*/ 2147483647 h 204"/>
                <a:gd name="T14" fmla="*/ 2147483647 w 282"/>
                <a:gd name="T15" fmla="*/ 2147483647 h 204"/>
                <a:gd name="T16" fmla="*/ 2147483647 w 282"/>
                <a:gd name="T17" fmla="*/ 2147483647 h 204"/>
                <a:gd name="T18" fmla="*/ 2147483647 w 282"/>
                <a:gd name="T19" fmla="*/ 0 h 204"/>
                <a:gd name="T20" fmla="*/ 2147483647 w 282"/>
                <a:gd name="T21" fmla="*/ 2147483647 h 204"/>
                <a:gd name="T22" fmla="*/ 2147483647 w 282"/>
                <a:gd name="T23" fmla="*/ 2147483647 h 204"/>
                <a:gd name="T24" fmla="*/ 2147483647 w 282"/>
                <a:gd name="T25" fmla="*/ 2147483647 h 204"/>
                <a:gd name="T26" fmla="*/ 2147483647 w 282"/>
                <a:gd name="T27" fmla="*/ 2147483647 h 204"/>
                <a:gd name="T28" fmla="*/ 2147483647 w 282"/>
                <a:gd name="T29" fmla="*/ 2147483647 h 204"/>
                <a:gd name="T30" fmla="*/ 2147483647 w 282"/>
                <a:gd name="T31" fmla="*/ 2147483647 h 204"/>
                <a:gd name="T32" fmla="*/ 2147483647 w 282"/>
                <a:gd name="T33" fmla="*/ 2147483647 h 204"/>
                <a:gd name="T34" fmla="*/ 2147483647 w 282"/>
                <a:gd name="T35" fmla="*/ 2147483647 h 204"/>
                <a:gd name="T36" fmla="*/ 2147483647 w 282"/>
                <a:gd name="T37" fmla="*/ 2147483647 h 204"/>
                <a:gd name="T38" fmla="*/ 2147483647 w 282"/>
                <a:gd name="T39" fmla="*/ 2147483647 h 204"/>
                <a:gd name="T40" fmla="*/ 2147483647 w 282"/>
                <a:gd name="T41" fmla="*/ 2147483647 h 204"/>
                <a:gd name="T42" fmla="*/ 2147483647 w 282"/>
                <a:gd name="T43" fmla="*/ 2147483647 h 204"/>
                <a:gd name="T44" fmla="*/ 2147483647 w 282"/>
                <a:gd name="T45" fmla="*/ 2147483647 h 204"/>
                <a:gd name="T46" fmla="*/ 2147483647 w 282"/>
                <a:gd name="T47" fmla="*/ 2147483647 h 204"/>
                <a:gd name="T48" fmla="*/ 2147483647 w 282"/>
                <a:gd name="T49" fmla="*/ 2147483647 h 204"/>
                <a:gd name="T50" fmla="*/ 2147483647 w 282"/>
                <a:gd name="T51" fmla="*/ 2147483647 h 204"/>
                <a:gd name="T52" fmla="*/ 2147483647 w 282"/>
                <a:gd name="T53" fmla="*/ 2147483647 h 204"/>
                <a:gd name="T54" fmla="*/ 2147483647 w 282"/>
                <a:gd name="T55" fmla="*/ 2147483647 h 204"/>
                <a:gd name="T56" fmla="*/ 2147483647 w 282"/>
                <a:gd name="T57" fmla="*/ 2147483647 h 204"/>
                <a:gd name="T58" fmla="*/ 2147483647 w 282"/>
                <a:gd name="T59" fmla="*/ 2147483647 h 204"/>
                <a:gd name="T60" fmla="*/ 2147483647 w 282"/>
                <a:gd name="T61" fmla="*/ 2147483647 h 204"/>
                <a:gd name="T62" fmla="*/ 2147483647 w 282"/>
                <a:gd name="T63" fmla="*/ 2147483647 h 204"/>
                <a:gd name="T64" fmla="*/ 2147483647 w 282"/>
                <a:gd name="T65" fmla="*/ 2147483647 h 204"/>
                <a:gd name="T66" fmla="*/ 2147483647 w 282"/>
                <a:gd name="T67" fmla="*/ 2147483647 h 204"/>
                <a:gd name="T68" fmla="*/ 2147483647 w 282"/>
                <a:gd name="T69" fmla="*/ 2147483647 h 204"/>
                <a:gd name="T70" fmla="*/ 2147483647 w 282"/>
                <a:gd name="T71" fmla="*/ 2147483647 h 204"/>
                <a:gd name="T72" fmla="*/ 2147483647 w 282"/>
                <a:gd name="T73" fmla="*/ 2147483647 h 204"/>
                <a:gd name="T74" fmla="*/ 2147483647 w 282"/>
                <a:gd name="T75" fmla="*/ 2147483647 h 204"/>
                <a:gd name="T76" fmla="*/ 2147483647 w 282"/>
                <a:gd name="T77" fmla="*/ 2147483647 h 204"/>
                <a:gd name="T78" fmla="*/ 2147483647 w 282"/>
                <a:gd name="T79" fmla="*/ 2147483647 h 204"/>
                <a:gd name="T80" fmla="*/ 2147483647 w 282"/>
                <a:gd name="T81" fmla="*/ 2147483647 h 204"/>
                <a:gd name="T82" fmla="*/ 2147483647 w 282"/>
                <a:gd name="T83" fmla="*/ 2147483647 h 204"/>
                <a:gd name="T84" fmla="*/ 2147483647 w 282"/>
                <a:gd name="T85" fmla="*/ 2147483647 h 204"/>
                <a:gd name="T86" fmla="*/ 2147483647 w 282"/>
                <a:gd name="T87" fmla="*/ 2147483647 h 204"/>
                <a:gd name="T88" fmla="*/ 2147483647 w 282"/>
                <a:gd name="T89" fmla="*/ 2147483647 h 204"/>
                <a:gd name="T90" fmla="*/ 2147483647 w 282"/>
                <a:gd name="T91" fmla="*/ 2147483647 h 204"/>
                <a:gd name="T92" fmla="*/ 2147483647 w 282"/>
                <a:gd name="T93" fmla="*/ 2147483647 h 204"/>
                <a:gd name="T94" fmla="*/ 2147483647 w 282"/>
                <a:gd name="T95" fmla="*/ 2147483647 h 204"/>
                <a:gd name="T96" fmla="*/ 2147483647 w 282"/>
                <a:gd name="T97" fmla="*/ 2147483647 h 204"/>
                <a:gd name="T98" fmla="*/ 2147483647 w 282"/>
                <a:gd name="T99" fmla="*/ 2147483647 h 204"/>
                <a:gd name="T100" fmla="*/ 2147483647 w 282"/>
                <a:gd name="T101" fmla="*/ 2147483647 h 204"/>
                <a:gd name="T102" fmla="*/ 2147483647 w 282"/>
                <a:gd name="T103" fmla="*/ 2147483647 h 204"/>
                <a:gd name="T104" fmla="*/ 2147483647 w 282"/>
                <a:gd name="T105" fmla="*/ 2147483647 h 204"/>
                <a:gd name="T106" fmla="*/ 2147483647 w 282"/>
                <a:gd name="T107" fmla="*/ 2147483647 h 204"/>
                <a:gd name="T108" fmla="*/ 2147483647 w 282"/>
                <a:gd name="T109" fmla="*/ 2147483647 h 204"/>
                <a:gd name="T110" fmla="*/ 2147483647 w 282"/>
                <a:gd name="T111" fmla="*/ 2147483647 h 204"/>
                <a:gd name="T112" fmla="*/ 2147483647 w 282"/>
                <a:gd name="T113" fmla="*/ 2147483647 h 20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82"/>
                <a:gd name="T172" fmla="*/ 0 h 204"/>
                <a:gd name="T173" fmla="*/ 282 w 282"/>
                <a:gd name="T174" fmla="*/ 204 h 20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82" h="204">
                  <a:moveTo>
                    <a:pt x="0" y="198"/>
                  </a:moveTo>
                  <a:lnTo>
                    <a:pt x="0" y="204"/>
                  </a:lnTo>
                  <a:lnTo>
                    <a:pt x="0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0" y="192"/>
                  </a:lnTo>
                  <a:lnTo>
                    <a:pt x="0" y="198"/>
                  </a:lnTo>
                  <a:close/>
                  <a:moveTo>
                    <a:pt x="282" y="60"/>
                  </a:moveTo>
                  <a:lnTo>
                    <a:pt x="276" y="54"/>
                  </a:lnTo>
                  <a:lnTo>
                    <a:pt x="270" y="54"/>
                  </a:lnTo>
                  <a:lnTo>
                    <a:pt x="264" y="54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48"/>
                  </a:lnTo>
                  <a:lnTo>
                    <a:pt x="252" y="42"/>
                  </a:lnTo>
                  <a:lnTo>
                    <a:pt x="258" y="42"/>
                  </a:lnTo>
                  <a:lnTo>
                    <a:pt x="258" y="36"/>
                  </a:lnTo>
                  <a:lnTo>
                    <a:pt x="252" y="36"/>
                  </a:lnTo>
                  <a:lnTo>
                    <a:pt x="252" y="30"/>
                  </a:lnTo>
                  <a:lnTo>
                    <a:pt x="246" y="30"/>
                  </a:lnTo>
                  <a:lnTo>
                    <a:pt x="240" y="36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34" y="18"/>
                  </a:lnTo>
                  <a:lnTo>
                    <a:pt x="234" y="12"/>
                  </a:lnTo>
                  <a:lnTo>
                    <a:pt x="228" y="12"/>
                  </a:lnTo>
                  <a:lnTo>
                    <a:pt x="222" y="12"/>
                  </a:lnTo>
                  <a:lnTo>
                    <a:pt x="222" y="6"/>
                  </a:lnTo>
                  <a:lnTo>
                    <a:pt x="216" y="12"/>
                  </a:lnTo>
                  <a:lnTo>
                    <a:pt x="210" y="18"/>
                  </a:lnTo>
                  <a:lnTo>
                    <a:pt x="210" y="12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92" y="6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6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90" y="24"/>
                  </a:lnTo>
                  <a:lnTo>
                    <a:pt x="84" y="30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54"/>
                  </a:lnTo>
                  <a:lnTo>
                    <a:pt x="78" y="60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2" y="72"/>
                  </a:lnTo>
                  <a:lnTo>
                    <a:pt x="36" y="72"/>
                  </a:lnTo>
                  <a:lnTo>
                    <a:pt x="36" y="78"/>
                  </a:lnTo>
                  <a:lnTo>
                    <a:pt x="42" y="84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54" y="96"/>
                  </a:lnTo>
                  <a:lnTo>
                    <a:pt x="48" y="96"/>
                  </a:lnTo>
                  <a:lnTo>
                    <a:pt x="48" y="102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30" y="120"/>
                  </a:lnTo>
                  <a:lnTo>
                    <a:pt x="18" y="126"/>
                  </a:lnTo>
                  <a:lnTo>
                    <a:pt x="12" y="126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12" y="126"/>
                  </a:lnTo>
                  <a:lnTo>
                    <a:pt x="12" y="132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12" y="144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18" y="156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24" y="168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18" y="174"/>
                  </a:lnTo>
                  <a:lnTo>
                    <a:pt x="18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86"/>
                  </a:lnTo>
                  <a:lnTo>
                    <a:pt x="30" y="186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2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54" y="186"/>
                  </a:lnTo>
                  <a:lnTo>
                    <a:pt x="60" y="186"/>
                  </a:lnTo>
                  <a:lnTo>
                    <a:pt x="66" y="186"/>
                  </a:lnTo>
                  <a:lnTo>
                    <a:pt x="66" y="192"/>
                  </a:lnTo>
                  <a:lnTo>
                    <a:pt x="66" y="186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72" y="198"/>
                  </a:lnTo>
                  <a:lnTo>
                    <a:pt x="78" y="198"/>
                  </a:lnTo>
                  <a:lnTo>
                    <a:pt x="78" y="192"/>
                  </a:lnTo>
                  <a:lnTo>
                    <a:pt x="72" y="186"/>
                  </a:lnTo>
                  <a:lnTo>
                    <a:pt x="66" y="186"/>
                  </a:lnTo>
                  <a:lnTo>
                    <a:pt x="66" y="180"/>
                  </a:lnTo>
                  <a:lnTo>
                    <a:pt x="66" y="174"/>
                  </a:lnTo>
                  <a:lnTo>
                    <a:pt x="72" y="174"/>
                  </a:lnTo>
                  <a:lnTo>
                    <a:pt x="72" y="168"/>
                  </a:lnTo>
                  <a:lnTo>
                    <a:pt x="72" y="162"/>
                  </a:lnTo>
                  <a:lnTo>
                    <a:pt x="66" y="162"/>
                  </a:lnTo>
                  <a:lnTo>
                    <a:pt x="72" y="162"/>
                  </a:lnTo>
                  <a:lnTo>
                    <a:pt x="72" y="156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44"/>
                  </a:lnTo>
                  <a:lnTo>
                    <a:pt x="90" y="144"/>
                  </a:lnTo>
                  <a:lnTo>
                    <a:pt x="90" y="138"/>
                  </a:lnTo>
                  <a:lnTo>
                    <a:pt x="96" y="132"/>
                  </a:lnTo>
                  <a:lnTo>
                    <a:pt x="96" y="126"/>
                  </a:lnTo>
                  <a:lnTo>
                    <a:pt x="102" y="126"/>
                  </a:lnTo>
                  <a:lnTo>
                    <a:pt x="102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2" y="120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8" y="108"/>
                  </a:lnTo>
                  <a:lnTo>
                    <a:pt x="108" y="102"/>
                  </a:lnTo>
                  <a:lnTo>
                    <a:pt x="108" y="96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20" y="84"/>
                  </a:lnTo>
                  <a:lnTo>
                    <a:pt x="120" y="90"/>
                  </a:lnTo>
                  <a:lnTo>
                    <a:pt x="120" y="84"/>
                  </a:lnTo>
                  <a:lnTo>
                    <a:pt x="126" y="84"/>
                  </a:lnTo>
                  <a:lnTo>
                    <a:pt x="132" y="84"/>
                  </a:lnTo>
                  <a:lnTo>
                    <a:pt x="138" y="78"/>
                  </a:lnTo>
                  <a:lnTo>
                    <a:pt x="144" y="78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26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8" y="72"/>
                  </a:lnTo>
                  <a:lnTo>
                    <a:pt x="144" y="72"/>
                  </a:lnTo>
                  <a:lnTo>
                    <a:pt x="150" y="72"/>
                  </a:lnTo>
                  <a:lnTo>
                    <a:pt x="156" y="66"/>
                  </a:lnTo>
                  <a:lnTo>
                    <a:pt x="162" y="66"/>
                  </a:lnTo>
                  <a:lnTo>
                    <a:pt x="156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56" y="60"/>
                  </a:lnTo>
                  <a:lnTo>
                    <a:pt x="156" y="66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60"/>
                  </a:lnTo>
                  <a:lnTo>
                    <a:pt x="192" y="60"/>
                  </a:lnTo>
                  <a:lnTo>
                    <a:pt x="198" y="60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2" y="72"/>
                  </a:lnTo>
                  <a:lnTo>
                    <a:pt x="222" y="78"/>
                  </a:lnTo>
                  <a:lnTo>
                    <a:pt x="228" y="78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6" y="90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102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64" y="108"/>
                  </a:lnTo>
                  <a:lnTo>
                    <a:pt x="264" y="102"/>
                  </a:lnTo>
                  <a:lnTo>
                    <a:pt x="264" y="90"/>
                  </a:lnTo>
                  <a:lnTo>
                    <a:pt x="264" y="84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76" y="60"/>
                  </a:lnTo>
                  <a:lnTo>
                    <a:pt x="282" y="60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7" name="Freeform 43"/>
            <p:cNvSpPr>
              <a:spLocks noChangeAspect="1" noEditPoints="1"/>
            </p:cNvSpPr>
            <p:nvPr/>
          </p:nvSpPr>
          <p:spPr bwMode="auto">
            <a:xfrm>
              <a:off x="1910515" y="5284505"/>
              <a:ext cx="237328" cy="204800"/>
            </a:xfrm>
            <a:custGeom>
              <a:avLst/>
              <a:gdLst>
                <a:gd name="T0" fmla="*/ 2147483647 w 186"/>
                <a:gd name="T1" fmla="*/ 2147483647 h 162"/>
                <a:gd name="T2" fmla="*/ 2147483647 w 186"/>
                <a:gd name="T3" fmla="*/ 2147483647 h 162"/>
                <a:gd name="T4" fmla="*/ 2147483647 w 186"/>
                <a:gd name="T5" fmla="*/ 2147483647 h 162"/>
                <a:gd name="T6" fmla="*/ 2147483647 w 186"/>
                <a:gd name="T7" fmla="*/ 2147483647 h 162"/>
                <a:gd name="T8" fmla="*/ 2147483647 w 186"/>
                <a:gd name="T9" fmla="*/ 2147483647 h 162"/>
                <a:gd name="T10" fmla="*/ 2147483647 w 186"/>
                <a:gd name="T11" fmla="*/ 2147483647 h 162"/>
                <a:gd name="T12" fmla="*/ 2147483647 w 186"/>
                <a:gd name="T13" fmla="*/ 2147483647 h 162"/>
                <a:gd name="T14" fmla="*/ 2147483647 w 186"/>
                <a:gd name="T15" fmla="*/ 2147483647 h 162"/>
                <a:gd name="T16" fmla="*/ 2147483647 w 186"/>
                <a:gd name="T17" fmla="*/ 2147483647 h 162"/>
                <a:gd name="T18" fmla="*/ 2147483647 w 186"/>
                <a:gd name="T19" fmla="*/ 2147483647 h 162"/>
                <a:gd name="T20" fmla="*/ 2147483647 w 186"/>
                <a:gd name="T21" fmla="*/ 2147483647 h 162"/>
                <a:gd name="T22" fmla="*/ 2147483647 w 186"/>
                <a:gd name="T23" fmla="*/ 2147483647 h 162"/>
                <a:gd name="T24" fmla="*/ 2147483647 w 186"/>
                <a:gd name="T25" fmla="*/ 2147483647 h 162"/>
                <a:gd name="T26" fmla="*/ 2147483647 w 186"/>
                <a:gd name="T27" fmla="*/ 2147483647 h 162"/>
                <a:gd name="T28" fmla="*/ 2147483647 w 186"/>
                <a:gd name="T29" fmla="*/ 2147483647 h 162"/>
                <a:gd name="T30" fmla="*/ 2147483647 w 186"/>
                <a:gd name="T31" fmla="*/ 2147483647 h 162"/>
                <a:gd name="T32" fmla="*/ 2147483647 w 186"/>
                <a:gd name="T33" fmla="*/ 2147483647 h 162"/>
                <a:gd name="T34" fmla="*/ 2147483647 w 186"/>
                <a:gd name="T35" fmla="*/ 2147483647 h 162"/>
                <a:gd name="T36" fmla="*/ 2147483647 w 186"/>
                <a:gd name="T37" fmla="*/ 2147483647 h 162"/>
                <a:gd name="T38" fmla="*/ 2147483647 w 186"/>
                <a:gd name="T39" fmla="*/ 2147483647 h 162"/>
                <a:gd name="T40" fmla="*/ 2147483647 w 186"/>
                <a:gd name="T41" fmla="*/ 2147483647 h 162"/>
                <a:gd name="T42" fmla="*/ 2147483647 w 186"/>
                <a:gd name="T43" fmla="*/ 2147483647 h 162"/>
                <a:gd name="T44" fmla="*/ 2147483647 w 186"/>
                <a:gd name="T45" fmla="*/ 2147483647 h 162"/>
                <a:gd name="T46" fmla="*/ 2147483647 w 186"/>
                <a:gd name="T47" fmla="*/ 2147483647 h 162"/>
                <a:gd name="T48" fmla="*/ 2147483647 w 186"/>
                <a:gd name="T49" fmla="*/ 2147483647 h 162"/>
                <a:gd name="T50" fmla="*/ 2147483647 w 186"/>
                <a:gd name="T51" fmla="*/ 2147483647 h 162"/>
                <a:gd name="T52" fmla="*/ 2147483647 w 186"/>
                <a:gd name="T53" fmla="*/ 2147483647 h 162"/>
                <a:gd name="T54" fmla="*/ 2147483647 w 186"/>
                <a:gd name="T55" fmla="*/ 2147483647 h 162"/>
                <a:gd name="T56" fmla="*/ 2147483647 w 186"/>
                <a:gd name="T57" fmla="*/ 2147483647 h 162"/>
                <a:gd name="T58" fmla="*/ 2147483647 w 186"/>
                <a:gd name="T59" fmla="*/ 2147483647 h 162"/>
                <a:gd name="T60" fmla="*/ 2147483647 w 186"/>
                <a:gd name="T61" fmla="*/ 2147483647 h 162"/>
                <a:gd name="T62" fmla="*/ 2147483647 w 186"/>
                <a:gd name="T63" fmla="*/ 2147483647 h 162"/>
                <a:gd name="T64" fmla="*/ 2147483647 w 186"/>
                <a:gd name="T65" fmla="*/ 2147483647 h 162"/>
                <a:gd name="T66" fmla="*/ 2147483647 w 186"/>
                <a:gd name="T67" fmla="*/ 2147483647 h 162"/>
                <a:gd name="T68" fmla="*/ 2147483647 w 186"/>
                <a:gd name="T69" fmla="*/ 2147483647 h 162"/>
                <a:gd name="T70" fmla="*/ 2147483647 w 186"/>
                <a:gd name="T71" fmla="*/ 2147483647 h 162"/>
                <a:gd name="T72" fmla="*/ 2147483647 w 186"/>
                <a:gd name="T73" fmla="*/ 2147483647 h 162"/>
                <a:gd name="T74" fmla="*/ 2147483647 w 186"/>
                <a:gd name="T75" fmla="*/ 2147483647 h 162"/>
                <a:gd name="T76" fmla="*/ 2147483647 w 186"/>
                <a:gd name="T77" fmla="*/ 2147483647 h 162"/>
                <a:gd name="T78" fmla="*/ 2147483647 w 186"/>
                <a:gd name="T79" fmla="*/ 2147483647 h 162"/>
                <a:gd name="T80" fmla="*/ 2147483647 w 186"/>
                <a:gd name="T81" fmla="*/ 2147483647 h 162"/>
                <a:gd name="T82" fmla="*/ 2147483647 w 186"/>
                <a:gd name="T83" fmla="*/ 2147483647 h 162"/>
                <a:gd name="T84" fmla="*/ 2147483647 w 186"/>
                <a:gd name="T85" fmla="*/ 2147483647 h 162"/>
                <a:gd name="T86" fmla="*/ 2147483647 w 186"/>
                <a:gd name="T87" fmla="*/ 2147483647 h 162"/>
                <a:gd name="T88" fmla="*/ 2147483647 w 186"/>
                <a:gd name="T89" fmla="*/ 0 h 162"/>
                <a:gd name="T90" fmla="*/ 2147483647 w 186"/>
                <a:gd name="T91" fmla="*/ 2147483647 h 162"/>
                <a:gd name="T92" fmla="*/ 2147483647 w 186"/>
                <a:gd name="T93" fmla="*/ 2147483647 h 162"/>
                <a:gd name="T94" fmla="*/ 2147483647 w 186"/>
                <a:gd name="T95" fmla="*/ 2147483647 h 162"/>
                <a:gd name="T96" fmla="*/ 2147483647 w 186"/>
                <a:gd name="T97" fmla="*/ 2147483647 h 162"/>
                <a:gd name="T98" fmla="*/ 2147483647 w 186"/>
                <a:gd name="T99" fmla="*/ 2147483647 h 162"/>
                <a:gd name="T100" fmla="*/ 2147483647 w 186"/>
                <a:gd name="T101" fmla="*/ 2147483647 h 162"/>
                <a:gd name="T102" fmla="*/ 2147483647 w 186"/>
                <a:gd name="T103" fmla="*/ 2147483647 h 162"/>
                <a:gd name="T104" fmla="*/ 2147483647 w 186"/>
                <a:gd name="T105" fmla="*/ 2147483647 h 162"/>
                <a:gd name="T106" fmla="*/ 2147483647 w 186"/>
                <a:gd name="T107" fmla="*/ 2147483647 h 162"/>
                <a:gd name="T108" fmla="*/ 2147483647 w 186"/>
                <a:gd name="T109" fmla="*/ 2147483647 h 162"/>
                <a:gd name="T110" fmla="*/ 2147483647 w 186"/>
                <a:gd name="T111" fmla="*/ 2147483647 h 162"/>
                <a:gd name="T112" fmla="*/ 2147483647 w 186"/>
                <a:gd name="T113" fmla="*/ 2147483647 h 162"/>
                <a:gd name="T114" fmla="*/ 2147483647 w 186"/>
                <a:gd name="T115" fmla="*/ 2147483647 h 16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6"/>
                <a:gd name="T175" fmla="*/ 0 h 162"/>
                <a:gd name="T176" fmla="*/ 186 w 186"/>
                <a:gd name="T177" fmla="*/ 162 h 16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6" h="162">
                  <a:moveTo>
                    <a:pt x="42" y="60"/>
                  </a:moveTo>
                  <a:lnTo>
                    <a:pt x="42" y="54"/>
                  </a:lnTo>
                  <a:lnTo>
                    <a:pt x="42" y="60"/>
                  </a:lnTo>
                  <a:close/>
                  <a:moveTo>
                    <a:pt x="66" y="6"/>
                  </a:moveTo>
                  <a:lnTo>
                    <a:pt x="72" y="6"/>
                  </a:lnTo>
                  <a:lnTo>
                    <a:pt x="72" y="12"/>
                  </a:lnTo>
                  <a:lnTo>
                    <a:pt x="72" y="6"/>
                  </a:lnTo>
                  <a:lnTo>
                    <a:pt x="66" y="6"/>
                  </a:lnTo>
                  <a:close/>
                  <a:moveTo>
                    <a:pt x="42" y="48"/>
                  </a:moveTo>
                  <a:lnTo>
                    <a:pt x="42" y="42"/>
                  </a:lnTo>
                  <a:lnTo>
                    <a:pt x="36" y="48"/>
                  </a:lnTo>
                  <a:lnTo>
                    <a:pt x="42" y="48"/>
                  </a:lnTo>
                  <a:close/>
                  <a:moveTo>
                    <a:pt x="120" y="6"/>
                  </a:moveTo>
                  <a:lnTo>
                    <a:pt x="126" y="6"/>
                  </a:lnTo>
                  <a:lnTo>
                    <a:pt x="126" y="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20" y="6"/>
                  </a:lnTo>
                  <a:close/>
                  <a:moveTo>
                    <a:pt x="54" y="12"/>
                  </a:moveTo>
                  <a:lnTo>
                    <a:pt x="60" y="12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54" y="12"/>
                  </a:lnTo>
                  <a:close/>
                  <a:moveTo>
                    <a:pt x="0" y="78"/>
                  </a:moveTo>
                  <a:lnTo>
                    <a:pt x="0" y="84"/>
                  </a:lnTo>
                  <a:lnTo>
                    <a:pt x="6" y="84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84"/>
                  </a:lnTo>
                  <a:lnTo>
                    <a:pt x="36" y="84"/>
                  </a:lnTo>
                  <a:lnTo>
                    <a:pt x="36" y="78"/>
                  </a:lnTo>
                  <a:lnTo>
                    <a:pt x="42" y="78"/>
                  </a:lnTo>
                  <a:lnTo>
                    <a:pt x="42" y="84"/>
                  </a:lnTo>
                  <a:lnTo>
                    <a:pt x="48" y="84"/>
                  </a:lnTo>
                  <a:lnTo>
                    <a:pt x="54" y="90"/>
                  </a:lnTo>
                  <a:lnTo>
                    <a:pt x="60" y="90"/>
                  </a:lnTo>
                  <a:lnTo>
                    <a:pt x="60" y="96"/>
                  </a:lnTo>
                  <a:lnTo>
                    <a:pt x="66" y="96"/>
                  </a:lnTo>
                  <a:lnTo>
                    <a:pt x="66" y="90"/>
                  </a:lnTo>
                  <a:lnTo>
                    <a:pt x="72" y="90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96"/>
                  </a:lnTo>
                  <a:lnTo>
                    <a:pt x="84" y="102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20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54" y="126"/>
                  </a:lnTo>
                  <a:lnTo>
                    <a:pt x="54" y="132"/>
                  </a:lnTo>
                  <a:lnTo>
                    <a:pt x="54" y="138"/>
                  </a:lnTo>
                  <a:lnTo>
                    <a:pt x="60" y="138"/>
                  </a:lnTo>
                  <a:lnTo>
                    <a:pt x="60" y="144"/>
                  </a:lnTo>
                  <a:lnTo>
                    <a:pt x="66" y="150"/>
                  </a:lnTo>
                  <a:lnTo>
                    <a:pt x="66" y="144"/>
                  </a:lnTo>
                  <a:lnTo>
                    <a:pt x="66" y="150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66" y="156"/>
                  </a:lnTo>
                  <a:lnTo>
                    <a:pt x="66" y="162"/>
                  </a:lnTo>
                  <a:lnTo>
                    <a:pt x="72" y="162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84" y="156"/>
                  </a:lnTo>
                  <a:lnTo>
                    <a:pt x="78" y="156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8" y="144"/>
                  </a:lnTo>
                  <a:lnTo>
                    <a:pt x="108" y="138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38"/>
                  </a:lnTo>
                  <a:lnTo>
                    <a:pt x="126" y="138"/>
                  </a:lnTo>
                  <a:lnTo>
                    <a:pt x="126" y="144"/>
                  </a:lnTo>
                  <a:lnTo>
                    <a:pt x="132" y="144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44" y="132"/>
                  </a:lnTo>
                  <a:lnTo>
                    <a:pt x="138" y="132"/>
                  </a:lnTo>
                  <a:lnTo>
                    <a:pt x="138" y="126"/>
                  </a:lnTo>
                  <a:lnTo>
                    <a:pt x="132" y="126"/>
                  </a:lnTo>
                  <a:lnTo>
                    <a:pt x="138" y="126"/>
                  </a:lnTo>
                  <a:lnTo>
                    <a:pt x="138" y="120"/>
                  </a:lnTo>
                  <a:lnTo>
                    <a:pt x="132" y="120"/>
                  </a:lnTo>
                  <a:lnTo>
                    <a:pt x="138" y="120"/>
                  </a:lnTo>
                  <a:lnTo>
                    <a:pt x="138" y="114"/>
                  </a:lnTo>
                  <a:lnTo>
                    <a:pt x="138" y="108"/>
                  </a:lnTo>
                  <a:lnTo>
                    <a:pt x="132" y="108"/>
                  </a:lnTo>
                  <a:lnTo>
                    <a:pt x="132" y="102"/>
                  </a:lnTo>
                  <a:lnTo>
                    <a:pt x="138" y="102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50" y="78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62" y="72"/>
                  </a:lnTo>
                  <a:lnTo>
                    <a:pt x="168" y="78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6" y="60"/>
                  </a:lnTo>
                  <a:lnTo>
                    <a:pt x="186" y="54"/>
                  </a:lnTo>
                  <a:lnTo>
                    <a:pt x="186" y="60"/>
                  </a:lnTo>
                  <a:lnTo>
                    <a:pt x="180" y="54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74" y="54"/>
                  </a:lnTo>
                  <a:lnTo>
                    <a:pt x="168" y="54"/>
                  </a:lnTo>
                  <a:lnTo>
                    <a:pt x="168" y="48"/>
                  </a:lnTo>
                  <a:lnTo>
                    <a:pt x="162" y="48"/>
                  </a:lnTo>
                  <a:lnTo>
                    <a:pt x="162" y="42"/>
                  </a:lnTo>
                  <a:lnTo>
                    <a:pt x="156" y="42"/>
                  </a:lnTo>
                  <a:lnTo>
                    <a:pt x="156" y="36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56" y="24"/>
                  </a:lnTo>
                  <a:lnTo>
                    <a:pt x="150" y="30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50" y="24"/>
                  </a:lnTo>
                  <a:lnTo>
                    <a:pt x="144" y="24"/>
                  </a:lnTo>
                  <a:lnTo>
                    <a:pt x="144" y="18"/>
                  </a:lnTo>
                  <a:lnTo>
                    <a:pt x="150" y="18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38" y="6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02" y="0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2" y="18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6" y="24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60" y="42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0" y="54"/>
                  </a:lnTo>
                  <a:lnTo>
                    <a:pt x="60" y="60"/>
                  </a:lnTo>
                  <a:lnTo>
                    <a:pt x="54" y="60"/>
                  </a:lnTo>
                  <a:lnTo>
                    <a:pt x="60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2" y="66"/>
                  </a:lnTo>
                  <a:lnTo>
                    <a:pt x="36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18" y="72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8" name="Freeform 44"/>
            <p:cNvSpPr>
              <a:spLocks noChangeAspect="1" noEditPoints="1"/>
            </p:cNvSpPr>
            <p:nvPr/>
          </p:nvSpPr>
          <p:spPr bwMode="auto">
            <a:xfrm>
              <a:off x="1857202" y="5352771"/>
              <a:ext cx="159939" cy="144472"/>
            </a:xfrm>
            <a:custGeom>
              <a:avLst/>
              <a:gdLst>
                <a:gd name="T0" fmla="*/ 2147483647 w 126"/>
                <a:gd name="T1" fmla="*/ 2147483647 h 114"/>
                <a:gd name="T2" fmla="*/ 2147483647 w 126"/>
                <a:gd name="T3" fmla="*/ 0 h 114"/>
                <a:gd name="T4" fmla="*/ 2147483647 w 126"/>
                <a:gd name="T5" fmla="*/ 2147483647 h 114"/>
                <a:gd name="T6" fmla="*/ 2147483647 w 126"/>
                <a:gd name="T7" fmla="*/ 2147483647 h 114"/>
                <a:gd name="T8" fmla="*/ 2147483647 w 126"/>
                <a:gd name="T9" fmla="*/ 2147483647 h 114"/>
                <a:gd name="T10" fmla="*/ 2147483647 w 126"/>
                <a:gd name="T11" fmla="*/ 2147483647 h 114"/>
                <a:gd name="T12" fmla="*/ 2147483647 w 126"/>
                <a:gd name="T13" fmla="*/ 2147483647 h 114"/>
                <a:gd name="T14" fmla="*/ 2147483647 w 126"/>
                <a:gd name="T15" fmla="*/ 2147483647 h 114"/>
                <a:gd name="T16" fmla="*/ 2147483647 w 126"/>
                <a:gd name="T17" fmla="*/ 2147483647 h 114"/>
                <a:gd name="T18" fmla="*/ 2147483647 w 126"/>
                <a:gd name="T19" fmla="*/ 2147483647 h 114"/>
                <a:gd name="T20" fmla="*/ 2147483647 w 126"/>
                <a:gd name="T21" fmla="*/ 2147483647 h 114"/>
                <a:gd name="T22" fmla="*/ 2147483647 w 126"/>
                <a:gd name="T23" fmla="*/ 2147483647 h 114"/>
                <a:gd name="T24" fmla="*/ 2147483647 w 126"/>
                <a:gd name="T25" fmla="*/ 2147483647 h 114"/>
                <a:gd name="T26" fmla="*/ 2147483647 w 126"/>
                <a:gd name="T27" fmla="*/ 2147483647 h 114"/>
                <a:gd name="T28" fmla="*/ 2147483647 w 126"/>
                <a:gd name="T29" fmla="*/ 2147483647 h 114"/>
                <a:gd name="T30" fmla="*/ 2147483647 w 126"/>
                <a:gd name="T31" fmla="*/ 2147483647 h 114"/>
                <a:gd name="T32" fmla="*/ 2147483647 w 126"/>
                <a:gd name="T33" fmla="*/ 2147483647 h 114"/>
                <a:gd name="T34" fmla="*/ 2147483647 w 126"/>
                <a:gd name="T35" fmla="*/ 2147483647 h 114"/>
                <a:gd name="T36" fmla="*/ 2147483647 w 126"/>
                <a:gd name="T37" fmla="*/ 2147483647 h 114"/>
                <a:gd name="T38" fmla="*/ 2147483647 w 126"/>
                <a:gd name="T39" fmla="*/ 2147483647 h 114"/>
                <a:gd name="T40" fmla="*/ 2147483647 w 126"/>
                <a:gd name="T41" fmla="*/ 2147483647 h 114"/>
                <a:gd name="T42" fmla="*/ 2147483647 w 126"/>
                <a:gd name="T43" fmla="*/ 2147483647 h 114"/>
                <a:gd name="T44" fmla="*/ 2147483647 w 126"/>
                <a:gd name="T45" fmla="*/ 2147483647 h 114"/>
                <a:gd name="T46" fmla="*/ 2147483647 w 126"/>
                <a:gd name="T47" fmla="*/ 2147483647 h 114"/>
                <a:gd name="T48" fmla="*/ 2147483647 w 126"/>
                <a:gd name="T49" fmla="*/ 2147483647 h 114"/>
                <a:gd name="T50" fmla="*/ 2147483647 w 126"/>
                <a:gd name="T51" fmla="*/ 2147483647 h 114"/>
                <a:gd name="T52" fmla="*/ 2147483647 w 126"/>
                <a:gd name="T53" fmla="*/ 2147483647 h 114"/>
                <a:gd name="T54" fmla="*/ 2147483647 w 126"/>
                <a:gd name="T55" fmla="*/ 2147483647 h 114"/>
                <a:gd name="T56" fmla="*/ 2147483647 w 126"/>
                <a:gd name="T57" fmla="*/ 2147483647 h 114"/>
                <a:gd name="T58" fmla="*/ 2147483647 w 126"/>
                <a:gd name="T59" fmla="*/ 2147483647 h 114"/>
                <a:gd name="T60" fmla="*/ 2147483647 w 126"/>
                <a:gd name="T61" fmla="*/ 2147483647 h 114"/>
                <a:gd name="T62" fmla="*/ 2147483647 w 126"/>
                <a:gd name="T63" fmla="*/ 2147483647 h 114"/>
                <a:gd name="T64" fmla="*/ 2147483647 w 126"/>
                <a:gd name="T65" fmla="*/ 2147483647 h 114"/>
                <a:gd name="T66" fmla="*/ 2147483647 w 126"/>
                <a:gd name="T67" fmla="*/ 2147483647 h 114"/>
                <a:gd name="T68" fmla="*/ 2147483647 w 126"/>
                <a:gd name="T69" fmla="*/ 2147483647 h 114"/>
                <a:gd name="T70" fmla="*/ 2147483647 w 126"/>
                <a:gd name="T71" fmla="*/ 2147483647 h 114"/>
                <a:gd name="T72" fmla="*/ 2147483647 w 126"/>
                <a:gd name="T73" fmla="*/ 2147483647 h 114"/>
                <a:gd name="T74" fmla="*/ 2147483647 w 126"/>
                <a:gd name="T75" fmla="*/ 2147483647 h 114"/>
                <a:gd name="T76" fmla="*/ 2147483647 w 126"/>
                <a:gd name="T77" fmla="*/ 2147483647 h 114"/>
                <a:gd name="T78" fmla="*/ 2147483647 w 126"/>
                <a:gd name="T79" fmla="*/ 2147483647 h 114"/>
                <a:gd name="T80" fmla="*/ 2147483647 w 126"/>
                <a:gd name="T81" fmla="*/ 2147483647 h 114"/>
                <a:gd name="T82" fmla="*/ 2147483647 w 126"/>
                <a:gd name="T83" fmla="*/ 2147483647 h 114"/>
                <a:gd name="T84" fmla="*/ 2147483647 w 126"/>
                <a:gd name="T85" fmla="*/ 2147483647 h 114"/>
                <a:gd name="T86" fmla="*/ 2147483647 w 126"/>
                <a:gd name="T87" fmla="*/ 2147483647 h 114"/>
                <a:gd name="T88" fmla="*/ 0 w 126"/>
                <a:gd name="T89" fmla="*/ 2147483647 h 114"/>
                <a:gd name="T90" fmla="*/ 2147483647 w 126"/>
                <a:gd name="T91" fmla="*/ 2147483647 h 114"/>
                <a:gd name="T92" fmla="*/ 2147483647 w 126"/>
                <a:gd name="T93" fmla="*/ 2147483647 h 114"/>
                <a:gd name="T94" fmla="*/ 2147483647 w 126"/>
                <a:gd name="T95" fmla="*/ 2147483647 h 114"/>
                <a:gd name="T96" fmla="*/ 2147483647 w 126"/>
                <a:gd name="T97" fmla="*/ 2147483647 h 114"/>
                <a:gd name="T98" fmla="*/ 2147483647 w 126"/>
                <a:gd name="T99" fmla="*/ 2147483647 h 114"/>
                <a:gd name="T100" fmla="*/ 2147483647 w 126"/>
                <a:gd name="T101" fmla="*/ 2147483647 h 114"/>
                <a:gd name="T102" fmla="*/ 2147483647 w 126"/>
                <a:gd name="T103" fmla="*/ 2147483647 h 114"/>
                <a:gd name="T104" fmla="*/ 2147483647 w 126"/>
                <a:gd name="T105" fmla="*/ 2147483647 h 1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6"/>
                <a:gd name="T160" fmla="*/ 0 h 114"/>
                <a:gd name="T161" fmla="*/ 126 w 126"/>
                <a:gd name="T162" fmla="*/ 114 h 11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6" h="114">
                  <a:moveTo>
                    <a:pt x="12" y="18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12" y="18"/>
                  </a:lnTo>
                  <a:close/>
                  <a:moveTo>
                    <a:pt x="12" y="6"/>
                  </a:moveTo>
                  <a:lnTo>
                    <a:pt x="12" y="0"/>
                  </a:lnTo>
                  <a:lnTo>
                    <a:pt x="12" y="6"/>
                  </a:lnTo>
                  <a:lnTo>
                    <a:pt x="6" y="6"/>
                  </a:lnTo>
                  <a:lnTo>
                    <a:pt x="12" y="6"/>
                  </a:lnTo>
                  <a:close/>
                  <a:moveTo>
                    <a:pt x="72" y="114"/>
                  </a:moveTo>
                  <a:lnTo>
                    <a:pt x="78" y="114"/>
                  </a:lnTo>
                  <a:lnTo>
                    <a:pt x="72" y="108"/>
                  </a:lnTo>
                  <a:lnTo>
                    <a:pt x="72" y="102"/>
                  </a:lnTo>
                  <a:lnTo>
                    <a:pt x="66" y="102"/>
                  </a:lnTo>
                  <a:lnTo>
                    <a:pt x="66" y="96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72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78" y="78"/>
                  </a:lnTo>
                  <a:lnTo>
                    <a:pt x="78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90" y="84"/>
                  </a:lnTo>
                  <a:lnTo>
                    <a:pt x="96" y="84"/>
                  </a:lnTo>
                  <a:lnTo>
                    <a:pt x="90" y="84"/>
                  </a:lnTo>
                  <a:lnTo>
                    <a:pt x="90" y="78"/>
                  </a:lnTo>
                  <a:lnTo>
                    <a:pt x="96" y="78"/>
                  </a:lnTo>
                  <a:lnTo>
                    <a:pt x="90" y="78"/>
                  </a:lnTo>
                  <a:lnTo>
                    <a:pt x="96" y="84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2" y="66"/>
                  </a:lnTo>
                  <a:lnTo>
                    <a:pt x="108" y="66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54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26" y="42"/>
                  </a:lnTo>
                  <a:lnTo>
                    <a:pt x="126" y="36"/>
                  </a:lnTo>
                  <a:lnTo>
                    <a:pt x="120" y="30"/>
                  </a:lnTo>
                  <a:lnTo>
                    <a:pt x="114" y="36"/>
                  </a:lnTo>
                  <a:lnTo>
                    <a:pt x="108" y="36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36"/>
                  </a:lnTo>
                  <a:lnTo>
                    <a:pt x="96" y="36"/>
                  </a:lnTo>
                  <a:lnTo>
                    <a:pt x="90" y="30"/>
                  </a:lnTo>
                  <a:lnTo>
                    <a:pt x="84" y="30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78" y="30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6" y="30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12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84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102"/>
                  </a:lnTo>
                  <a:lnTo>
                    <a:pt x="42" y="102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54" y="108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6" y="114"/>
                  </a:lnTo>
                  <a:lnTo>
                    <a:pt x="72" y="11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9" name="Freeform 45"/>
            <p:cNvSpPr>
              <a:spLocks noChangeAspect="1" noEditPoints="1"/>
            </p:cNvSpPr>
            <p:nvPr/>
          </p:nvSpPr>
          <p:spPr bwMode="auto">
            <a:xfrm>
              <a:off x="1621594" y="5124156"/>
              <a:ext cx="373189" cy="465168"/>
            </a:xfrm>
            <a:custGeom>
              <a:avLst/>
              <a:gdLst>
                <a:gd name="T0" fmla="*/ 2147483647 w 294"/>
                <a:gd name="T1" fmla="*/ 2147483647 h 366"/>
                <a:gd name="T2" fmla="*/ 2147483647 w 294"/>
                <a:gd name="T3" fmla="*/ 2147483647 h 366"/>
                <a:gd name="T4" fmla="*/ 2147483647 w 294"/>
                <a:gd name="T5" fmla="*/ 2147483647 h 366"/>
                <a:gd name="T6" fmla="*/ 2147483647 w 294"/>
                <a:gd name="T7" fmla="*/ 2147483647 h 366"/>
                <a:gd name="T8" fmla="*/ 2147483647 w 294"/>
                <a:gd name="T9" fmla="*/ 2147483647 h 366"/>
                <a:gd name="T10" fmla="*/ 2147483647 w 294"/>
                <a:gd name="T11" fmla="*/ 2147483647 h 366"/>
                <a:gd name="T12" fmla="*/ 2147483647 w 294"/>
                <a:gd name="T13" fmla="*/ 2147483647 h 366"/>
                <a:gd name="T14" fmla="*/ 2147483647 w 294"/>
                <a:gd name="T15" fmla="*/ 2147483647 h 366"/>
                <a:gd name="T16" fmla="*/ 2147483647 w 294"/>
                <a:gd name="T17" fmla="*/ 2147483647 h 366"/>
                <a:gd name="T18" fmla="*/ 2147483647 w 294"/>
                <a:gd name="T19" fmla="*/ 2147483647 h 366"/>
                <a:gd name="T20" fmla="*/ 2147483647 w 294"/>
                <a:gd name="T21" fmla="*/ 2147483647 h 366"/>
                <a:gd name="T22" fmla="*/ 2147483647 w 294"/>
                <a:gd name="T23" fmla="*/ 2147483647 h 366"/>
                <a:gd name="T24" fmla="*/ 2147483647 w 294"/>
                <a:gd name="T25" fmla="*/ 2147483647 h 366"/>
                <a:gd name="T26" fmla="*/ 2147483647 w 294"/>
                <a:gd name="T27" fmla="*/ 2147483647 h 366"/>
                <a:gd name="T28" fmla="*/ 2147483647 w 294"/>
                <a:gd name="T29" fmla="*/ 2147483647 h 366"/>
                <a:gd name="T30" fmla="*/ 2147483647 w 294"/>
                <a:gd name="T31" fmla="*/ 2147483647 h 366"/>
                <a:gd name="T32" fmla="*/ 2147483647 w 294"/>
                <a:gd name="T33" fmla="*/ 2147483647 h 366"/>
                <a:gd name="T34" fmla="*/ 2147483647 w 294"/>
                <a:gd name="T35" fmla="*/ 2147483647 h 366"/>
                <a:gd name="T36" fmla="*/ 2147483647 w 294"/>
                <a:gd name="T37" fmla="*/ 2147483647 h 366"/>
                <a:gd name="T38" fmla="*/ 2147483647 w 294"/>
                <a:gd name="T39" fmla="*/ 2147483647 h 366"/>
                <a:gd name="T40" fmla="*/ 2147483647 w 294"/>
                <a:gd name="T41" fmla="*/ 2147483647 h 366"/>
                <a:gd name="T42" fmla="*/ 2147483647 w 294"/>
                <a:gd name="T43" fmla="*/ 2147483647 h 366"/>
                <a:gd name="T44" fmla="*/ 2147483647 w 294"/>
                <a:gd name="T45" fmla="*/ 2147483647 h 366"/>
                <a:gd name="T46" fmla="*/ 2147483647 w 294"/>
                <a:gd name="T47" fmla="*/ 2147483647 h 366"/>
                <a:gd name="T48" fmla="*/ 2147483647 w 294"/>
                <a:gd name="T49" fmla="*/ 2147483647 h 366"/>
                <a:gd name="T50" fmla="*/ 2147483647 w 294"/>
                <a:gd name="T51" fmla="*/ 2147483647 h 366"/>
                <a:gd name="T52" fmla="*/ 2147483647 w 294"/>
                <a:gd name="T53" fmla="*/ 2147483647 h 366"/>
                <a:gd name="T54" fmla="*/ 2147483647 w 294"/>
                <a:gd name="T55" fmla="*/ 2147483647 h 366"/>
                <a:gd name="T56" fmla="*/ 2147483647 w 294"/>
                <a:gd name="T57" fmla="*/ 2147483647 h 366"/>
                <a:gd name="T58" fmla="*/ 2147483647 w 294"/>
                <a:gd name="T59" fmla="*/ 2147483647 h 366"/>
                <a:gd name="T60" fmla="*/ 2147483647 w 294"/>
                <a:gd name="T61" fmla="*/ 2147483647 h 366"/>
                <a:gd name="T62" fmla="*/ 2147483647 w 294"/>
                <a:gd name="T63" fmla="*/ 2147483647 h 366"/>
                <a:gd name="T64" fmla="*/ 2147483647 w 294"/>
                <a:gd name="T65" fmla="*/ 2147483647 h 366"/>
                <a:gd name="T66" fmla="*/ 2147483647 w 294"/>
                <a:gd name="T67" fmla="*/ 2147483647 h 366"/>
                <a:gd name="T68" fmla="*/ 2147483647 w 294"/>
                <a:gd name="T69" fmla="*/ 2147483647 h 366"/>
                <a:gd name="T70" fmla="*/ 2147483647 w 294"/>
                <a:gd name="T71" fmla="*/ 2147483647 h 366"/>
                <a:gd name="T72" fmla="*/ 2147483647 w 294"/>
                <a:gd name="T73" fmla="*/ 2147483647 h 366"/>
                <a:gd name="T74" fmla="*/ 2147483647 w 294"/>
                <a:gd name="T75" fmla="*/ 0 h 366"/>
                <a:gd name="T76" fmla="*/ 2147483647 w 294"/>
                <a:gd name="T77" fmla="*/ 2147483647 h 366"/>
                <a:gd name="T78" fmla="*/ 2147483647 w 294"/>
                <a:gd name="T79" fmla="*/ 2147483647 h 366"/>
                <a:gd name="T80" fmla="*/ 2147483647 w 294"/>
                <a:gd name="T81" fmla="*/ 2147483647 h 366"/>
                <a:gd name="T82" fmla="*/ 2147483647 w 294"/>
                <a:gd name="T83" fmla="*/ 2147483647 h 366"/>
                <a:gd name="T84" fmla="*/ 2147483647 w 294"/>
                <a:gd name="T85" fmla="*/ 2147483647 h 366"/>
                <a:gd name="T86" fmla="*/ 2147483647 w 294"/>
                <a:gd name="T87" fmla="*/ 2147483647 h 366"/>
                <a:gd name="T88" fmla="*/ 2147483647 w 294"/>
                <a:gd name="T89" fmla="*/ 2147483647 h 366"/>
                <a:gd name="T90" fmla="*/ 2147483647 w 294"/>
                <a:gd name="T91" fmla="*/ 2147483647 h 366"/>
                <a:gd name="T92" fmla="*/ 2147483647 w 294"/>
                <a:gd name="T93" fmla="*/ 2147483647 h 366"/>
                <a:gd name="T94" fmla="*/ 2147483647 w 294"/>
                <a:gd name="T95" fmla="*/ 2147483647 h 366"/>
                <a:gd name="T96" fmla="*/ 2147483647 w 294"/>
                <a:gd name="T97" fmla="*/ 2147483647 h 366"/>
                <a:gd name="T98" fmla="*/ 2147483647 w 294"/>
                <a:gd name="T99" fmla="*/ 2147483647 h 366"/>
                <a:gd name="T100" fmla="*/ 2147483647 w 294"/>
                <a:gd name="T101" fmla="*/ 2147483647 h 366"/>
                <a:gd name="T102" fmla="*/ 2147483647 w 294"/>
                <a:gd name="T103" fmla="*/ 2147483647 h 366"/>
                <a:gd name="T104" fmla="*/ 2147483647 w 294"/>
                <a:gd name="T105" fmla="*/ 2147483647 h 366"/>
                <a:gd name="T106" fmla="*/ 2147483647 w 294"/>
                <a:gd name="T107" fmla="*/ 2147483647 h 366"/>
                <a:gd name="T108" fmla="*/ 2147483647 w 294"/>
                <a:gd name="T109" fmla="*/ 2147483647 h 366"/>
                <a:gd name="T110" fmla="*/ 2147483647 w 294"/>
                <a:gd name="T111" fmla="*/ 2147483647 h 366"/>
                <a:gd name="T112" fmla="*/ 2147483647 w 294"/>
                <a:gd name="T113" fmla="*/ 2147483647 h 366"/>
                <a:gd name="T114" fmla="*/ 2147483647 w 294"/>
                <a:gd name="T115" fmla="*/ 2147483647 h 366"/>
                <a:gd name="T116" fmla="*/ 2147483647 w 294"/>
                <a:gd name="T117" fmla="*/ 2147483647 h 366"/>
                <a:gd name="T118" fmla="*/ 2147483647 w 294"/>
                <a:gd name="T119" fmla="*/ 2147483647 h 366"/>
                <a:gd name="T120" fmla="*/ 2147483647 w 294"/>
                <a:gd name="T121" fmla="*/ 2147483647 h 36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94"/>
                <a:gd name="T184" fmla="*/ 0 h 366"/>
                <a:gd name="T185" fmla="*/ 294 w 294"/>
                <a:gd name="T186" fmla="*/ 366 h 36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94" h="366">
                  <a:moveTo>
                    <a:pt x="168" y="216"/>
                  </a:moveTo>
                  <a:lnTo>
                    <a:pt x="168" y="222"/>
                  </a:lnTo>
                  <a:lnTo>
                    <a:pt x="168" y="216"/>
                  </a:lnTo>
                  <a:close/>
                  <a:moveTo>
                    <a:pt x="162" y="306"/>
                  </a:moveTo>
                  <a:lnTo>
                    <a:pt x="162" y="312"/>
                  </a:lnTo>
                  <a:lnTo>
                    <a:pt x="162" y="306"/>
                  </a:lnTo>
                  <a:close/>
                  <a:moveTo>
                    <a:pt x="42" y="360"/>
                  </a:moveTo>
                  <a:lnTo>
                    <a:pt x="42" y="354"/>
                  </a:lnTo>
                  <a:lnTo>
                    <a:pt x="36" y="354"/>
                  </a:lnTo>
                  <a:lnTo>
                    <a:pt x="36" y="360"/>
                  </a:lnTo>
                  <a:lnTo>
                    <a:pt x="42" y="360"/>
                  </a:lnTo>
                  <a:close/>
                  <a:moveTo>
                    <a:pt x="48" y="366"/>
                  </a:moveTo>
                  <a:lnTo>
                    <a:pt x="54" y="360"/>
                  </a:lnTo>
                  <a:lnTo>
                    <a:pt x="48" y="360"/>
                  </a:lnTo>
                  <a:lnTo>
                    <a:pt x="48" y="366"/>
                  </a:lnTo>
                  <a:close/>
                  <a:moveTo>
                    <a:pt x="168" y="282"/>
                  </a:moveTo>
                  <a:lnTo>
                    <a:pt x="162" y="282"/>
                  </a:lnTo>
                  <a:lnTo>
                    <a:pt x="168" y="282"/>
                  </a:lnTo>
                  <a:close/>
                  <a:moveTo>
                    <a:pt x="66" y="252"/>
                  </a:moveTo>
                  <a:lnTo>
                    <a:pt x="60" y="252"/>
                  </a:lnTo>
                  <a:lnTo>
                    <a:pt x="66" y="252"/>
                  </a:lnTo>
                  <a:close/>
                  <a:moveTo>
                    <a:pt x="54" y="300"/>
                  </a:moveTo>
                  <a:lnTo>
                    <a:pt x="60" y="300"/>
                  </a:lnTo>
                  <a:lnTo>
                    <a:pt x="54" y="300"/>
                  </a:lnTo>
                  <a:close/>
                  <a:moveTo>
                    <a:pt x="192" y="348"/>
                  </a:moveTo>
                  <a:lnTo>
                    <a:pt x="192" y="342"/>
                  </a:lnTo>
                  <a:lnTo>
                    <a:pt x="186" y="342"/>
                  </a:lnTo>
                  <a:lnTo>
                    <a:pt x="186" y="348"/>
                  </a:lnTo>
                  <a:lnTo>
                    <a:pt x="192" y="348"/>
                  </a:lnTo>
                  <a:close/>
                  <a:moveTo>
                    <a:pt x="96" y="288"/>
                  </a:moveTo>
                  <a:lnTo>
                    <a:pt x="90" y="288"/>
                  </a:lnTo>
                  <a:lnTo>
                    <a:pt x="96" y="288"/>
                  </a:lnTo>
                  <a:close/>
                  <a:moveTo>
                    <a:pt x="114" y="66"/>
                  </a:moveTo>
                  <a:lnTo>
                    <a:pt x="108" y="66"/>
                  </a:lnTo>
                  <a:lnTo>
                    <a:pt x="114" y="66"/>
                  </a:lnTo>
                  <a:close/>
                  <a:moveTo>
                    <a:pt x="48" y="342"/>
                  </a:moveTo>
                  <a:lnTo>
                    <a:pt x="48" y="336"/>
                  </a:lnTo>
                  <a:lnTo>
                    <a:pt x="48" y="342"/>
                  </a:lnTo>
                  <a:close/>
                  <a:moveTo>
                    <a:pt x="192" y="366"/>
                  </a:moveTo>
                  <a:lnTo>
                    <a:pt x="198" y="366"/>
                  </a:lnTo>
                  <a:lnTo>
                    <a:pt x="198" y="360"/>
                  </a:lnTo>
                  <a:lnTo>
                    <a:pt x="192" y="360"/>
                  </a:lnTo>
                  <a:lnTo>
                    <a:pt x="192" y="366"/>
                  </a:lnTo>
                  <a:close/>
                  <a:moveTo>
                    <a:pt x="66" y="246"/>
                  </a:moveTo>
                  <a:lnTo>
                    <a:pt x="72" y="246"/>
                  </a:lnTo>
                  <a:lnTo>
                    <a:pt x="66" y="246"/>
                  </a:lnTo>
                  <a:close/>
                  <a:moveTo>
                    <a:pt x="222" y="330"/>
                  </a:moveTo>
                  <a:lnTo>
                    <a:pt x="228" y="330"/>
                  </a:lnTo>
                  <a:lnTo>
                    <a:pt x="222" y="330"/>
                  </a:lnTo>
                  <a:close/>
                  <a:moveTo>
                    <a:pt x="108" y="60"/>
                  </a:moveTo>
                  <a:lnTo>
                    <a:pt x="114" y="60"/>
                  </a:lnTo>
                  <a:lnTo>
                    <a:pt x="114" y="54"/>
                  </a:lnTo>
                  <a:lnTo>
                    <a:pt x="108" y="60"/>
                  </a:lnTo>
                  <a:close/>
                  <a:moveTo>
                    <a:pt x="0" y="336"/>
                  </a:moveTo>
                  <a:lnTo>
                    <a:pt x="0" y="330"/>
                  </a:lnTo>
                  <a:lnTo>
                    <a:pt x="0" y="336"/>
                  </a:lnTo>
                  <a:close/>
                  <a:moveTo>
                    <a:pt x="120" y="288"/>
                  </a:moveTo>
                  <a:lnTo>
                    <a:pt x="120" y="282"/>
                  </a:lnTo>
                  <a:lnTo>
                    <a:pt x="120" y="288"/>
                  </a:lnTo>
                  <a:close/>
                  <a:moveTo>
                    <a:pt x="192" y="342"/>
                  </a:moveTo>
                  <a:lnTo>
                    <a:pt x="192" y="336"/>
                  </a:lnTo>
                  <a:lnTo>
                    <a:pt x="192" y="342"/>
                  </a:lnTo>
                  <a:close/>
                  <a:moveTo>
                    <a:pt x="162" y="300"/>
                  </a:moveTo>
                  <a:lnTo>
                    <a:pt x="168" y="300"/>
                  </a:lnTo>
                  <a:lnTo>
                    <a:pt x="162" y="300"/>
                  </a:lnTo>
                  <a:close/>
                  <a:moveTo>
                    <a:pt x="6" y="348"/>
                  </a:moveTo>
                  <a:lnTo>
                    <a:pt x="6" y="342"/>
                  </a:lnTo>
                  <a:lnTo>
                    <a:pt x="6" y="348"/>
                  </a:lnTo>
                  <a:lnTo>
                    <a:pt x="0" y="348"/>
                  </a:lnTo>
                  <a:lnTo>
                    <a:pt x="6" y="348"/>
                  </a:lnTo>
                  <a:close/>
                  <a:moveTo>
                    <a:pt x="144" y="264"/>
                  </a:moveTo>
                  <a:lnTo>
                    <a:pt x="150" y="264"/>
                  </a:lnTo>
                  <a:lnTo>
                    <a:pt x="144" y="264"/>
                  </a:lnTo>
                  <a:close/>
                  <a:moveTo>
                    <a:pt x="144" y="216"/>
                  </a:moveTo>
                  <a:lnTo>
                    <a:pt x="144" y="210"/>
                  </a:lnTo>
                  <a:lnTo>
                    <a:pt x="144" y="216"/>
                  </a:lnTo>
                  <a:lnTo>
                    <a:pt x="138" y="216"/>
                  </a:lnTo>
                  <a:lnTo>
                    <a:pt x="144" y="216"/>
                  </a:lnTo>
                  <a:close/>
                  <a:moveTo>
                    <a:pt x="102" y="288"/>
                  </a:move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102" y="288"/>
                  </a:lnTo>
                  <a:close/>
                  <a:moveTo>
                    <a:pt x="78" y="258"/>
                  </a:moveTo>
                  <a:lnTo>
                    <a:pt x="84" y="258"/>
                  </a:lnTo>
                  <a:lnTo>
                    <a:pt x="84" y="252"/>
                  </a:lnTo>
                  <a:lnTo>
                    <a:pt x="78" y="252"/>
                  </a:lnTo>
                  <a:lnTo>
                    <a:pt x="78" y="258"/>
                  </a:lnTo>
                  <a:close/>
                  <a:moveTo>
                    <a:pt x="60" y="330"/>
                  </a:moveTo>
                  <a:lnTo>
                    <a:pt x="60" y="324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24"/>
                  </a:lnTo>
                  <a:lnTo>
                    <a:pt x="60" y="330"/>
                  </a:lnTo>
                  <a:close/>
                  <a:moveTo>
                    <a:pt x="66" y="258"/>
                  </a:moveTo>
                  <a:lnTo>
                    <a:pt x="72" y="258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72" y="252"/>
                  </a:lnTo>
                  <a:lnTo>
                    <a:pt x="78" y="252"/>
                  </a:lnTo>
                  <a:lnTo>
                    <a:pt x="72" y="252"/>
                  </a:lnTo>
                  <a:lnTo>
                    <a:pt x="66" y="252"/>
                  </a:lnTo>
                  <a:lnTo>
                    <a:pt x="66" y="258"/>
                  </a:lnTo>
                  <a:close/>
                  <a:moveTo>
                    <a:pt x="138" y="210"/>
                  </a:moveTo>
                  <a:lnTo>
                    <a:pt x="144" y="210"/>
                  </a:lnTo>
                  <a:lnTo>
                    <a:pt x="144" y="204"/>
                  </a:lnTo>
                  <a:lnTo>
                    <a:pt x="144" y="210"/>
                  </a:lnTo>
                  <a:lnTo>
                    <a:pt x="150" y="210"/>
                  </a:lnTo>
                  <a:lnTo>
                    <a:pt x="150" y="204"/>
                  </a:lnTo>
                  <a:lnTo>
                    <a:pt x="144" y="204"/>
                  </a:lnTo>
                  <a:lnTo>
                    <a:pt x="138" y="210"/>
                  </a:lnTo>
                  <a:close/>
                  <a:moveTo>
                    <a:pt x="126" y="228"/>
                  </a:moveTo>
                  <a:lnTo>
                    <a:pt x="132" y="228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2"/>
                  </a:lnTo>
                  <a:lnTo>
                    <a:pt x="126" y="216"/>
                  </a:lnTo>
                  <a:lnTo>
                    <a:pt x="126" y="222"/>
                  </a:lnTo>
                  <a:lnTo>
                    <a:pt x="126" y="228"/>
                  </a:lnTo>
                  <a:close/>
                  <a:moveTo>
                    <a:pt x="192" y="222"/>
                  </a:moveTo>
                  <a:lnTo>
                    <a:pt x="192" y="228"/>
                  </a:lnTo>
                  <a:lnTo>
                    <a:pt x="198" y="228"/>
                  </a:lnTo>
                  <a:lnTo>
                    <a:pt x="198" y="222"/>
                  </a:lnTo>
                  <a:lnTo>
                    <a:pt x="192" y="222"/>
                  </a:lnTo>
                  <a:lnTo>
                    <a:pt x="192" y="216"/>
                  </a:lnTo>
                  <a:lnTo>
                    <a:pt x="192" y="222"/>
                  </a:lnTo>
                  <a:close/>
                  <a:moveTo>
                    <a:pt x="156" y="288"/>
                  </a:moveTo>
                  <a:lnTo>
                    <a:pt x="156" y="282"/>
                  </a:lnTo>
                  <a:lnTo>
                    <a:pt x="162" y="282"/>
                  </a:lnTo>
                  <a:lnTo>
                    <a:pt x="162" y="276"/>
                  </a:lnTo>
                  <a:lnTo>
                    <a:pt x="168" y="276"/>
                  </a:lnTo>
                  <a:lnTo>
                    <a:pt x="162" y="276"/>
                  </a:lnTo>
                  <a:lnTo>
                    <a:pt x="162" y="282"/>
                  </a:lnTo>
                  <a:lnTo>
                    <a:pt x="156" y="282"/>
                  </a:lnTo>
                  <a:lnTo>
                    <a:pt x="156" y="288"/>
                  </a:lnTo>
                  <a:lnTo>
                    <a:pt x="156" y="282"/>
                  </a:lnTo>
                  <a:lnTo>
                    <a:pt x="156" y="288"/>
                  </a:lnTo>
                  <a:close/>
                  <a:moveTo>
                    <a:pt x="72" y="246"/>
                  </a:moveTo>
                  <a:lnTo>
                    <a:pt x="78" y="246"/>
                  </a:lnTo>
                  <a:lnTo>
                    <a:pt x="84" y="246"/>
                  </a:lnTo>
                  <a:lnTo>
                    <a:pt x="84" y="240"/>
                  </a:lnTo>
                  <a:lnTo>
                    <a:pt x="78" y="240"/>
                  </a:lnTo>
                  <a:lnTo>
                    <a:pt x="78" y="234"/>
                  </a:lnTo>
                  <a:lnTo>
                    <a:pt x="78" y="240"/>
                  </a:lnTo>
                  <a:lnTo>
                    <a:pt x="72" y="240"/>
                  </a:lnTo>
                  <a:lnTo>
                    <a:pt x="72" y="246"/>
                  </a:lnTo>
                  <a:close/>
                  <a:moveTo>
                    <a:pt x="174" y="216"/>
                  </a:moveTo>
                  <a:lnTo>
                    <a:pt x="180" y="222"/>
                  </a:lnTo>
                  <a:lnTo>
                    <a:pt x="180" y="216"/>
                  </a:lnTo>
                  <a:lnTo>
                    <a:pt x="186" y="216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74" y="216"/>
                  </a:lnTo>
                  <a:close/>
                  <a:moveTo>
                    <a:pt x="36" y="318"/>
                  </a:moveTo>
                  <a:lnTo>
                    <a:pt x="36" y="324"/>
                  </a:lnTo>
                  <a:lnTo>
                    <a:pt x="42" y="324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48" y="324"/>
                  </a:lnTo>
                  <a:lnTo>
                    <a:pt x="48" y="318"/>
                  </a:lnTo>
                  <a:lnTo>
                    <a:pt x="42" y="318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6" y="318"/>
                  </a:lnTo>
                  <a:close/>
                  <a:moveTo>
                    <a:pt x="54" y="306"/>
                  </a:moveTo>
                  <a:lnTo>
                    <a:pt x="54" y="300"/>
                  </a:lnTo>
                  <a:lnTo>
                    <a:pt x="54" y="306"/>
                  </a:lnTo>
                  <a:lnTo>
                    <a:pt x="60" y="306"/>
                  </a:lnTo>
                  <a:lnTo>
                    <a:pt x="60" y="312"/>
                  </a:lnTo>
                  <a:lnTo>
                    <a:pt x="66" y="312"/>
                  </a:lnTo>
                  <a:lnTo>
                    <a:pt x="66" y="306"/>
                  </a:lnTo>
                  <a:lnTo>
                    <a:pt x="66" y="300"/>
                  </a:lnTo>
                  <a:lnTo>
                    <a:pt x="60" y="300"/>
                  </a:lnTo>
                  <a:lnTo>
                    <a:pt x="60" y="306"/>
                  </a:lnTo>
                  <a:lnTo>
                    <a:pt x="66" y="306"/>
                  </a:lnTo>
                  <a:lnTo>
                    <a:pt x="60" y="306"/>
                  </a:lnTo>
                  <a:lnTo>
                    <a:pt x="54" y="306"/>
                  </a:lnTo>
                  <a:close/>
                  <a:moveTo>
                    <a:pt x="42" y="312"/>
                  </a:moveTo>
                  <a:lnTo>
                    <a:pt x="48" y="312"/>
                  </a:lnTo>
                  <a:lnTo>
                    <a:pt x="42" y="312"/>
                  </a:lnTo>
                  <a:lnTo>
                    <a:pt x="48" y="312"/>
                  </a:lnTo>
                  <a:lnTo>
                    <a:pt x="48" y="318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54" y="318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60" y="318"/>
                  </a:lnTo>
                  <a:lnTo>
                    <a:pt x="54" y="318"/>
                  </a:lnTo>
                  <a:lnTo>
                    <a:pt x="54" y="312"/>
                  </a:lnTo>
                  <a:lnTo>
                    <a:pt x="60" y="312"/>
                  </a:lnTo>
                  <a:lnTo>
                    <a:pt x="54" y="312"/>
                  </a:lnTo>
                  <a:lnTo>
                    <a:pt x="54" y="306"/>
                  </a:lnTo>
                  <a:lnTo>
                    <a:pt x="54" y="312"/>
                  </a:lnTo>
                  <a:lnTo>
                    <a:pt x="54" y="318"/>
                  </a:lnTo>
                  <a:lnTo>
                    <a:pt x="54" y="312"/>
                  </a:lnTo>
                  <a:lnTo>
                    <a:pt x="48" y="312"/>
                  </a:lnTo>
                  <a:lnTo>
                    <a:pt x="42" y="312"/>
                  </a:lnTo>
                  <a:lnTo>
                    <a:pt x="48" y="312"/>
                  </a:lnTo>
                  <a:lnTo>
                    <a:pt x="42" y="312"/>
                  </a:lnTo>
                  <a:close/>
                  <a:moveTo>
                    <a:pt x="162" y="162"/>
                  </a:moveTo>
                  <a:lnTo>
                    <a:pt x="168" y="162"/>
                  </a:lnTo>
                  <a:lnTo>
                    <a:pt x="168" y="168"/>
                  </a:lnTo>
                  <a:lnTo>
                    <a:pt x="174" y="168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86" y="162"/>
                  </a:lnTo>
                  <a:lnTo>
                    <a:pt x="186" y="156"/>
                  </a:lnTo>
                  <a:lnTo>
                    <a:pt x="180" y="156"/>
                  </a:lnTo>
                  <a:lnTo>
                    <a:pt x="186" y="156"/>
                  </a:lnTo>
                  <a:lnTo>
                    <a:pt x="180" y="156"/>
                  </a:lnTo>
                  <a:lnTo>
                    <a:pt x="180" y="150"/>
                  </a:lnTo>
                  <a:lnTo>
                    <a:pt x="174" y="150"/>
                  </a:lnTo>
                  <a:lnTo>
                    <a:pt x="180" y="150"/>
                  </a:lnTo>
                  <a:lnTo>
                    <a:pt x="180" y="144"/>
                  </a:lnTo>
                  <a:lnTo>
                    <a:pt x="174" y="144"/>
                  </a:lnTo>
                  <a:lnTo>
                    <a:pt x="168" y="144"/>
                  </a:lnTo>
                  <a:lnTo>
                    <a:pt x="162" y="144"/>
                  </a:lnTo>
                  <a:lnTo>
                    <a:pt x="162" y="150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8" y="162"/>
                  </a:lnTo>
                  <a:lnTo>
                    <a:pt x="162" y="162"/>
                  </a:lnTo>
                  <a:lnTo>
                    <a:pt x="162" y="156"/>
                  </a:lnTo>
                  <a:lnTo>
                    <a:pt x="156" y="156"/>
                  </a:lnTo>
                  <a:lnTo>
                    <a:pt x="162" y="156"/>
                  </a:lnTo>
                  <a:lnTo>
                    <a:pt x="162" y="162"/>
                  </a:lnTo>
                  <a:close/>
                  <a:moveTo>
                    <a:pt x="120" y="258"/>
                  </a:moveTo>
                  <a:lnTo>
                    <a:pt x="126" y="258"/>
                  </a:lnTo>
                  <a:lnTo>
                    <a:pt x="132" y="258"/>
                  </a:lnTo>
                  <a:lnTo>
                    <a:pt x="132" y="252"/>
                  </a:lnTo>
                  <a:lnTo>
                    <a:pt x="138" y="252"/>
                  </a:lnTo>
                  <a:lnTo>
                    <a:pt x="138" y="246"/>
                  </a:lnTo>
                  <a:lnTo>
                    <a:pt x="144" y="246"/>
                  </a:lnTo>
                  <a:lnTo>
                    <a:pt x="144" y="240"/>
                  </a:lnTo>
                  <a:lnTo>
                    <a:pt x="138" y="240"/>
                  </a:lnTo>
                  <a:lnTo>
                    <a:pt x="144" y="240"/>
                  </a:lnTo>
                  <a:lnTo>
                    <a:pt x="144" y="234"/>
                  </a:lnTo>
                  <a:lnTo>
                    <a:pt x="150" y="234"/>
                  </a:lnTo>
                  <a:lnTo>
                    <a:pt x="150" y="228"/>
                  </a:lnTo>
                  <a:lnTo>
                    <a:pt x="150" y="222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50" y="222"/>
                  </a:lnTo>
                  <a:lnTo>
                    <a:pt x="144" y="222"/>
                  </a:lnTo>
                  <a:lnTo>
                    <a:pt x="144" y="228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38" y="228"/>
                  </a:lnTo>
                  <a:lnTo>
                    <a:pt x="132" y="228"/>
                  </a:lnTo>
                  <a:lnTo>
                    <a:pt x="132" y="234"/>
                  </a:lnTo>
                  <a:lnTo>
                    <a:pt x="132" y="240"/>
                  </a:lnTo>
                  <a:lnTo>
                    <a:pt x="126" y="240"/>
                  </a:lnTo>
                  <a:lnTo>
                    <a:pt x="126" y="246"/>
                  </a:lnTo>
                  <a:lnTo>
                    <a:pt x="126" y="252"/>
                  </a:lnTo>
                  <a:lnTo>
                    <a:pt x="126" y="246"/>
                  </a:lnTo>
                  <a:lnTo>
                    <a:pt x="120" y="252"/>
                  </a:lnTo>
                  <a:lnTo>
                    <a:pt x="126" y="252"/>
                  </a:lnTo>
                  <a:lnTo>
                    <a:pt x="126" y="258"/>
                  </a:lnTo>
                  <a:lnTo>
                    <a:pt x="120" y="258"/>
                  </a:lnTo>
                  <a:lnTo>
                    <a:pt x="120" y="252"/>
                  </a:lnTo>
                  <a:lnTo>
                    <a:pt x="120" y="258"/>
                  </a:lnTo>
                  <a:lnTo>
                    <a:pt x="114" y="258"/>
                  </a:lnTo>
                  <a:lnTo>
                    <a:pt x="120" y="258"/>
                  </a:lnTo>
                  <a:close/>
                  <a:moveTo>
                    <a:pt x="78" y="96"/>
                  </a:moveTo>
                  <a:lnTo>
                    <a:pt x="78" y="102"/>
                  </a:lnTo>
                  <a:lnTo>
                    <a:pt x="78" y="96"/>
                  </a:lnTo>
                  <a:lnTo>
                    <a:pt x="84" y="102"/>
                  </a:lnTo>
                  <a:lnTo>
                    <a:pt x="90" y="102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02" y="78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102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90" y="60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60"/>
                  </a:lnTo>
                  <a:lnTo>
                    <a:pt x="78" y="60"/>
                  </a:lnTo>
                  <a:lnTo>
                    <a:pt x="78" y="66"/>
                  </a:lnTo>
                  <a:lnTo>
                    <a:pt x="78" y="72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78" y="90"/>
                  </a:lnTo>
                  <a:lnTo>
                    <a:pt x="78" y="96"/>
                  </a:lnTo>
                  <a:close/>
                  <a:moveTo>
                    <a:pt x="60" y="294"/>
                  </a:moveTo>
                  <a:lnTo>
                    <a:pt x="60" y="300"/>
                  </a:lnTo>
                  <a:lnTo>
                    <a:pt x="66" y="300"/>
                  </a:lnTo>
                  <a:lnTo>
                    <a:pt x="72" y="300"/>
                  </a:lnTo>
                  <a:lnTo>
                    <a:pt x="72" y="306"/>
                  </a:lnTo>
                  <a:lnTo>
                    <a:pt x="72" y="312"/>
                  </a:lnTo>
                  <a:lnTo>
                    <a:pt x="72" y="318"/>
                  </a:lnTo>
                  <a:lnTo>
                    <a:pt x="78" y="318"/>
                  </a:lnTo>
                  <a:lnTo>
                    <a:pt x="72" y="318"/>
                  </a:lnTo>
                  <a:lnTo>
                    <a:pt x="72" y="312"/>
                  </a:lnTo>
                  <a:lnTo>
                    <a:pt x="78" y="312"/>
                  </a:lnTo>
                  <a:lnTo>
                    <a:pt x="78" y="306"/>
                  </a:lnTo>
                  <a:lnTo>
                    <a:pt x="78" y="300"/>
                  </a:lnTo>
                  <a:lnTo>
                    <a:pt x="78" y="294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8" y="288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78" y="282"/>
                  </a:lnTo>
                  <a:lnTo>
                    <a:pt x="78" y="276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78" y="258"/>
                  </a:lnTo>
                  <a:lnTo>
                    <a:pt x="78" y="264"/>
                  </a:lnTo>
                  <a:lnTo>
                    <a:pt x="78" y="270"/>
                  </a:lnTo>
                  <a:lnTo>
                    <a:pt x="78" y="276"/>
                  </a:lnTo>
                  <a:lnTo>
                    <a:pt x="72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72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6" y="288"/>
                  </a:lnTo>
                  <a:lnTo>
                    <a:pt x="72" y="288"/>
                  </a:lnTo>
                  <a:lnTo>
                    <a:pt x="66" y="288"/>
                  </a:lnTo>
                  <a:lnTo>
                    <a:pt x="72" y="294"/>
                  </a:lnTo>
                  <a:lnTo>
                    <a:pt x="66" y="294"/>
                  </a:lnTo>
                  <a:lnTo>
                    <a:pt x="60" y="294"/>
                  </a:lnTo>
                  <a:close/>
                  <a:moveTo>
                    <a:pt x="0" y="354"/>
                  </a:moveTo>
                  <a:lnTo>
                    <a:pt x="6" y="354"/>
                  </a:lnTo>
                  <a:lnTo>
                    <a:pt x="6" y="360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18" y="354"/>
                  </a:lnTo>
                  <a:lnTo>
                    <a:pt x="24" y="354"/>
                  </a:lnTo>
                  <a:lnTo>
                    <a:pt x="24" y="360"/>
                  </a:lnTo>
                  <a:lnTo>
                    <a:pt x="30" y="360"/>
                  </a:lnTo>
                  <a:lnTo>
                    <a:pt x="30" y="354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42" y="348"/>
                  </a:lnTo>
                  <a:lnTo>
                    <a:pt x="48" y="348"/>
                  </a:lnTo>
                  <a:lnTo>
                    <a:pt x="48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2" y="330"/>
                  </a:lnTo>
                  <a:lnTo>
                    <a:pt x="36" y="330"/>
                  </a:lnTo>
                  <a:lnTo>
                    <a:pt x="36" y="336"/>
                  </a:lnTo>
                  <a:lnTo>
                    <a:pt x="36" y="330"/>
                  </a:lnTo>
                  <a:lnTo>
                    <a:pt x="30" y="324"/>
                  </a:lnTo>
                  <a:lnTo>
                    <a:pt x="36" y="324"/>
                  </a:lnTo>
                  <a:lnTo>
                    <a:pt x="30" y="324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30" y="330"/>
                  </a:lnTo>
                  <a:lnTo>
                    <a:pt x="30" y="336"/>
                  </a:lnTo>
                  <a:lnTo>
                    <a:pt x="24" y="330"/>
                  </a:lnTo>
                  <a:lnTo>
                    <a:pt x="18" y="330"/>
                  </a:lnTo>
                  <a:lnTo>
                    <a:pt x="24" y="330"/>
                  </a:lnTo>
                  <a:lnTo>
                    <a:pt x="18" y="330"/>
                  </a:lnTo>
                  <a:lnTo>
                    <a:pt x="18" y="336"/>
                  </a:lnTo>
                  <a:lnTo>
                    <a:pt x="12" y="330"/>
                  </a:lnTo>
                  <a:lnTo>
                    <a:pt x="18" y="330"/>
                  </a:lnTo>
                  <a:lnTo>
                    <a:pt x="12" y="330"/>
                  </a:lnTo>
                  <a:lnTo>
                    <a:pt x="12" y="324"/>
                  </a:lnTo>
                  <a:lnTo>
                    <a:pt x="6" y="324"/>
                  </a:lnTo>
                  <a:lnTo>
                    <a:pt x="6" y="330"/>
                  </a:lnTo>
                  <a:lnTo>
                    <a:pt x="6" y="336"/>
                  </a:lnTo>
                  <a:lnTo>
                    <a:pt x="12" y="342"/>
                  </a:lnTo>
                  <a:lnTo>
                    <a:pt x="6" y="342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6" y="348"/>
                  </a:lnTo>
                  <a:lnTo>
                    <a:pt x="12" y="348"/>
                  </a:lnTo>
                  <a:lnTo>
                    <a:pt x="6" y="348"/>
                  </a:lnTo>
                  <a:lnTo>
                    <a:pt x="6" y="354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0" y="354"/>
                  </a:lnTo>
                  <a:lnTo>
                    <a:pt x="6" y="348"/>
                  </a:lnTo>
                  <a:lnTo>
                    <a:pt x="0" y="348"/>
                  </a:lnTo>
                  <a:lnTo>
                    <a:pt x="0" y="354"/>
                  </a:lnTo>
                  <a:close/>
                  <a:moveTo>
                    <a:pt x="84" y="60"/>
                  </a:moveTo>
                  <a:lnTo>
                    <a:pt x="90" y="60"/>
                  </a:lnTo>
                  <a:lnTo>
                    <a:pt x="96" y="60"/>
                  </a:lnTo>
                  <a:lnTo>
                    <a:pt x="96" y="54"/>
                  </a:lnTo>
                  <a:lnTo>
                    <a:pt x="90" y="54"/>
                  </a:lnTo>
                  <a:lnTo>
                    <a:pt x="96" y="54"/>
                  </a:lnTo>
                  <a:lnTo>
                    <a:pt x="90" y="54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2" y="66"/>
                  </a:lnTo>
                  <a:lnTo>
                    <a:pt x="102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66"/>
                  </a:lnTo>
                  <a:lnTo>
                    <a:pt x="108" y="66"/>
                  </a:lnTo>
                  <a:lnTo>
                    <a:pt x="108" y="60"/>
                  </a:lnTo>
                  <a:lnTo>
                    <a:pt x="108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54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8" y="36"/>
                  </a:lnTo>
                  <a:lnTo>
                    <a:pt x="114" y="36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20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02" y="6"/>
                  </a:lnTo>
                  <a:lnTo>
                    <a:pt x="102" y="12"/>
                  </a:lnTo>
                  <a:lnTo>
                    <a:pt x="102" y="6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90" y="24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96" y="30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0" y="54"/>
                  </a:lnTo>
                  <a:lnTo>
                    <a:pt x="90" y="60"/>
                  </a:lnTo>
                  <a:lnTo>
                    <a:pt x="84" y="54"/>
                  </a:lnTo>
                  <a:lnTo>
                    <a:pt x="84" y="60"/>
                  </a:lnTo>
                  <a:close/>
                  <a:moveTo>
                    <a:pt x="258" y="294"/>
                  </a:moveTo>
                  <a:lnTo>
                    <a:pt x="252" y="294"/>
                  </a:lnTo>
                  <a:lnTo>
                    <a:pt x="246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34" y="288"/>
                  </a:lnTo>
                  <a:lnTo>
                    <a:pt x="228" y="288"/>
                  </a:lnTo>
                  <a:lnTo>
                    <a:pt x="228" y="282"/>
                  </a:lnTo>
                  <a:lnTo>
                    <a:pt x="222" y="282"/>
                  </a:lnTo>
                  <a:lnTo>
                    <a:pt x="222" y="276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16" y="264"/>
                  </a:lnTo>
                  <a:lnTo>
                    <a:pt x="216" y="258"/>
                  </a:lnTo>
                  <a:lnTo>
                    <a:pt x="210" y="258"/>
                  </a:lnTo>
                  <a:lnTo>
                    <a:pt x="210" y="264"/>
                  </a:lnTo>
                  <a:lnTo>
                    <a:pt x="204" y="264"/>
                  </a:lnTo>
                  <a:lnTo>
                    <a:pt x="204" y="258"/>
                  </a:lnTo>
                  <a:lnTo>
                    <a:pt x="198" y="258"/>
                  </a:lnTo>
                  <a:lnTo>
                    <a:pt x="192" y="258"/>
                  </a:lnTo>
                  <a:lnTo>
                    <a:pt x="192" y="252"/>
                  </a:lnTo>
                  <a:lnTo>
                    <a:pt x="192" y="246"/>
                  </a:lnTo>
                  <a:lnTo>
                    <a:pt x="186" y="246"/>
                  </a:lnTo>
                  <a:lnTo>
                    <a:pt x="186" y="240"/>
                  </a:lnTo>
                  <a:lnTo>
                    <a:pt x="186" y="234"/>
                  </a:lnTo>
                  <a:lnTo>
                    <a:pt x="186" y="228"/>
                  </a:lnTo>
                  <a:lnTo>
                    <a:pt x="186" y="222"/>
                  </a:lnTo>
                  <a:lnTo>
                    <a:pt x="186" y="228"/>
                  </a:lnTo>
                  <a:lnTo>
                    <a:pt x="180" y="228"/>
                  </a:lnTo>
                  <a:lnTo>
                    <a:pt x="174" y="228"/>
                  </a:lnTo>
                  <a:lnTo>
                    <a:pt x="168" y="228"/>
                  </a:lnTo>
                  <a:lnTo>
                    <a:pt x="168" y="222"/>
                  </a:lnTo>
                  <a:lnTo>
                    <a:pt x="162" y="222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56" y="222"/>
                  </a:lnTo>
                  <a:lnTo>
                    <a:pt x="156" y="228"/>
                  </a:lnTo>
                  <a:lnTo>
                    <a:pt x="156" y="222"/>
                  </a:lnTo>
                  <a:lnTo>
                    <a:pt x="156" y="228"/>
                  </a:lnTo>
                  <a:lnTo>
                    <a:pt x="156" y="222"/>
                  </a:lnTo>
                  <a:lnTo>
                    <a:pt x="150" y="222"/>
                  </a:lnTo>
                  <a:lnTo>
                    <a:pt x="150" y="228"/>
                  </a:lnTo>
                  <a:lnTo>
                    <a:pt x="150" y="234"/>
                  </a:lnTo>
                  <a:lnTo>
                    <a:pt x="156" y="234"/>
                  </a:lnTo>
                  <a:lnTo>
                    <a:pt x="156" y="240"/>
                  </a:lnTo>
                  <a:lnTo>
                    <a:pt x="150" y="246"/>
                  </a:lnTo>
                  <a:lnTo>
                    <a:pt x="150" y="252"/>
                  </a:lnTo>
                  <a:lnTo>
                    <a:pt x="156" y="252"/>
                  </a:lnTo>
                  <a:lnTo>
                    <a:pt x="162" y="252"/>
                  </a:lnTo>
                  <a:lnTo>
                    <a:pt x="156" y="252"/>
                  </a:lnTo>
                  <a:lnTo>
                    <a:pt x="162" y="252"/>
                  </a:lnTo>
                  <a:lnTo>
                    <a:pt x="162" y="258"/>
                  </a:lnTo>
                  <a:lnTo>
                    <a:pt x="162" y="252"/>
                  </a:lnTo>
                  <a:lnTo>
                    <a:pt x="168" y="252"/>
                  </a:lnTo>
                  <a:lnTo>
                    <a:pt x="168" y="258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64"/>
                  </a:lnTo>
                  <a:lnTo>
                    <a:pt x="174" y="258"/>
                  </a:lnTo>
                  <a:lnTo>
                    <a:pt x="174" y="264"/>
                  </a:lnTo>
                  <a:lnTo>
                    <a:pt x="174" y="270"/>
                  </a:lnTo>
                  <a:lnTo>
                    <a:pt x="168" y="270"/>
                  </a:lnTo>
                  <a:lnTo>
                    <a:pt x="168" y="264"/>
                  </a:lnTo>
                  <a:lnTo>
                    <a:pt x="168" y="270"/>
                  </a:lnTo>
                  <a:lnTo>
                    <a:pt x="174" y="270"/>
                  </a:lnTo>
                  <a:lnTo>
                    <a:pt x="180" y="270"/>
                  </a:lnTo>
                  <a:lnTo>
                    <a:pt x="174" y="270"/>
                  </a:lnTo>
                  <a:lnTo>
                    <a:pt x="180" y="270"/>
                  </a:lnTo>
                  <a:lnTo>
                    <a:pt x="180" y="264"/>
                  </a:lnTo>
                  <a:lnTo>
                    <a:pt x="174" y="264"/>
                  </a:lnTo>
                  <a:lnTo>
                    <a:pt x="174" y="258"/>
                  </a:lnTo>
                  <a:lnTo>
                    <a:pt x="174" y="264"/>
                  </a:lnTo>
                  <a:lnTo>
                    <a:pt x="180" y="264"/>
                  </a:lnTo>
                  <a:lnTo>
                    <a:pt x="180" y="258"/>
                  </a:lnTo>
                  <a:lnTo>
                    <a:pt x="180" y="264"/>
                  </a:lnTo>
                  <a:lnTo>
                    <a:pt x="180" y="270"/>
                  </a:lnTo>
                  <a:lnTo>
                    <a:pt x="180" y="264"/>
                  </a:lnTo>
                  <a:lnTo>
                    <a:pt x="186" y="264"/>
                  </a:lnTo>
                  <a:lnTo>
                    <a:pt x="186" y="270"/>
                  </a:lnTo>
                  <a:lnTo>
                    <a:pt x="180" y="270"/>
                  </a:lnTo>
                  <a:lnTo>
                    <a:pt x="186" y="270"/>
                  </a:lnTo>
                  <a:lnTo>
                    <a:pt x="180" y="270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82"/>
                  </a:lnTo>
                  <a:lnTo>
                    <a:pt x="186" y="276"/>
                  </a:lnTo>
                  <a:lnTo>
                    <a:pt x="192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6" y="276"/>
                  </a:lnTo>
                  <a:lnTo>
                    <a:pt x="192" y="276"/>
                  </a:lnTo>
                  <a:lnTo>
                    <a:pt x="198" y="276"/>
                  </a:lnTo>
                  <a:lnTo>
                    <a:pt x="198" y="282"/>
                  </a:lnTo>
                  <a:lnTo>
                    <a:pt x="198" y="276"/>
                  </a:lnTo>
                  <a:lnTo>
                    <a:pt x="198" y="282"/>
                  </a:lnTo>
                  <a:lnTo>
                    <a:pt x="198" y="276"/>
                  </a:lnTo>
                  <a:lnTo>
                    <a:pt x="198" y="282"/>
                  </a:lnTo>
                  <a:lnTo>
                    <a:pt x="204" y="276"/>
                  </a:lnTo>
                  <a:lnTo>
                    <a:pt x="210" y="276"/>
                  </a:lnTo>
                  <a:lnTo>
                    <a:pt x="210" y="282"/>
                  </a:lnTo>
                  <a:lnTo>
                    <a:pt x="216" y="282"/>
                  </a:lnTo>
                  <a:lnTo>
                    <a:pt x="216" y="288"/>
                  </a:lnTo>
                  <a:lnTo>
                    <a:pt x="216" y="294"/>
                  </a:lnTo>
                  <a:lnTo>
                    <a:pt x="216" y="300"/>
                  </a:lnTo>
                  <a:lnTo>
                    <a:pt x="216" y="306"/>
                  </a:lnTo>
                  <a:lnTo>
                    <a:pt x="222" y="306"/>
                  </a:lnTo>
                  <a:lnTo>
                    <a:pt x="222" y="312"/>
                  </a:lnTo>
                  <a:lnTo>
                    <a:pt x="228" y="312"/>
                  </a:lnTo>
                  <a:lnTo>
                    <a:pt x="228" y="318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16" y="312"/>
                  </a:lnTo>
                  <a:lnTo>
                    <a:pt x="210" y="312"/>
                  </a:lnTo>
                  <a:lnTo>
                    <a:pt x="210" y="306"/>
                  </a:lnTo>
                  <a:lnTo>
                    <a:pt x="210" y="312"/>
                  </a:lnTo>
                  <a:lnTo>
                    <a:pt x="210" y="306"/>
                  </a:lnTo>
                  <a:lnTo>
                    <a:pt x="210" y="312"/>
                  </a:lnTo>
                  <a:lnTo>
                    <a:pt x="204" y="312"/>
                  </a:lnTo>
                  <a:lnTo>
                    <a:pt x="204" y="318"/>
                  </a:lnTo>
                  <a:lnTo>
                    <a:pt x="198" y="312"/>
                  </a:lnTo>
                  <a:lnTo>
                    <a:pt x="192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2" y="306"/>
                  </a:lnTo>
                  <a:lnTo>
                    <a:pt x="192" y="300"/>
                  </a:lnTo>
                  <a:lnTo>
                    <a:pt x="192" y="294"/>
                  </a:lnTo>
                  <a:lnTo>
                    <a:pt x="192" y="300"/>
                  </a:lnTo>
                  <a:lnTo>
                    <a:pt x="198" y="300"/>
                  </a:lnTo>
                  <a:lnTo>
                    <a:pt x="198" y="294"/>
                  </a:lnTo>
                  <a:lnTo>
                    <a:pt x="198" y="288"/>
                  </a:lnTo>
                  <a:lnTo>
                    <a:pt x="192" y="288"/>
                  </a:lnTo>
                  <a:lnTo>
                    <a:pt x="186" y="288"/>
                  </a:lnTo>
                  <a:lnTo>
                    <a:pt x="186" y="282"/>
                  </a:lnTo>
                  <a:lnTo>
                    <a:pt x="186" y="288"/>
                  </a:lnTo>
                  <a:lnTo>
                    <a:pt x="180" y="288"/>
                  </a:lnTo>
                  <a:lnTo>
                    <a:pt x="186" y="288"/>
                  </a:lnTo>
                  <a:lnTo>
                    <a:pt x="180" y="288"/>
                  </a:lnTo>
                  <a:lnTo>
                    <a:pt x="186" y="282"/>
                  </a:lnTo>
                  <a:lnTo>
                    <a:pt x="186" y="276"/>
                  </a:lnTo>
                  <a:lnTo>
                    <a:pt x="186" y="282"/>
                  </a:lnTo>
                  <a:lnTo>
                    <a:pt x="180" y="282"/>
                  </a:lnTo>
                  <a:lnTo>
                    <a:pt x="180" y="276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8" y="282"/>
                  </a:lnTo>
                  <a:lnTo>
                    <a:pt x="168" y="288"/>
                  </a:lnTo>
                  <a:lnTo>
                    <a:pt x="168" y="294"/>
                  </a:lnTo>
                  <a:lnTo>
                    <a:pt x="162" y="294"/>
                  </a:lnTo>
                  <a:lnTo>
                    <a:pt x="168" y="294"/>
                  </a:lnTo>
                  <a:lnTo>
                    <a:pt x="168" y="300"/>
                  </a:lnTo>
                  <a:lnTo>
                    <a:pt x="174" y="300"/>
                  </a:lnTo>
                  <a:lnTo>
                    <a:pt x="174" y="306"/>
                  </a:lnTo>
                  <a:lnTo>
                    <a:pt x="174" y="312"/>
                  </a:lnTo>
                  <a:lnTo>
                    <a:pt x="180" y="318"/>
                  </a:lnTo>
                  <a:lnTo>
                    <a:pt x="186" y="318"/>
                  </a:lnTo>
                  <a:lnTo>
                    <a:pt x="186" y="324"/>
                  </a:lnTo>
                  <a:lnTo>
                    <a:pt x="186" y="318"/>
                  </a:lnTo>
                  <a:lnTo>
                    <a:pt x="192" y="318"/>
                  </a:lnTo>
                  <a:lnTo>
                    <a:pt x="192" y="324"/>
                  </a:lnTo>
                  <a:lnTo>
                    <a:pt x="198" y="324"/>
                  </a:lnTo>
                  <a:lnTo>
                    <a:pt x="198" y="330"/>
                  </a:lnTo>
                  <a:lnTo>
                    <a:pt x="192" y="330"/>
                  </a:lnTo>
                  <a:lnTo>
                    <a:pt x="198" y="330"/>
                  </a:lnTo>
                  <a:lnTo>
                    <a:pt x="204" y="336"/>
                  </a:lnTo>
                  <a:lnTo>
                    <a:pt x="198" y="336"/>
                  </a:lnTo>
                  <a:lnTo>
                    <a:pt x="204" y="336"/>
                  </a:lnTo>
                  <a:lnTo>
                    <a:pt x="204" y="330"/>
                  </a:lnTo>
                  <a:lnTo>
                    <a:pt x="210" y="330"/>
                  </a:lnTo>
                  <a:lnTo>
                    <a:pt x="204" y="336"/>
                  </a:lnTo>
                  <a:lnTo>
                    <a:pt x="204" y="342"/>
                  </a:lnTo>
                  <a:lnTo>
                    <a:pt x="198" y="342"/>
                  </a:lnTo>
                  <a:lnTo>
                    <a:pt x="204" y="336"/>
                  </a:lnTo>
                  <a:lnTo>
                    <a:pt x="198" y="336"/>
                  </a:lnTo>
                  <a:lnTo>
                    <a:pt x="198" y="342"/>
                  </a:lnTo>
                  <a:lnTo>
                    <a:pt x="198" y="348"/>
                  </a:lnTo>
                  <a:lnTo>
                    <a:pt x="198" y="354"/>
                  </a:lnTo>
                  <a:lnTo>
                    <a:pt x="192" y="354"/>
                  </a:lnTo>
                  <a:lnTo>
                    <a:pt x="192" y="360"/>
                  </a:lnTo>
                  <a:lnTo>
                    <a:pt x="186" y="360"/>
                  </a:lnTo>
                  <a:lnTo>
                    <a:pt x="192" y="360"/>
                  </a:lnTo>
                  <a:lnTo>
                    <a:pt x="198" y="360"/>
                  </a:lnTo>
                  <a:lnTo>
                    <a:pt x="204" y="354"/>
                  </a:lnTo>
                  <a:lnTo>
                    <a:pt x="204" y="348"/>
                  </a:lnTo>
                  <a:lnTo>
                    <a:pt x="210" y="348"/>
                  </a:lnTo>
                  <a:lnTo>
                    <a:pt x="216" y="342"/>
                  </a:lnTo>
                  <a:lnTo>
                    <a:pt x="216" y="336"/>
                  </a:lnTo>
                  <a:lnTo>
                    <a:pt x="222" y="336"/>
                  </a:lnTo>
                  <a:lnTo>
                    <a:pt x="222" y="330"/>
                  </a:lnTo>
                  <a:lnTo>
                    <a:pt x="228" y="330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40" y="324"/>
                  </a:lnTo>
                  <a:lnTo>
                    <a:pt x="246" y="324"/>
                  </a:lnTo>
                  <a:lnTo>
                    <a:pt x="252" y="324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64" y="330"/>
                  </a:lnTo>
                  <a:lnTo>
                    <a:pt x="264" y="336"/>
                  </a:lnTo>
                  <a:lnTo>
                    <a:pt x="258" y="336"/>
                  </a:lnTo>
                  <a:lnTo>
                    <a:pt x="258" y="342"/>
                  </a:lnTo>
                  <a:lnTo>
                    <a:pt x="252" y="342"/>
                  </a:lnTo>
                  <a:lnTo>
                    <a:pt x="252" y="348"/>
                  </a:lnTo>
                  <a:lnTo>
                    <a:pt x="258" y="354"/>
                  </a:lnTo>
                  <a:lnTo>
                    <a:pt x="258" y="360"/>
                  </a:lnTo>
                  <a:lnTo>
                    <a:pt x="264" y="360"/>
                  </a:lnTo>
                  <a:lnTo>
                    <a:pt x="264" y="354"/>
                  </a:lnTo>
                  <a:lnTo>
                    <a:pt x="270" y="354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2" y="348"/>
                  </a:lnTo>
                  <a:lnTo>
                    <a:pt x="282" y="342"/>
                  </a:lnTo>
                  <a:lnTo>
                    <a:pt x="288" y="342"/>
                  </a:lnTo>
                  <a:lnTo>
                    <a:pt x="288" y="336"/>
                  </a:lnTo>
                  <a:lnTo>
                    <a:pt x="288" y="330"/>
                  </a:lnTo>
                  <a:lnTo>
                    <a:pt x="288" y="324"/>
                  </a:lnTo>
                  <a:lnTo>
                    <a:pt x="294" y="324"/>
                  </a:lnTo>
                  <a:lnTo>
                    <a:pt x="288" y="324"/>
                  </a:lnTo>
                  <a:lnTo>
                    <a:pt x="288" y="318"/>
                  </a:lnTo>
                  <a:lnTo>
                    <a:pt x="282" y="312"/>
                  </a:lnTo>
                  <a:lnTo>
                    <a:pt x="276" y="312"/>
                  </a:lnTo>
                  <a:lnTo>
                    <a:pt x="276" y="306"/>
                  </a:lnTo>
                  <a:lnTo>
                    <a:pt x="270" y="312"/>
                  </a:lnTo>
                  <a:lnTo>
                    <a:pt x="264" y="312"/>
                  </a:lnTo>
                  <a:lnTo>
                    <a:pt x="258" y="312"/>
                  </a:lnTo>
                  <a:lnTo>
                    <a:pt x="258" y="318"/>
                  </a:lnTo>
                  <a:lnTo>
                    <a:pt x="252" y="318"/>
                  </a:lnTo>
                  <a:lnTo>
                    <a:pt x="252" y="312"/>
                  </a:lnTo>
                  <a:lnTo>
                    <a:pt x="246" y="318"/>
                  </a:lnTo>
                  <a:lnTo>
                    <a:pt x="246" y="312"/>
                  </a:lnTo>
                  <a:lnTo>
                    <a:pt x="240" y="312"/>
                  </a:lnTo>
                  <a:lnTo>
                    <a:pt x="246" y="312"/>
                  </a:lnTo>
                  <a:lnTo>
                    <a:pt x="246" y="306"/>
                  </a:lnTo>
                  <a:lnTo>
                    <a:pt x="252" y="306"/>
                  </a:lnTo>
                  <a:lnTo>
                    <a:pt x="258" y="300"/>
                  </a:lnTo>
                  <a:lnTo>
                    <a:pt x="258" y="29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70" name="Freeform 46"/>
            <p:cNvSpPr>
              <a:spLocks noChangeAspect="1" noEditPoints="1"/>
            </p:cNvSpPr>
            <p:nvPr/>
          </p:nvSpPr>
          <p:spPr bwMode="auto">
            <a:xfrm>
              <a:off x="1910515" y="5451202"/>
              <a:ext cx="282042" cy="236553"/>
            </a:xfrm>
            <a:custGeom>
              <a:avLst/>
              <a:gdLst>
                <a:gd name="T0" fmla="*/ 2147483647 w 222"/>
                <a:gd name="T1" fmla="*/ 2147483647 h 186"/>
                <a:gd name="T2" fmla="*/ 2147483647 w 222"/>
                <a:gd name="T3" fmla="*/ 2147483647 h 186"/>
                <a:gd name="T4" fmla="*/ 2147483647 w 222"/>
                <a:gd name="T5" fmla="*/ 2147483647 h 186"/>
                <a:gd name="T6" fmla="*/ 2147483647 w 222"/>
                <a:gd name="T7" fmla="*/ 2147483647 h 186"/>
                <a:gd name="T8" fmla="*/ 2147483647 w 222"/>
                <a:gd name="T9" fmla="*/ 2147483647 h 186"/>
                <a:gd name="T10" fmla="*/ 2147483647 w 222"/>
                <a:gd name="T11" fmla="*/ 2147483647 h 186"/>
                <a:gd name="T12" fmla="*/ 2147483647 w 222"/>
                <a:gd name="T13" fmla="*/ 2147483647 h 186"/>
                <a:gd name="T14" fmla="*/ 2147483647 w 222"/>
                <a:gd name="T15" fmla="*/ 2147483647 h 186"/>
                <a:gd name="T16" fmla="*/ 2147483647 w 222"/>
                <a:gd name="T17" fmla="*/ 2147483647 h 186"/>
                <a:gd name="T18" fmla="*/ 2147483647 w 222"/>
                <a:gd name="T19" fmla="*/ 2147483647 h 186"/>
                <a:gd name="T20" fmla="*/ 2147483647 w 222"/>
                <a:gd name="T21" fmla="*/ 2147483647 h 186"/>
                <a:gd name="T22" fmla="*/ 2147483647 w 222"/>
                <a:gd name="T23" fmla="*/ 2147483647 h 186"/>
                <a:gd name="T24" fmla="*/ 2147483647 w 222"/>
                <a:gd name="T25" fmla="*/ 2147483647 h 186"/>
                <a:gd name="T26" fmla="*/ 2147483647 w 222"/>
                <a:gd name="T27" fmla="*/ 2147483647 h 186"/>
                <a:gd name="T28" fmla="*/ 2147483647 w 222"/>
                <a:gd name="T29" fmla="*/ 2147483647 h 186"/>
                <a:gd name="T30" fmla="*/ 2147483647 w 222"/>
                <a:gd name="T31" fmla="*/ 2147483647 h 186"/>
                <a:gd name="T32" fmla="*/ 2147483647 w 222"/>
                <a:gd name="T33" fmla="*/ 2147483647 h 186"/>
                <a:gd name="T34" fmla="*/ 2147483647 w 222"/>
                <a:gd name="T35" fmla="*/ 2147483647 h 186"/>
                <a:gd name="T36" fmla="*/ 2147483647 w 222"/>
                <a:gd name="T37" fmla="*/ 2147483647 h 186"/>
                <a:gd name="T38" fmla="*/ 2147483647 w 222"/>
                <a:gd name="T39" fmla="*/ 2147483647 h 186"/>
                <a:gd name="T40" fmla="*/ 2147483647 w 222"/>
                <a:gd name="T41" fmla="*/ 2147483647 h 186"/>
                <a:gd name="T42" fmla="*/ 2147483647 w 222"/>
                <a:gd name="T43" fmla="*/ 2147483647 h 186"/>
                <a:gd name="T44" fmla="*/ 2147483647 w 222"/>
                <a:gd name="T45" fmla="*/ 2147483647 h 186"/>
                <a:gd name="T46" fmla="*/ 2147483647 w 222"/>
                <a:gd name="T47" fmla="*/ 2147483647 h 186"/>
                <a:gd name="T48" fmla="*/ 2147483647 w 222"/>
                <a:gd name="T49" fmla="*/ 2147483647 h 186"/>
                <a:gd name="T50" fmla="*/ 2147483647 w 222"/>
                <a:gd name="T51" fmla="*/ 2147483647 h 186"/>
                <a:gd name="T52" fmla="*/ 2147483647 w 222"/>
                <a:gd name="T53" fmla="*/ 2147483647 h 186"/>
                <a:gd name="T54" fmla="*/ 2147483647 w 222"/>
                <a:gd name="T55" fmla="*/ 2147483647 h 186"/>
                <a:gd name="T56" fmla="*/ 2147483647 w 222"/>
                <a:gd name="T57" fmla="*/ 2147483647 h 186"/>
                <a:gd name="T58" fmla="*/ 2147483647 w 222"/>
                <a:gd name="T59" fmla="*/ 2147483647 h 186"/>
                <a:gd name="T60" fmla="*/ 2147483647 w 222"/>
                <a:gd name="T61" fmla="*/ 2147483647 h 186"/>
                <a:gd name="T62" fmla="*/ 2147483647 w 222"/>
                <a:gd name="T63" fmla="*/ 2147483647 h 186"/>
                <a:gd name="T64" fmla="*/ 2147483647 w 222"/>
                <a:gd name="T65" fmla="*/ 2147483647 h 186"/>
                <a:gd name="T66" fmla="*/ 2147483647 w 222"/>
                <a:gd name="T67" fmla="*/ 2147483647 h 186"/>
                <a:gd name="T68" fmla="*/ 2147483647 w 222"/>
                <a:gd name="T69" fmla="*/ 2147483647 h 186"/>
                <a:gd name="T70" fmla="*/ 2147483647 w 222"/>
                <a:gd name="T71" fmla="*/ 2147483647 h 186"/>
                <a:gd name="T72" fmla="*/ 2147483647 w 222"/>
                <a:gd name="T73" fmla="*/ 2147483647 h 186"/>
                <a:gd name="T74" fmla="*/ 2147483647 w 222"/>
                <a:gd name="T75" fmla="*/ 0 h 186"/>
                <a:gd name="T76" fmla="*/ 2147483647 w 222"/>
                <a:gd name="T77" fmla="*/ 2147483647 h 186"/>
                <a:gd name="T78" fmla="*/ 2147483647 w 222"/>
                <a:gd name="T79" fmla="*/ 2147483647 h 186"/>
                <a:gd name="T80" fmla="*/ 2147483647 w 222"/>
                <a:gd name="T81" fmla="*/ 2147483647 h 186"/>
                <a:gd name="T82" fmla="*/ 2147483647 w 222"/>
                <a:gd name="T83" fmla="*/ 2147483647 h 186"/>
                <a:gd name="T84" fmla="*/ 2147483647 w 222"/>
                <a:gd name="T85" fmla="*/ 2147483647 h 186"/>
                <a:gd name="T86" fmla="*/ 2147483647 w 222"/>
                <a:gd name="T87" fmla="*/ 2147483647 h 186"/>
                <a:gd name="T88" fmla="*/ 2147483647 w 222"/>
                <a:gd name="T89" fmla="*/ 2147483647 h 186"/>
                <a:gd name="T90" fmla="*/ 2147483647 w 222"/>
                <a:gd name="T91" fmla="*/ 2147483647 h 186"/>
                <a:gd name="T92" fmla="*/ 2147483647 w 222"/>
                <a:gd name="T93" fmla="*/ 2147483647 h 186"/>
                <a:gd name="T94" fmla="*/ 2147483647 w 222"/>
                <a:gd name="T95" fmla="*/ 2147483647 h 186"/>
                <a:gd name="T96" fmla="*/ 2147483647 w 222"/>
                <a:gd name="T97" fmla="*/ 2147483647 h 186"/>
                <a:gd name="T98" fmla="*/ 2147483647 w 222"/>
                <a:gd name="T99" fmla="*/ 2147483647 h 186"/>
                <a:gd name="T100" fmla="*/ 2147483647 w 222"/>
                <a:gd name="T101" fmla="*/ 2147483647 h 186"/>
                <a:gd name="T102" fmla="*/ 2147483647 w 222"/>
                <a:gd name="T103" fmla="*/ 2147483647 h 186"/>
                <a:gd name="T104" fmla="*/ 2147483647 w 222"/>
                <a:gd name="T105" fmla="*/ 2147483647 h 186"/>
                <a:gd name="T106" fmla="*/ 2147483647 w 222"/>
                <a:gd name="T107" fmla="*/ 2147483647 h 186"/>
                <a:gd name="T108" fmla="*/ 2147483647 w 222"/>
                <a:gd name="T109" fmla="*/ 2147483647 h 18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22"/>
                <a:gd name="T166" fmla="*/ 0 h 186"/>
                <a:gd name="T167" fmla="*/ 222 w 222"/>
                <a:gd name="T168" fmla="*/ 186 h 18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22" h="186">
                  <a:moveTo>
                    <a:pt x="72" y="138"/>
                  </a:moveTo>
                  <a:lnTo>
                    <a:pt x="78" y="138"/>
                  </a:lnTo>
                  <a:lnTo>
                    <a:pt x="72" y="138"/>
                  </a:lnTo>
                  <a:lnTo>
                    <a:pt x="72" y="132"/>
                  </a:lnTo>
                  <a:lnTo>
                    <a:pt x="72" y="138"/>
                  </a:lnTo>
                  <a:close/>
                  <a:moveTo>
                    <a:pt x="12" y="174"/>
                  </a:move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2" y="174"/>
                  </a:lnTo>
                  <a:close/>
                  <a:moveTo>
                    <a:pt x="78" y="108"/>
                  </a:moveTo>
                  <a:lnTo>
                    <a:pt x="84" y="108"/>
                  </a:lnTo>
                  <a:lnTo>
                    <a:pt x="84" y="102"/>
                  </a:lnTo>
                  <a:lnTo>
                    <a:pt x="78" y="102"/>
                  </a:lnTo>
                  <a:lnTo>
                    <a:pt x="78" y="108"/>
                  </a:lnTo>
                  <a:close/>
                  <a:moveTo>
                    <a:pt x="54" y="144"/>
                  </a:moveTo>
                  <a:lnTo>
                    <a:pt x="60" y="138"/>
                  </a:lnTo>
                  <a:lnTo>
                    <a:pt x="60" y="144"/>
                  </a:lnTo>
                  <a:lnTo>
                    <a:pt x="54" y="144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54" y="138"/>
                  </a:lnTo>
                  <a:lnTo>
                    <a:pt x="54" y="144"/>
                  </a:lnTo>
                  <a:close/>
                  <a:moveTo>
                    <a:pt x="84" y="102"/>
                  </a:moveTo>
                  <a:lnTo>
                    <a:pt x="84" y="96"/>
                  </a:lnTo>
                  <a:lnTo>
                    <a:pt x="78" y="96"/>
                  </a:lnTo>
                  <a:lnTo>
                    <a:pt x="84" y="102"/>
                  </a:lnTo>
                  <a:close/>
                  <a:moveTo>
                    <a:pt x="60" y="150"/>
                  </a:moveTo>
                  <a:lnTo>
                    <a:pt x="66" y="144"/>
                  </a:lnTo>
                  <a:lnTo>
                    <a:pt x="60" y="144"/>
                  </a:lnTo>
                  <a:lnTo>
                    <a:pt x="60" y="150"/>
                  </a:lnTo>
                  <a:lnTo>
                    <a:pt x="60" y="144"/>
                  </a:lnTo>
                  <a:lnTo>
                    <a:pt x="60" y="150"/>
                  </a:lnTo>
                  <a:lnTo>
                    <a:pt x="54" y="150"/>
                  </a:lnTo>
                  <a:lnTo>
                    <a:pt x="60" y="150"/>
                  </a:lnTo>
                  <a:close/>
                  <a:moveTo>
                    <a:pt x="72" y="102"/>
                  </a:moveTo>
                  <a:lnTo>
                    <a:pt x="72" y="108"/>
                  </a:lnTo>
                  <a:lnTo>
                    <a:pt x="78" y="108"/>
                  </a:lnTo>
                  <a:lnTo>
                    <a:pt x="78" y="102"/>
                  </a:lnTo>
                  <a:lnTo>
                    <a:pt x="78" y="96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72" y="102"/>
                  </a:lnTo>
                  <a:close/>
                  <a:moveTo>
                    <a:pt x="36" y="126"/>
                  </a:moveTo>
                  <a:lnTo>
                    <a:pt x="42" y="126"/>
                  </a:lnTo>
                  <a:lnTo>
                    <a:pt x="42" y="132"/>
                  </a:lnTo>
                  <a:lnTo>
                    <a:pt x="48" y="132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32"/>
                  </a:lnTo>
                  <a:lnTo>
                    <a:pt x="66" y="132"/>
                  </a:lnTo>
                  <a:lnTo>
                    <a:pt x="60" y="132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66" y="138"/>
                  </a:lnTo>
                  <a:lnTo>
                    <a:pt x="66" y="132"/>
                  </a:lnTo>
                  <a:lnTo>
                    <a:pt x="66" y="138"/>
                  </a:lnTo>
                  <a:lnTo>
                    <a:pt x="72" y="132"/>
                  </a:lnTo>
                  <a:lnTo>
                    <a:pt x="72" y="126"/>
                  </a:lnTo>
                  <a:lnTo>
                    <a:pt x="72" y="120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78" y="108"/>
                  </a:lnTo>
                  <a:lnTo>
                    <a:pt x="78" y="114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08"/>
                  </a:lnTo>
                  <a:lnTo>
                    <a:pt x="60" y="108"/>
                  </a:lnTo>
                  <a:lnTo>
                    <a:pt x="60" y="114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0"/>
                  </a:lnTo>
                  <a:lnTo>
                    <a:pt x="36" y="126"/>
                  </a:lnTo>
                  <a:close/>
                  <a:moveTo>
                    <a:pt x="6" y="162"/>
                  </a:moveTo>
                  <a:lnTo>
                    <a:pt x="6" y="156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6" y="144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18" y="108"/>
                  </a:lnTo>
                  <a:lnTo>
                    <a:pt x="18" y="114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6" y="108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0"/>
                  </a:lnTo>
                  <a:lnTo>
                    <a:pt x="6" y="126"/>
                  </a:lnTo>
                  <a:lnTo>
                    <a:pt x="6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0" y="138"/>
                  </a:lnTo>
                  <a:lnTo>
                    <a:pt x="0" y="144"/>
                  </a:lnTo>
                  <a:lnTo>
                    <a:pt x="6" y="144"/>
                  </a:lnTo>
                  <a:lnTo>
                    <a:pt x="6" y="150"/>
                  </a:lnTo>
                  <a:lnTo>
                    <a:pt x="12" y="150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6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6" y="162"/>
                  </a:lnTo>
                  <a:close/>
                  <a:moveTo>
                    <a:pt x="66" y="174"/>
                  </a:moveTo>
                  <a:lnTo>
                    <a:pt x="72" y="174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6" y="180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102" y="168"/>
                  </a:lnTo>
                  <a:lnTo>
                    <a:pt x="108" y="168"/>
                  </a:lnTo>
                  <a:lnTo>
                    <a:pt x="108" y="174"/>
                  </a:lnTo>
                  <a:lnTo>
                    <a:pt x="114" y="174"/>
                  </a:lnTo>
                  <a:lnTo>
                    <a:pt x="114" y="180"/>
                  </a:lnTo>
                  <a:lnTo>
                    <a:pt x="120" y="180"/>
                  </a:lnTo>
                  <a:lnTo>
                    <a:pt x="126" y="186"/>
                  </a:lnTo>
                  <a:lnTo>
                    <a:pt x="126" y="180"/>
                  </a:lnTo>
                  <a:lnTo>
                    <a:pt x="132" y="186"/>
                  </a:lnTo>
                  <a:lnTo>
                    <a:pt x="138" y="186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50" y="180"/>
                  </a:lnTo>
                  <a:lnTo>
                    <a:pt x="156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86" y="168"/>
                  </a:lnTo>
                  <a:lnTo>
                    <a:pt x="186" y="162"/>
                  </a:lnTo>
                  <a:lnTo>
                    <a:pt x="180" y="162"/>
                  </a:lnTo>
                  <a:lnTo>
                    <a:pt x="180" y="156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86" y="138"/>
                  </a:lnTo>
                  <a:lnTo>
                    <a:pt x="180" y="138"/>
                  </a:lnTo>
                  <a:lnTo>
                    <a:pt x="180" y="132"/>
                  </a:lnTo>
                  <a:lnTo>
                    <a:pt x="174" y="132"/>
                  </a:lnTo>
                  <a:lnTo>
                    <a:pt x="174" y="126"/>
                  </a:lnTo>
                  <a:lnTo>
                    <a:pt x="168" y="120"/>
                  </a:lnTo>
                  <a:lnTo>
                    <a:pt x="174" y="120"/>
                  </a:lnTo>
                  <a:lnTo>
                    <a:pt x="168" y="120"/>
                  </a:lnTo>
                  <a:lnTo>
                    <a:pt x="168" y="114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102"/>
                  </a:lnTo>
                  <a:lnTo>
                    <a:pt x="186" y="102"/>
                  </a:lnTo>
                  <a:lnTo>
                    <a:pt x="186" y="96"/>
                  </a:lnTo>
                  <a:lnTo>
                    <a:pt x="186" y="90"/>
                  </a:lnTo>
                  <a:lnTo>
                    <a:pt x="192" y="84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72"/>
                  </a:lnTo>
                  <a:lnTo>
                    <a:pt x="204" y="66"/>
                  </a:lnTo>
                  <a:lnTo>
                    <a:pt x="210" y="60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6" y="54"/>
                  </a:lnTo>
                  <a:lnTo>
                    <a:pt x="210" y="54"/>
                  </a:lnTo>
                  <a:lnTo>
                    <a:pt x="210" y="48"/>
                  </a:lnTo>
                  <a:lnTo>
                    <a:pt x="204" y="48"/>
                  </a:lnTo>
                  <a:lnTo>
                    <a:pt x="204" y="42"/>
                  </a:lnTo>
                  <a:lnTo>
                    <a:pt x="204" y="36"/>
                  </a:lnTo>
                  <a:lnTo>
                    <a:pt x="204" y="30"/>
                  </a:lnTo>
                  <a:lnTo>
                    <a:pt x="198" y="30"/>
                  </a:lnTo>
                  <a:lnTo>
                    <a:pt x="198" y="24"/>
                  </a:lnTo>
                  <a:lnTo>
                    <a:pt x="198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86" y="12"/>
                  </a:lnTo>
                  <a:lnTo>
                    <a:pt x="192" y="6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0"/>
                  </a:lnTo>
                  <a:lnTo>
                    <a:pt x="168" y="0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68" y="18"/>
                  </a:lnTo>
                  <a:lnTo>
                    <a:pt x="162" y="18"/>
                  </a:lnTo>
                  <a:lnTo>
                    <a:pt x="162" y="24"/>
                  </a:lnTo>
                  <a:lnTo>
                    <a:pt x="156" y="24"/>
                  </a:lnTo>
                  <a:lnTo>
                    <a:pt x="150" y="24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72" y="30"/>
                  </a:lnTo>
                  <a:lnTo>
                    <a:pt x="66" y="30"/>
                  </a:lnTo>
                  <a:lnTo>
                    <a:pt x="72" y="36"/>
                  </a:lnTo>
                  <a:lnTo>
                    <a:pt x="72" y="42"/>
                  </a:lnTo>
                  <a:lnTo>
                    <a:pt x="72" y="48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02" y="78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0" y="84"/>
                  </a:lnTo>
                  <a:lnTo>
                    <a:pt x="90" y="90"/>
                  </a:lnTo>
                  <a:lnTo>
                    <a:pt x="84" y="90"/>
                  </a:lnTo>
                  <a:lnTo>
                    <a:pt x="78" y="90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08" y="90"/>
                  </a:lnTo>
                  <a:lnTo>
                    <a:pt x="108" y="96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2"/>
                  </a:lnTo>
                  <a:lnTo>
                    <a:pt x="96" y="102"/>
                  </a:lnTo>
                  <a:lnTo>
                    <a:pt x="96" y="108"/>
                  </a:lnTo>
                  <a:lnTo>
                    <a:pt x="90" y="108"/>
                  </a:lnTo>
                  <a:lnTo>
                    <a:pt x="90" y="114"/>
                  </a:lnTo>
                  <a:lnTo>
                    <a:pt x="96" y="114"/>
                  </a:lnTo>
                  <a:lnTo>
                    <a:pt x="102" y="114"/>
                  </a:lnTo>
                  <a:lnTo>
                    <a:pt x="96" y="114"/>
                  </a:lnTo>
                  <a:lnTo>
                    <a:pt x="90" y="114"/>
                  </a:lnTo>
                  <a:lnTo>
                    <a:pt x="96" y="120"/>
                  </a:lnTo>
                  <a:lnTo>
                    <a:pt x="96" y="126"/>
                  </a:lnTo>
                  <a:lnTo>
                    <a:pt x="96" y="132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84" y="138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84" y="156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8" y="156"/>
                  </a:lnTo>
                  <a:lnTo>
                    <a:pt x="78" y="162"/>
                  </a:lnTo>
                  <a:lnTo>
                    <a:pt x="72" y="162"/>
                  </a:lnTo>
                  <a:lnTo>
                    <a:pt x="66" y="162"/>
                  </a:lnTo>
                  <a:lnTo>
                    <a:pt x="72" y="168"/>
                  </a:lnTo>
                  <a:lnTo>
                    <a:pt x="66" y="168"/>
                  </a:lnTo>
                  <a:lnTo>
                    <a:pt x="72" y="168"/>
                  </a:lnTo>
                  <a:lnTo>
                    <a:pt x="66" y="168"/>
                  </a:lnTo>
                  <a:lnTo>
                    <a:pt x="72" y="168"/>
                  </a:lnTo>
                  <a:lnTo>
                    <a:pt x="66" y="168"/>
                  </a:lnTo>
                  <a:lnTo>
                    <a:pt x="66" y="17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71" name="Freeform 47"/>
            <p:cNvSpPr>
              <a:spLocks noChangeAspect="1" noEditPoints="1"/>
            </p:cNvSpPr>
            <p:nvPr/>
          </p:nvSpPr>
          <p:spPr bwMode="auto">
            <a:xfrm>
              <a:off x="2079053" y="5330545"/>
              <a:ext cx="266564" cy="220677"/>
            </a:xfrm>
            <a:custGeom>
              <a:avLst/>
              <a:gdLst>
                <a:gd name="T0" fmla="*/ 2147483647 w 210"/>
                <a:gd name="T1" fmla="*/ 2147483647 h 174"/>
                <a:gd name="T2" fmla="*/ 2147483647 w 210"/>
                <a:gd name="T3" fmla="*/ 2147483647 h 174"/>
                <a:gd name="T4" fmla="*/ 2147483647 w 210"/>
                <a:gd name="T5" fmla="*/ 2147483647 h 174"/>
                <a:gd name="T6" fmla="*/ 2147483647 w 210"/>
                <a:gd name="T7" fmla="*/ 2147483647 h 174"/>
                <a:gd name="T8" fmla="*/ 2147483647 w 210"/>
                <a:gd name="T9" fmla="*/ 2147483647 h 174"/>
                <a:gd name="T10" fmla="*/ 2147483647 w 210"/>
                <a:gd name="T11" fmla="*/ 2147483647 h 174"/>
                <a:gd name="T12" fmla="*/ 2147483647 w 210"/>
                <a:gd name="T13" fmla="*/ 2147483647 h 174"/>
                <a:gd name="T14" fmla="*/ 2147483647 w 210"/>
                <a:gd name="T15" fmla="*/ 2147483647 h 174"/>
                <a:gd name="T16" fmla="*/ 2147483647 w 210"/>
                <a:gd name="T17" fmla="*/ 2147483647 h 174"/>
                <a:gd name="T18" fmla="*/ 2147483647 w 210"/>
                <a:gd name="T19" fmla="*/ 2147483647 h 174"/>
                <a:gd name="T20" fmla="*/ 2147483647 w 210"/>
                <a:gd name="T21" fmla="*/ 2147483647 h 174"/>
                <a:gd name="T22" fmla="*/ 2147483647 w 210"/>
                <a:gd name="T23" fmla="*/ 2147483647 h 174"/>
                <a:gd name="T24" fmla="*/ 2147483647 w 210"/>
                <a:gd name="T25" fmla="*/ 2147483647 h 174"/>
                <a:gd name="T26" fmla="*/ 2147483647 w 210"/>
                <a:gd name="T27" fmla="*/ 2147483647 h 174"/>
                <a:gd name="T28" fmla="*/ 2147483647 w 210"/>
                <a:gd name="T29" fmla="*/ 2147483647 h 174"/>
                <a:gd name="T30" fmla="*/ 2147483647 w 210"/>
                <a:gd name="T31" fmla="*/ 2147483647 h 174"/>
                <a:gd name="T32" fmla="*/ 2147483647 w 210"/>
                <a:gd name="T33" fmla="*/ 2147483647 h 174"/>
                <a:gd name="T34" fmla="*/ 2147483647 w 210"/>
                <a:gd name="T35" fmla="*/ 2147483647 h 174"/>
                <a:gd name="T36" fmla="*/ 2147483647 w 210"/>
                <a:gd name="T37" fmla="*/ 2147483647 h 174"/>
                <a:gd name="T38" fmla="*/ 2147483647 w 210"/>
                <a:gd name="T39" fmla="*/ 2147483647 h 174"/>
                <a:gd name="T40" fmla="*/ 2147483647 w 210"/>
                <a:gd name="T41" fmla="*/ 2147483647 h 174"/>
                <a:gd name="T42" fmla="*/ 2147483647 w 210"/>
                <a:gd name="T43" fmla="*/ 2147483647 h 174"/>
                <a:gd name="T44" fmla="*/ 2147483647 w 210"/>
                <a:gd name="T45" fmla="*/ 2147483647 h 174"/>
                <a:gd name="T46" fmla="*/ 2147483647 w 210"/>
                <a:gd name="T47" fmla="*/ 2147483647 h 174"/>
                <a:gd name="T48" fmla="*/ 2147483647 w 210"/>
                <a:gd name="T49" fmla="*/ 2147483647 h 174"/>
                <a:gd name="T50" fmla="*/ 2147483647 w 210"/>
                <a:gd name="T51" fmla="*/ 2147483647 h 174"/>
                <a:gd name="T52" fmla="*/ 2147483647 w 210"/>
                <a:gd name="T53" fmla="*/ 2147483647 h 174"/>
                <a:gd name="T54" fmla="*/ 2147483647 w 210"/>
                <a:gd name="T55" fmla="*/ 2147483647 h 174"/>
                <a:gd name="T56" fmla="*/ 2147483647 w 210"/>
                <a:gd name="T57" fmla="*/ 2147483647 h 174"/>
                <a:gd name="T58" fmla="*/ 2147483647 w 210"/>
                <a:gd name="T59" fmla="*/ 2147483647 h 174"/>
                <a:gd name="T60" fmla="*/ 2147483647 w 210"/>
                <a:gd name="T61" fmla="*/ 2147483647 h 174"/>
                <a:gd name="T62" fmla="*/ 2147483647 w 210"/>
                <a:gd name="T63" fmla="*/ 2147483647 h 174"/>
                <a:gd name="T64" fmla="*/ 2147483647 w 210"/>
                <a:gd name="T65" fmla="*/ 2147483647 h 174"/>
                <a:gd name="T66" fmla="*/ 2147483647 w 210"/>
                <a:gd name="T67" fmla="*/ 2147483647 h 174"/>
                <a:gd name="T68" fmla="*/ 2147483647 w 210"/>
                <a:gd name="T69" fmla="*/ 2147483647 h 174"/>
                <a:gd name="T70" fmla="*/ 2147483647 w 210"/>
                <a:gd name="T71" fmla="*/ 2147483647 h 174"/>
                <a:gd name="T72" fmla="*/ 2147483647 w 210"/>
                <a:gd name="T73" fmla="*/ 2147483647 h 174"/>
                <a:gd name="T74" fmla="*/ 2147483647 w 210"/>
                <a:gd name="T75" fmla="*/ 2147483647 h 174"/>
                <a:gd name="T76" fmla="*/ 2147483647 w 210"/>
                <a:gd name="T77" fmla="*/ 2147483647 h 174"/>
                <a:gd name="T78" fmla="*/ 2147483647 w 210"/>
                <a:gd name="T79" fmla="*/ 2147483647 h 174"/>
                <a:gd name="T80" fmla="*/ 2147483647 w 210"/>
                <a:gd name="T81" fmla="*/ 2147483647 h 174"/>
                <a:gd name="T82" fmla="*/ 2147483647 w 210"/>
                <a:gd name="T83" fmla="*/ 2147483647 h 174"/>
                <a:gd name="T84" fmla="*/ 2147483647 w 210"/>
                <a:gd name="T85" fmla="*/ 2147483647 h 174"/>
                <a:gd name="T86" fmla="*/ 2147483647 w 210"/>
                <a:gd name="T87" fmla="*/ 2147483647 h 174"/>
                <a:gd name="T88" fmla="*/ 2147483647 w 210"/>
                <a:gd name="T89" fmla="*/ 2147483647 h 174"/>
                <a:gd name="T90" fmla="*/ 2147483647 w 210"/>
                <a:gd name="T91" fmla="*/ 2147483647 h 174"/>
                <a:gd name="T92" fmla="*/ 2147483647 w 210"/>
                <a:gd name="T93" fmla="*/ 2147483647 h 174"/>
                <a:gd name="T94" fmla="*/ 2147483647 w 210"/>
                <a:gd name="T95" fmla="*/ 2147483647 h 174"/>
                <a:gd name="T96" fmla="*/ 2147483647 w 210"/>
                <a:gd name="T97" fmla="*/ 2147483647 h 174"/>
                <a:gd name="T98" fmla="*/ 0 w 210"/>
                <a:gd name="T99" fmla="*/ 2147483647 h 174"/>
                <a:gd name="T100" fmla="*/ 0 w 210"/>
                <a:gd name="T101" fmla="*/ 2147483647 h 174"/>
                <a:gd name="T102" fmla="*/ 2147483647 w 210"/>
                <a:gd name="T103" fmla="*/ 2147483647 h 1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10"/>
                <a:gd name="T157" fmla="*/ 0 h 174"/>
                <a:gd name="T158" fmla="*/ 210 w 210"/>
                <a:gd name="T159" fmla="*/ 174 h 17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10" h="174">
                  <a:moveTo>
                    <a:pt x="180" y="78"/>
                  </a:moveTo>
                  <a:lnTo>
                    <a:pt x="186" y="78"/>
                  </a:lnTo>
                  <a:lnTo>
                    <a:pt x="180" y="78"/>
                  </a:lnTo>
                  <a:close/>
                  <a:moveTo>
                    <a:pt x="204" y="132"/>
                  </a:moveTo>
                  <a:lnTo>
                    <a:pt x="210" y="132"/>
                  </a:lnTo>
                  <a:lnTo>
                    <a:pt x="204" y="132"/>
                  </a:lnTo>
                  <a:close/>
                  <a:moveTo>
                    <a:pt x="180" y="132"/>
                  </a:moveTo>
                  <a:lnTo>
                    <a:pt x="180" y="126"/>
                  </a:lnTo>
                  <a:lnTo>
                    <a:pt x="186" y="126"/>
                  </a:lnTo>
                  <a:lnTo>
                    <a:pt x="180" y="126"/>
                  </a:lnTo>
                  <a:lnTo>
                    <a:pt x="186" y="126"/>
                  </a:lnTo>
                  <a:lnTo>
                    <a:pt x="180" y="126"/>
                  </a:lnTo>
                  <a:lnTo>
                    <a:pt x="180" y="132"/>
                  </a:lnTo>
                  <a:close/>
                  <a:moveTo>
                    <a:pt x="126" y="6"/>
                  </a:moveTo>
                  <a:lnTo>
                    <a:pt x="132" y="6"/>
                  </a:lnTo>
                  <a:lnTo>
                    <a:pt x="132" y="0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0"/>
                  </a:lnTo>
                  <a:lnTo>
                    <a:pt x="126" y="6"/>
                  </a:lnTo>
                  <a:close/>
                  <a:moveTo>
                    <a:pt x="6" y="108"/>
                  </a:moveTo>
                  <a:lnTo>
                    <a:pt x="12" y="108"/>
                  </a:lnTo>
                  <a:lnTo>
                    <a:pt x="12" y="114"/>
                  </a:lnTo>
                  <a:lnTo>
                    <a:pt x="18" y="114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24" y="102"/>
                  </a:lnTo>
                  <a:lnTo>
                    <a:pt x="24" y="96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42" y="96"/>
                  </a:lnTo>
                  <a:lnTo>
                    <a:pt x="48" y="96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54" y="108"/>
                  </a:lnTo>
                  <a:lnTo>
                    <a:pt x="60" y="108"/>
                  </a:lnTo>
                  <a:lnTo>
                    <a:pt x="60" y="114"/>
                  </a:lnTo>
                  <a:lnTo>
                    <a:pt x="66" y="114"/>
                  </a:lnTo>
                  <a:lnTo>
                    <a:pt x="66" y="120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72" y="138"/>
                  </a:lnTo>
                  <a:lnTo>
                    <a:pt x="72" y="144"/>
                  </a:lnTo>
                  <a:lnTo>
                    <a:pt x="78" y="144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84" y="156"/>
                  </a:lnTo>
                  <a:lnTo>
                    <a:pt x="90" y="156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20" y="162"/>
                  </a:lnTo>
                  <a:lnTo>
                    <a:pt x="114" y="162"/>
                  </a:lnTo>
                  <a:lnTo>
                    <a:pt x="120" y="168"/>
                  </a:lnTo>
                  <a:lnTo>
                    <a:pt x="126" y="168"/>
                  </a:lnTo>
                  <a:lnTo>
                    <a:pt x="132" y="168"/>
                  </a:lnTo>
                  <a:lnTo>
                    <a:pt x="132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62" y="156"/>
                  </a:lnTo>
                  <a:lnTo>
                    <a:pt x="168" y="156"/>
                  </a:lnTo>
                  <a:lnTo>
                    <a:pt x="174" y="156"/>
                  </a:lnTo>
                  <a:lnTo>
                    <a:pt x="174" y="162"/>
                  </a:lnTo>
                  <a:lnTo>
                    <a:pt x="174" y="168"/>
                  </a:lnTo>
                  <a:lnTo>
                    <a:pt x="174" y="174"/>
                  </a:lnTo>
                  <a:lnTo>
                    <a:pt x="174" y="168"/>
                  </a:lnTo>
                  <a:lnTo>
                    <a:pt x="180" y="168"/>
                  </a:lnTo>
                  <a:lnTo>
                    <a:pt x="174" y="168"/>
                  </a:lnTo>
                  <a:lnTo>
                    <a:pt x="180" y="168"/>
                  </a:lnTo>
                  <a:lnTo>
                    <a:pt x="174" y="168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80" y="168"/>
                  </a:lnTo>
                  <a:lnTo>
                    <a:pt x="180" y="162"/>
                  </a:lnTo>
                  <a:lnTo>
                    <a:pt x="186" y="162"/>
                  </a:lnTo>
                  <a:lnTo>
                    <a:pt x="192" y="162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86" y="156"/>
                  </a:lnTo>
                  <a:lnTo>
                    <a:pt x="192" y="156"/>
                  </a:lnTo>
                  <a:lnTo>
                    <a:pt x="186" y="150"/>
                  </a:lnTo>
                  <a:lnTo>
                    <a:pt x="192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2" y="144"/>
                  </a:lnTo>
                  <a:lnTo>
                    <a:pt x="192" y="138"/>
                  </a:lnTo>
                  <a:lnTo>
                    <a:pt x="192" y="144"/>
                  </a:lnTo>
                  <a:lnTo>
                    <a:pt x="198" y="144"/>
                  </a:lnTo>
                  <a:lnTo>
                    <a:pt x="198" y="138"/>
                  </a:lnTo>
                  <a:lnTo>
                    <a:pt x="204" y="138"/>
                  </a:lnTo>
                  <a:lnTo>
                    <a:pt x="210" y="138"/>
                  </a:lnTo>
                  <a:lnTo>
                    <a:pt x="204" y="138"/>
                  </a:lnTo>
                  <a:lnTo>
                    <a:pt x="204" y="132"/>
                  </a:lnTo>
                  <a:lnTo>
                    <a:pt x="198" y="138"/>
                  </a:lnTo>
                  <a:lnTo>
                    <a:pt x="204" y="138"/>
                  </a:lnTo>
                  <a:lnTo>
                    <a:pt x="198" y="138"/>
                  </a:lnTo>
                  <a:lnTo>
                    <a:pt x="198" y="132"/>
                  </a:lnTo>
                  <a:lnTo>
                    <a:pt x="192" y="132"/>
                  </a:lnTo>
                  <a:lnTo>
                    <a:pt x="192" y="138"/>
                  </a:lnTo>
                  <a:lnTo>
                    <a:pt x="192" y="132"/>
                  </a:lnTo>
                  <a:lnTo>
                    <a:pt x="186" y="132"/>
                  </a:lnTo>
                  <a:lnTo>
                    <a:pt x="192" y="132"/>
                  </a:lnTo>
                  <a:lnTo>
                    <a:pt x="186" y="138"/>
                  </a:lnTo>
                  <a:lnTo>
                    <a:pt x="186" y="132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0" y="132"/>
                  </a:lnTo>
                  <a:lnTo>
                    <a:pt x="180" y="126"/>
                  </a:lnTo>
                  <a:lnTo>
                    <a:pt x="174" y="126"/>
                  </a:lnTo>
                  <a:lnTo>
                    <a:pt x="180" y="126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0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92" y="108"/>
                  </a:lnTo>
                  <a:lnTo>
                    <a:pt x="192" y="114"/>
                  </a:lnTo>
                  <a:lnTo>
                    <a:pt x="186" y="114"/>
                  </a:lnTo>
                  <a:lnTo>
                    <a:pt x="186" y="108"/>
                  </a:lnTo>
                  <a:lnTo>
                    <a:pt x="180" y="108"/>
                  </a:lnTo>
                  <a:lnTo>
                    <a:pt x="180" y="114"/>
                  </a:lnTo>
                  <a:lnTo>
                    <a:pt x="174" y="114"/>
                  </a:lnTo>
                  <a:lnTo>
                    <a:pt x="168" y="114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80" y="108"/>
                  </a:lnTo>
                  <a:lnTo>
                    <a:pt x="180" y="102"/>
                  </a:lnTo>
                  <a:lnTo>
                    <a:pt x="174" y="102"/>
                  </a:lnTo>
                  <a:lnTo>
                    <a:pt x="180" y="102"/>
                  </a:lnTo>
                  <a:lnTo>
                    <a:pt x="174" y="102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68" y="102"/>
                  </a:lnTo>
                  <a:lnTo>
                    <a:pt x="168" y="108"/>
                  </a:lnTo>
                  <a:lnTo>
                    <a:pt x="162" y="108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2" y="102"/>
                  </a:lnTo>
                  <a:lnTo>
                    <a:pt x="162" y="96"/>
                  </a:lnTo>
                  <a:lnTo>
                    <a:pt x="162" y="102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68" y="90"/>
                  </a:lnTo>
                  <a:lnTo>
                    <a:pt x="174" y="90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74" y="78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68" y="84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44" y="78"/>
                  </a:lnTo>
                  <a:lnTo>
                    <a:pt x="138" y="78"/>
                  </a:lnTo>
                  <a:lnTo>
                    <a:pt x="138" y="84"/>
                  </a:lnTo>
                  <a:lnTo>
                    <a:pt x="138" y="78"/>
                  </a:lnTo>
                  <a:lnTo>
                    <a:pt x="138" y="84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26" y="84"/>
                  </a:lnTo>
                  <a:lnTo>
                    <a:pt x="120" y="84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08" y="78"/>
                  </a:lnTo>
                  <a:lnTo>
                    <a:pt x="108" y="72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26" y="54"/>
                  </a:lnTo>
                  <a:lnTo>
                    <a:pt x="132" y="54"/>
                  </a:lnTo>
                  <a:lnTo>
                    <a:pt x="138" y="54"/>
                  </a:lnTo>
                  <a:lnTo>
                    <a:pt x="132" y="54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60"/>
                  </a:lnTo>
                  <a:lnTo>
                    <a:pt x="144" y="54"/>
                  </a:lnTo>
                  <a:lnTo>
                    <a:pt x="144" y="48"/>
                  </a:lnTo>
                  <a:lnTo>
                    <a:pt x="144" y="42"/>
                  </a:lnTo>
                  <a:lnTo>
                    <a:pt x="144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38" y="18"/>
                  </a:lnTo>
                  <a:lnTo>
                    <a:pt x="132" y="18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72" y="30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54" y="36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6" y="90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6" y="102"/>
                  </a:lnTo>
                  <a:lnTo>
                    <a:pt x="6" y="108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72" name="Freeform 48"/>
            <p:cNvSpPr>
              <a:spLocks noChangeAspect="1"/>
            </p:cNvSpPr>
            <p:nvPr/>
          </p:nvSpPr>
          <p:spPr bwMode="auto">
            <a:xfrm>
              <a:off x="2070453" y="5527407"/>
              <a:ext cx="237328" cy="320696"/>
            </a:xfrm>
            <a:custGeom>
              <a:avLst/>
              <a:gdLst>
                <a:gd name="T0" fmla="*/ 2147483647 w 186"/>
                <a:gd name="T1" fmla="*/ 2147483647 h 252"/>
                <a:gd name="T2" fmla="*/ 2147483647 w 186"/>
                <a:gd name="T3" fmla="*/ 2147483647 h 252"/>
                <a:gd name="T4" fmla="*/ 2147483647 w 186"/>
                <a:gd name="T5" fmla="*/ 2147483647 h 252"/>
                <a:gd name="T6" fmla="*/ 2147483647 w 186"/>
                <a:gd name="T7" fmla="*/ 2147483647 h 252"/>
                <a:gd name="T8" fmla="*/ 2147483647 w 186"/>
                <a:gd name="T9" fmla="*/ 2147483647 h 252"/>
                <a:gd name="T10" fmla="*/ 2147483647 w 186"/>
                <a:gd name="T11" fmla="*/ 2147483647 h 252"/>
                <a:gd name="T12" fmla="*/ 2147483647 w 186"/>
                <a:gd name="T13" fmla="*/ 2147483647 h 252"/>
                <a:gd name="T14" fmla="*/ 2147483647 w 186"/>
                <a:gd name="T15" fmla="*/ 2147483647 h 252"/>
                <a:gd name="T16" fmla="*/ 2147483647 w 186"/>
                <a:gd name="T17" fmla="*/ 2147483647 h 252"/>
                <a:gd name="T18" fmla="*/ 2147483647 w 186"/>
                <a:gd name="T19" fmla="*/ 2147483647 h 252"/>
                <a:gd name="T20" fmla="*/ 2147483647 w 186"/>
                <a:gd name="T21" fmla="*/ 2147483647 h 252"/>
                <a:gd name="T22" fmla="*/ 2147483647 w 186"/>
                <a:gd name="T23" fmla="*/ 2147483647 h 252"/>
                <a:gd name="T24" fmla="*/ 2147483647 w 186"/>
                <a:gd name="T25" fmla="*/ 2147483647 h 252"/>
                <a:gd name="T26" fmla="*/ 2147483647 w 186"/>
                <a:gd name="T27" fmla="*/ 2147483647 h 252"/>
                <a:gd name="T28" fmla="*/ 2147483647 w 186"/>
                <a:gd name="T29" fmla="*/ 2147483647 h 252"/>
                <a:gd name="T30" fmla="*/ 2147483647 w 186"/>
                <a:gd name="T31" fmla="*/ 2147483647 h 252"/>
                <a:gd name="T32" fmla="*/ 2147483647 w 186"/>
                <a:gd name="T33" fmla="*/ 2147483647 h 252"/>
                <a:gd name="T34" fmla="*/ 2147483647 w 186"/>
                <a:gd name="T35" fmla="*/ 2147483647 h 252"/>
                <a:gd name="T36" fmla="*/ 2147483647 w 186"/>
                <a:gd name="T37" fmla="*/ 2147483647 h 252"/>
                <a:gd name="T38" fmla="*/ 2147483647 w 186"/>
                <a:gd name="T39" fmla="*/ 2147483647 h 252"/>
                <a:gd name="T40" fmla="*/ 2147483647 w 186"/>
                <a:gd name="T41" fmla="*/ 2147483647 h 252"/>
                <a:gd name="T42" fmla="*/ 2147483647 w 186"/>
                <a:gd name="T43" fmla="*/ 2147483647 h 252"/>
                <a:gd name="T44" fmla="*/ 2147483647 w 186"/>
                <a:gd name="T45" fmla="*/ 2147483647 h 252"/>
                <a:gd name="T46" fmla="*/ 2147483647 w 186"/>
                <a:gd name="T47" fmla="*/ 2147483647 h 252"/>
                <a:gd name="T48" fmla="*/ 2147483647 w 186"/>
                <a:gd name="T49" fmla="*/ 2147483647 h 252"/>
                <a:gd name="T50" fmla="*/ 2147483647 w 186"/>
                <a:gd name="T51" fmla="*/ 2147483647 h 252"/>
                <a:gd name="T52" fmla="*/ 2147483647 w 186"/>
                <a:gd name="T53" fmla="*/ 2147483647 h 252"/>
                <a:gd name="T54" fmla="*/ 2147483647 w 186"/>
                <a:gd name="T55" fmla="*/ 2147483647 h 252"/>
                <a:gd name="T56" fmla="*/ 2147483647 w 186"/>
                <a:gd name="T57" fmla="*/ 2147483647 h 252"/>
                <a:gd name="T58" fmla="*/ 2147483647 w 186"/>
                <a:gd name="T59" fmla="*/ 2147483647 h 252"/>
                <a:gd name="T60" fmla="*/ 2147483647 w 186"/>
                <a:gd name="T61" fmla="*/ 0 h 252"/>
                <a:gd name="T62" fmla="*/ 2147483647 w 186"/>
                <a:gd name="T63" fmla="*/ 2147483647 h 252"/>
                <a:gd name="T64" fmla="*/ 2147483647 w 186"/>
                <a:gd name="T65" fmla="*/ 2147483647 h 252"/>
                <a:gd name="T66" fmla="*/ 2147483647 w 186"/>
                <a:gd name="T67" fmla="*/ 2147483647 h 252"/>
                <a:gd name="T68" fmla="*/ 2147483647 w 186"/>
                <a:gd name="T69" fmla="*/ 0 h 252"/>
                <a:gd name="T70" fmla="*/ 2147483647 w 186"/>
                <a:gd name="T71" fmla="*/ 2147483647 h 252"/>
                <a:gd name="T72" fmla="*/ 2147483647 w 186"/>
                <a:gd name="T73" fmla="*/ 0 h 252"/>
                <a:gd name="T74" fmla="*/ 2147483647 w 186"/>
                <a:gd name="T75" fmla="*/ 2147483647 h 252"/>
                <a:gd name="T76" fmla="*/ 2147483647 w 186"/>
                <a:gd name="T77" fmla="*/ 2147483647 h 252"/>
                <a:gd name="T78" fmla="*/ 2147483647 w 186"/>
                <a:gd name="T79" fmla="*/ 2147483647 h 252"/>
                <a:gd name="T80" fmla="*/ 2147483647 w 186"/>
                <a:gd name="T81" fmla="*/ 2147483647 h 252"/>
                <a:gd name="T82" fmla="*/ 2147483647 w 186"/>
                <a:gd name="T83" fmla="*/ 2147483647 h 252"/>
                <a:gd name="T84" fmla="*/ 2147483647 w 186"/>
                <a:gd name="T85" fmla="*/ 2147483647 h 252"/>
                <a:gd name="T86" fmla="*/ 2147483647 w 186"/>
                <a:gd name="T87" fmla="*/ 2147483647 h 252"/>
                <a:gd name="T88" fmla="*/ 2147483647 w 186"/>
                <a:gd name="T89" fmla="*/ 2147483647 h 252"/>
                <a:gd name="T90" fmla="*/ 2147483647 w 186"/>
                <a:gd name="T91" fmla="*/ 2147483647 h 252"/>
                <a:gd name="T92" fmla="*/ 2147483647 w 186"/>
                <a:gd name="T93" fmla="*/ 2147483647 h 252"/>
                <a:gd name="T94" fmla="*/ 2147483647 w 186"/>
                <a:gd name="T95" fmla="*/ 2147483647 h 252"/>
                <a:gd name="T96" fmla="*/ 2147483647 w 186"/>
                <a:gd name="T97" fmla="*/ 2147483647 h 252"/>
                <a:gd name="T98" fmla="*/ 2147483647 w 186"/>
                <a:gd name="T99" fmla="*/ 2147483647 h 252"/>
                <a:gd name="T100" fmla="*/ 0 w 186"/>
                <a:gd name="T101" fmla="*/ 2147483647 h 252"/>
                <a:gd name="T102" fmla="*/ 2147483647 w 186"/>
                <a:gd name="T103" fmla="*/ 2147483647 h 252"/>
                <a:gd name="T104" fmla="*/ 2147483647 w 186"/>
                <a:gd name="T105" fmla="*/ 2147483647 h 252"/>
                <a:gd name="T106" fmla="*/ 2147483647 w 186"/>
                <a:gd name="T107" fmla="*/ 2147483647 h 252"/>
                <a:gd name="T108" fmla="*/ 2147483647 w 186"/>
                <a:gd name="T109" fmla="*/ 2147483647 h 252"/>
                <a:gd name="T110" fmla="*/ 2147483647 w 186"/>
                <a:gd name="T111" fmla="*/ 2147483647 h 252"/>
                <a:gd name="T112" fmla="*/ 2147483647 w 186"/>
                <a:gd name="T113" fmla="*/ 2147483647 h 252"/>
                <a:gd name="T114" fmla="*/ 2147483647 w 186"/>
                <a:gd name="T115" fmla="*/ 2147483647 h 252"/>
                <a:gd name="T116" fmla="*/ 2147483647 w 186"/>
                <a:gd name="T117" fmla="*/ 2147483647 h 252"/>
                <a:gd name="T118" fmla="*/ 2147483647 w 186"/>
                <a:gd name="T119" fmla="*/ 2147483647 h 252"/>
                <a:gd name="T120" fmla="*/ 2147483647 w 186"/>
                <a:gd name="T121" fmla="*/ 2147483647 h 252"/>
                <a:gd name="T122" fmla="*/ 2147483647 w 186"/>
                <a:gd name="T123" fmla="*/ 2147483647 h 25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86"/>
                <a:gd name="T187" fmla="*/ 0 h 252"/>
                <a:gd name="T188" fmla="*/ 186 w 186"/>
                <a:gd name="T189" fmla="*/ 252 h 25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86" h="252">
                  <a:moveTo>
                    <a:pt x="78" y="234"/>
                  </a:moveTo>
                  <a:lnTo>
                    <a:pt x="84" y="234"/>
                  </a:lnTo>
                  <a:lnTo>
                    <a:pt x="90" y="234"/>
                  </a:lnTo>
                  <a:lnTo>
                    <a:pt x="90" y="240"/>
                  </a:lnTo>
                  <a:lnTo>
                    <a:pt x="96" y="240"/>
                  </a:lnTo>
                  <a:lnTo>
                    <a:pt x="96" y="246"/>
                  </a:lnTo>
                  <a:lnTo>
                    <a:pt x="102" y="246"/>
                  </a:lnTo>
                  <a:lnTo>
                    <a:pt x="108" y="246"/>
                  </a:lnTo>
                  <a:lnTo>
                    <a:pt x="108" y="252"/>
                  </a:lnTo>
                  <a:lnTo>
                    <a:pt x="114" y="252"/>
                  </a:lnTo>
                  <a:lnTo>
                    <a:pt x="114" y="246"/>
                  </a:lnTo>
                  <a:lnTo>
                    <a:pt x="108" y="246"/>
                  </a:lnTo>
                  <a:lnTo>
                    <a:pt x="114" y="246"/>
                  </a:lnTo>
                  <a:lnTo>
                    <a:pt x="114" y="240"/>
                  </a:lnTo>
                  <a:lnTo>
                    <a:pt x="114" y="234"/>
                  </a:lnTo>
                  <a:lnTo>
                    <a:pt x="114" y="228"/>
                  </a:lnTo>
                  <a:lnTo>
                    <a:pt x="120" y="228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114" y="216"/>
                  </a:lnTo>
                  <a:lnTo>
                    <a:pt x="120" y="216"/>
                  </a:lnTo>
                  <a:lnTo>
                    <a:pt x="120" y="210"/>
                  </a:lnTo>
                  <a:lnTo>
                    <a:pt x="120" y="216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26" y="204"/>
                  </a:lnTo>
                  <a:lnTo>
                    <a:pt x="126" y="198"/>
                  </a:lnTo>
                  <a:lnTo>
                    <a:pt x="126" y="192"/>
                  </a:lnTo>
                  <a:lnTo>
                    <a:pt x="126" y="186"/>
                  </a:lnTo>
                  <a:lnTo>
                    <a:pt x="126" y="180"/>
                  </a:lnTo>
                  <a:lnTo>
                    <a:pt x="132" y="180"/>
                  </a:lnTo>
                  <a:lnTo>
                    <a:pt x="132" y="174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26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50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26" y="132"/>
                  </a:lnTo>
                  <a:lnTo>
                    <a:pt x="132" y="132"/>
                  </a:lnTo>
                  <a:lnTo>
                    <a:pt x="132" y="126"/>
                  </a:lnTo>
                  <a:lnTo>
                    <a:pt x="132" y="120"/>
                  </a:lnTo>
                  <a:lnTo>
                    <a:pt x="138" y="120"/>
                  </a:lnTo>
                  <a:lnTo>
                    <a:pt x="138" y="114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44" y="90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56" y="72"/>
                  </a:lnTo>
                  <a:lnTo>
                    <a:pt x="156" y="66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0" y="66"/>
                  </a:lnTo>
                  <a:lnTo>
                    <a:pt x="150" y="60"/>
                  </a:lnTo>
                  <a:lnTo>
                    <a:pt x="156" y="60"/>
                  </a:lnTo>
                  <a:lnTo>
                    <a:pt x="162" y="60"/>
                  </a:lnTo>
                  <a:lnTo>
                    <a:pt x="162" y="54"/>
                  </a:lnTo>
                  <a:lnTo>
                    <a:pt x="156" y="54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6" y="36"/>
                  </a:lnTo>
                  <a:lnTo>
                    <a:pt x="156" y="42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24"/>
                  </a:lnTo>
                  <a:lnTo>
                    <a:pt x="168" y="30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80" y="12"/>
                  </a:lnTo>
                  <a:lnTo>
                    <a:pt x="180" y="6"/>
                  </a:lnTo>
                  <a:lnTo>
                    <a:pt x="180" y="0"/>
                  </a:lnTo>
                  <a:lnTo>
                    <a:pt x="174" y="0"/>
                  </a:lnTo>
                  <a:lnTo>
                    <a:pt x="168" y="0"/>
                  </a:lnTo>
                  <a:lnTo>
                    <a:pt x="162" y="0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44" y="12"/>
                  </a:lnTo>
                  <a:lnTo>
                    <a:pt x="138" y="6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108" y="0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60" y="30"/>
                  </a:lnTo>
                  <a:lnTo>
                    <a:pt x="60" y="36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42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66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78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54" y="90"/>
                  </a:lnTo>
                  <a:lnTo>
                    <a:pt x="54" y="96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0" y="108"/>
                  </a:lnTo>
                  <a:lnTo>
                    <a:pt x="66" y="114"/>
                  </a:lnTo>
                  <a:lnTo>
                    <a:pt x="60" y="114"/>
                  </a:lnTo>
                  <a:lnTo>
                    <a:pt x="54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20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24" y="126"/>
                  </a:lnTo>
                  <a:lnTo>
                    <a:pt x="18" y="126"/>
                  </a:lnTo>
                  <a:lnTo>
                    <a:pt x="12" y="126"/>
                  </a:lnTo>
                  <a:lnTo>
                    <a:pt x="6" y="126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6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12" y="150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0" y="156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0" y="162"/>
                  </a:lnTo>
                  <a:lnTo>
                    <a:pt x="30" y="168"/>
                  </a:lnTo>
                  <a:lnTo>
                    <a:pt x="30" y="174"/>
                  </a:lnTo>
                  <a:lnTo>
                    <a:pt x="36" y="174"/>
                  </a:lnTo>
                  <a:lnTo>
                    <a:pt x="42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54" y="198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84" y="204"/>
                  </a:lnTo>
                  <a:lnTo>
                    <a:pt x="84" y="210"/>
                  </a:lnTo>
                  <a:lnTo>
                    <a:pt x="84" y="216"/>
                  </a:lnTo>
                  <a:lnTo>
                    <a:pt x="84" y="222"/>
                  </a:lnTo>
                  <a:lnTo>
                    <a:pt x="84" y="228"/>
                  </a:lnTo>
                  <a:lnTo>
                    <a:pt x="78" y="228"/>
                  </a:lnTo>
                  <a:lnTo>
                    <a:pt x="78" y="23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73" name="Freeform 49"/>
            <p:cNvSpPr>
              <a:spLocks noChangeAspect="1" noEditPoints="1"/>
            </p:cNvSpPr>
            <p:nvPr/>
          </p:nvSpPr>
          <p:spPr bwMode="auto">
            <a:xfrm>
              <a:off x="1643950" y="5641715"/>
              <a:ext cx="534849" cy="1144662"/>
            </a:xfrm>
            <a:custGeom>
              <a:avLst/>
              <a:gdLst>
                <a:gd name="T0" fmla="*/ 2147483647 w 420"/>
                <a:gd name="T1" fmla="*/ 2147483647 h 900"/>
                <a:gd name="T2" fmla="*/ 2147483647 w 420"/>
                <a:gd name="T3" fmla="*/ 2147483647 h 900"/>
                <a:gd name="T4" fmla="*/ 2147483647 w 420"/>
                <a:gd name="T5" fmla="*/ 2147483647 h 900"/>
                <a:gd name="T6" fmla="*/ 2147483647 w 420"/>
                <a:gd name="T7" fmla="*/ 2147483647 h 900"/>
                <a:gd name="T8" fmla="*/ 2147483647 w 420"/>
                <a:gd name="T9" fmla="*/ 2147483647 h 900"/>
                <a:gd name="T10" fmla="*/ 2147483647 w 420"/>
                <a:gd name="T11" fmla="*/ 2147483647 h 900"/>
                <a:gd name="T12" fmla="*/ 2147483647 w 420"/>
                <a:gd name="T13" fmla="*/ 2147483647 h 900"/>
                <a:gd name="T14" fmla="*/ 2147483647 w 420"/>
                <a:gd name="T15" fmla="*/ 2147483647 h 900"/>
                <a:gd name="T16" fmla="*/ 2147483647 w 420"/>
                <a:gd name="T17" fmla="*/ 2147483647 h 900"/>
                <a:gd name="T18" fmla="*/ 2147483647 w 420"/>
                <a:gd name="T19" fmla="*/ 2147483647 h 900"/>
                <a:gd name="T20" fmla="*/ 2147483647 w 420"/>
                <a:gd name="T21" fmla="*/ 2147483647 h 900"/>
                <a:gd name="T22" fmla="*/ 2147483647 w 420"/>
                <a:gd name="T23" fmla="*/ 2147483647 h 900"/>
                <a:gd name="T24" fmla="*/ 2147483647 w 420"/>
                <a:gd name="T25" fmla="*/ 2147483647 h 900"/>
                <a:gd name="T26" fmla="*/ 2147483647 w 420"/>
                <a:gd name="T27" fmla="*/ 2147483647 h 900"/>
                <a:gd name="T28" fmla="*/ 2147483647 w 420"/>
                <a:gd name="T29" fmla="*/ 2147483647 h 900"/>
                <a:gd name="T30" fmla="*/ 2147483647 w 420"/>
                <a:gd name="T31" fmla="*/ 2147483647 h 900"/>
                <a:gd name="T32" fmla="*/ 2147483647 w 420"/>
                <a:gd name="T33" fmla="*/ 2147483647 h 900"/>
                <a:gd name="T34" fmla="*/ 2147483647 w 420"/>
                <a:gd name="T35" fmla="*/ 2147483647 h 900"/>
                <a:gd name="T36" fmla="*/ 2147483647 w 420"/>
                <a:gd name="T37" fmla="*/ 2147483647 h 900"/>
                <a:gd name="T38" fmla="*/ 2147483647 w 420"/>
                <a:gd name="T39" fmla="*/ 2147483647 h 900"/>
                <a:gd name="T40" fmla="*/ 2147483647 w 420"/>
                <a:gd name="T41" fmla="*/ 2147483647 h 900"/>
                <a:gd name="T42" fmla="*/ 2147483647 w 420"/>
                <a:gd name="T43" fmla="*/ 2147483647 h 900"/>
                <a:gd name="T44" fmla="*/ 2147483647 w 420"/>
                <a:gd name="T45" fmla="*/ 2147483647 h 900"/>
                <a:gd name="T46" fmla="*/ 2147483647 w 420"/>
                <a:gd name="T47" fmla="*/ 2147483647 h 900"/>
                <a:gd name="T48" fmla="*/ 2147483647 w 420"/>
                <a:gd name="T49" fmla="*/ 2147483647 h 900"/>
                <a:gd name="T50" fmla="*/ 2147483647 w 420"/>
                <a:gd name="T51" fmla="*/ 2147483647 h 900"/>
                <a:gd name="T52" fmla="*/ 2147483647 w 420"/>
                <a:gd name="T53" fmla="*/ 2147483647 h 900"/>
                <a:gd name="T54" fmla="*/ 2147483647 w 420"/>
                <a:gd name="T55" fmla="*/ 2147483647 h 900"/>
                <a:gd name="T56" fmla="*/ 2147483647 w 420"/>
                <a:gd name="T57" fmla="*/ 2147483647 h 900"/>
                <a:gd name="T58" fmla="*/ 2147483647 w 420"/>
                <a:gd name="T59" fmla="*/ 2147483647 h 900"/>
                <a:gd name="T60" fmla="*/ 2147483647 w 420"/>
                <a:gd name="T61" fmla="*/ 2147483647 h 900"/>
                <a:gd name="T62" fmla="*/ 2147483647 w 420"/>
                <a:gd name="T63" fmla="*/ 2147483647 h 900"/>
                <a:gd name="T64" fmla="*/ 2147483647 w 420"/>
                <a:gd name="T65" fmla="*/ 2147483647 h 900"/>
                <a:gd name="T66" fmla="*/ 2147483647 w 420"/>
                <a:gd name="T67" fmla="*/ 2147483647 h 900"/>
                <a:gd name="T68" fmla="*/ 2147483647 w 420"/>
                <a:gd name="T69" fmla="*/ 2147483647 h 900"/>
                <a:gd name="T70" fmla="*/ 2147483647 w 420"/>
                <a:gd name="T71" fmla="*/ 2147483647 h 900"/>
                <a:gd name="T72" fmla="*/ 2147483647 w 420"/>
                <a:gd name="T73" fmla="*/ 2147483647 h 900"/>
                <a:gd name="T74" fmla="*/ 2147483647 w 420"/>
                <a:gd name="T75" fmla="*/ 2147483647 h 900"/>
                <a:gd name="T76" fmla="*/ 2147483647 w 420"/>
                <a:gd name="T77" fmla="*/ 2147483647 h 900"/>
                <a:gd name="T78" fmla="*/ 2147483647 w 420"/>
                <a:gd name="T79" fmla="*/ 2147483647 h 900"/>
                <a:gd name="T80" fmla="*/ 2147483647 w 420"/>
                <a:gd name="T81" fmla="*/ 2147483647 h 900"/>
                <a:gd name="T82" fmla="*/ 2147483647 w 420"/>
                <a:gd name="T83" fmla="*/ 2147483647 h 900"/>
                <a:gd name="T84" fmla="*/ 2147483647 w 420"/>
                <a:gd name="T85" fmla="*/ 2147483647 h 900"/>
                <a:gd name="T86" fmla="*/ 2147483647 w 420"/>
                <a:gd name="T87" fmla="*/ 2147483647 h 900"/>
                <a:gd name="T88" fmla="*/ 2147483647 w 420"/>
                <a:gd name="T89" fmla="*/ 2147483647 h 900"/>
                <a:gd name="T90" fmla="*/ 2147483647 w 420"/>
                <a:gd name="T91" fmla="*/ 2147483647 h 900"/>
                <a:gd name="T92" fmla="*/ 2147483647 w 420"/>
                <a:gd name="T93" fmla="*/ 2147483647 h 900"/>
                <a:gd name="T94" fmla="*/ 2147483647 w 420"/>
                <a:gd name="T95" fmla="*/ 2147483647 h 900"/>
                <a:gd name="T96" fmla="*/ 2147483647 w 420"/>
                <a:gd name="T97" fmla="*/ 2147483647 h 900"/>
                <a:gd name="T98" fmla="*/ 2147483647 w 420"/>
                <a:gd name="T99" fmla="*/ 2147483647 h 900"/>
                <a:gd name="T100" fmla="*/ 2147483647 w 420"/>
                <a:gd name="T101" fmla="*/ 2147483647 h 900"/>
                <a:gd name="T102" fmla="*/ 2147483647 w 420"/>
                <a:gd name="T103" fmla="*/ 2147483647 h 900"/>
                <a:gd name="T104" fmla="*/ 2147483647 w 420"/>
                <a:gd name="T105" fmla="*/ 2147483647 h 900"/>
                <a:gd name="T106" fmla="*/ 2147483647 w 420"/>
                <a:gd name="T107" fmla="*/ 2147483647 h 900"/>
                <a:gd name="T108" fmla="*/ 2147483647 w 420"/>
                <a:gd name="T109" fmla="*/ 2147483647 h 900"/>
                <a:gd name="T110" fmla="*/ 2147483647 w 420"/>
                <a:gd name="T111" fmla="*/ 2147483647 h 900"/>
                <a:gd name="T112" fmla="*/ 2147483647 w 420"/>
                <a:gd name="T113" fmla="*/ 2147483647 h 900"/>
                <a:gd name="T114" fmla="*/ 2147483647 w 420"/>
                <a:gd name="T115" fmla="*/ 2147483647 h 900"/>
                <a:gd name="T116" fmla="*/ 2147483647 w 420"/>
                <a:gd name="T117" fmla="*/ 2147483647 h 9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20"/>
                <a:gd name="T178" fmla="*/ 0 h 900"/>
                <a:gd name="T179" fmla="*/ 420 w 420"/>
                <a:gd name="T180" fmla="*/ 900 h 9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20" h="900">
                  <a:moveTo>
                    <a:pt x="138" y="528"/>
                  </a:moveTo>
                  <a:lnTo>
                    <a:pt x="138" y="522"/>
                  </a:lnTo>
                  <a:lnTo>
                    <a:pt x="138" y="528"/>
                  </a:lnTo>
                  <a:close/>
                  <a:moveTo>
                    <a:pt x="252" y="162"/>
                  </a:moveTo>
                  <a:lnTo>
                    <a:pt x="252" y="156"/>
                  </a:lnTo>
                  <a:lnTo>
                    <a:pt x="252" y="162"/>
                  </a:lnTo>
                  <a:close/>
                  <a:moveTo>
                    <a:pt x="84" y="594"/>
                  </a:moveTo>
                  <a:lnTo>
                    <a:pt x="90" y="588"/>
                  </a:lnTo>
                  <a:lnTo>
                    <a:pt x="84" y="588"/>
                  </a:lnTo>
                  <a:lnTo>
                    <a:pt x="84" y="594"/>
                  </a:lnTo>
                  <a:close/>
                  <a:moveTo>
                    <a:pt x="168" y="450"/>
                  </a:moveTo>
                  <a:lnTo>
                    <a:pt x="168" y="444"/>
                  </a:lnTo>
                  <a:lnTo>
                    <a:pt x="168" y="450"/>
                  </a:lnTo>
                  <a:close/>
                  <a:moveTo>
                    <a:pt x="84" y="600"/>
                  </a:moveTo>
                  <a:lnTo>
                    <a:pt x="84" y="594"/>
                  </a:lnTo>
                  <a:lnTo>
                    <a:pt x="84" y="600"/>
                  </a:lnTo>
                  <a:lnTo>
                    <a:pt x="84" y="594"/>
                  </a:lnTo>
                  <a:lnTo>
                    <a:pt x="84" y="600"/>
                  </a:lnTo>
                  <a:close/>
                  <a:moveTo>
                    <a:pt x="162" y="408"/>
                  </a:moveTo>
                  <a:lnTo>
                    <a:pt x="168" y="408"/>
                  </a:lnTo>
                  <a:lnTo>
                    <a:pt x="162" y="408"/>
                  </a:lnTo>
                  <a:close/>
                  <a:moveTo>
                    <a:pt x="300" y="252"/>
                  </a:moveTo>
                  <a:lnTo>
                    <a:pt x="306" y="252"/>
                  </a:lnTo>
                  <a:lnTo>
                    <a:pt x="300" y="252"/>
                  </a:lnTo>
                  <a:lnTo>
                    <a:pt x="294" y="252"/>
                  </a:lnTo>
                  <a:lnTo>
                    <a:pt x="300" y="252"/>
                  </a:lnTo>
                  <a:close/>
                  <a:moveTo>
                    <a:pt x="246" y="12"/>
                  </a:moveTo>
                  <a:lnTo>
                    <a:pt x="252" y="18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52" y="12"/>
                  </a:lnTo>
                  <a:lnTo>
                    <a:pt x="246" y="12"/>
                  </a:lnTo>
                  <a:close/>
                  <a:moveTo>
                    <a:pt x="120" y="540"/>
                  </a:moveTo>
                  <a:lnTo>
                    <a:pt x="120" y="534"/>
                  </a:lnTo>
                  <a:lnTo>
                    <a:pt x="114" y="534"/>
                  </a:lnTo>
                  <a:lnTo>
                    <a:pt x="120" y="540"/>
                  </a:lnTo>
                  <a:close/>
                  <a:moveTo>
                    <a:pt x="180" y="486"/>
                  </a:moveTo>
                  <a:lnTo>
                    <a:pt x="180" y="480"/>
                  </a:lnTo>
                  <a:lnTo>
                    <a:pt x="180" y="486"/>
                  </a:lnTo>
                  <a:lnTo>
                    <a:pt x="174" y="486"/>
                  </a:lnTo>
                  <a:lnTo>
                    <a:pt x="180" y="486"/>
                  </a:lnTo>
                  <a:close/>
                  <a:moveTo>
                    <a:pt x="372" y="270"/>
                  </a:moveTo>
                  <a:lnTo>
                    <a:pt x="378" y="264"/>
                  </a:lnTo>
                  <a:lnTo>
                    <a:pt x="372" y="264"/>
                  </a:lnTo>
                  <a:lnTo>
                    <a:pt x="372" y="258"/>
                  </a:lnTo>
                  <a:lnTo>
                    <a:pt x="372" y="264"/>
                  </a:lnTo>
                  <a:lnTo>
                    <a:pt x="372" y="270"/>
                  </a:lnTo>
                  <a:close/>
                  <a:moveTo>
                    <a:pt x="192" y="90"/>
                  </a:moveTo>
                  <a:lnTo>
                    <a:pt x="192" y="84"/>
                  </a:lnTo>
                  <a:lnTo>
                    <a:pt x="198" y="84"/>
                  </a:lnTo>
                  <a:lnTo>
                    <a:pt x="192" y="84"/>
                  </a:lnTo>
                  <a:lnTo>
                    <a:pt x="198" y="84"/>
                  </a:lnTo>
                  <a:lnTo>
                    <a:pt x="192" y="84"/>
                  </a:lnTo>
                  <a:lnTo>
                    <a:pt x="192" y="90"/>
                  </a:lnTo>
                  <a:close/>
                  <a:moveTo>
                    <a:pt x="276" y="258"/>
                  </a:moveTo>
                  <a:lnTo>
                    <a:pt x="282" y="258"/>
                  </a:lnTo>
                  <a:lnTo>
                    <a:pt x="282" y="252"/>
                  </a:lnTo>
                  <a:lnTo>
                    <a:pt x="276" y="258"/>
                  </a:lnTo>
                  <a:close/>
                  <a:moveTo>
                    <a:pt x="120" y="732"/>
                  </a:moveTo>
                  <a:lnTo>
                    <a:pt x="120" y="726"/>
                  </a:lnTo>
                  <a:lnTo>
                    <a:pt x="120" y="720"/>
                  </a:lnTo>
                  <a:lnTo>
                    <a:pt x="120" y="726"/>
                  </a:lnTo>
                  <a:lnTo>
                    <a:pt x="120" y="732"/>
                  </a:lnTo>
                  <a:close/>
                  <a:moveTo>
                    <a:pt x="216" y="252"/>
                  </a:moveTo>
                  <a:lnTo>
                    <a:pt x="222" y="252"/>
                  </a:lnTo>
                  <a:lnTo>
                    <a:pt x="228" y="252"/>
                  </a:lnTo>
                  <a:lnTo>
                    <a:pt x="222" y="246"/>
                  </a:lnTo>
                  <a:lnTo>
                    <a:pt x="216" y="246"/>
                  </a:lnTo>
                  <a:lnTo>
                    <a:pt x="216" y="252"/>
                  </a:lnTo>
                  <a:close/>
                  <a:moveTo>
                    <a:pt x="222" y="396"/>
                  </a:moveTo>
                  <a:lnTo>
                    <a:pt x="228" y="396"/>
                  </a:lnTo>
                  <a:lnTo>
                    <a:pt x="228" y="402"/>
                  </a:lnTo>
                  <a:lnTo>
                    <a:pt x="234" y="402"/>
                  </a:lnTo>
                  <a:lnTo>
                    <a:pt x="234" y="396"/>
                  </a:lnTo>
                  <a:lnTo>
                    <a:pt x="228" y="396"/>
                  </a:lnTo>
                  <a:lnTo>
                    <a:pt x="228" y="390"/>
                  </a:lnTo>
                  <a:lnTo>
                    <a:pt x="228" y="396"/>
                  </a:lnTo>
                  <a:lnTo>
                    <a:pt x="222" y="396"/>
                  </a:lnTo>
                  <a:close/>
                  <a:moveTo>
                    <a:pt x="0" y="894"/>
                  </a:moveTo>
                  <a:lnTo>
                    <a:pt x="6" y="900"/>
                  </a:lnTo>
                  <a:lnTo>
                    <a:pt x="12" y="900"/>
                  </a:lnTo>
                  <a:lnTo>
                    <a:pt x="12" y="894"/>
                  </a:lnTo>
                  <a:lnTo>
                    <a:pt x="6" y="894"/>
                  </a:lnTo>
                  <a:lnTo>
                    <a:pt x="0" y="894"/>
                  </a:lnTo>
                  <a:close/>
                  <a:moveTo>
                    <a:pt x="126" y="726"/>
                  </a:moveTo>
                  <a:lnTo>
                    <a:pt x="132" y="732"/>
                  </a:lnTo>
                  <a:lnTo>
                    <a:pt x="138" y="732"/>
                  </a:lnTo>
                  <a:lnTo>
                    <a:pt x="138" y="726"/>
                  </a:lnTo>
                  <a:lnTo>
                    <a:pt x="132" y="726"/>
                  </a:lnTo>
                  <a:lnTo>
                    <a:pt x="126" y="726"/>
                  </a:lnTo>
                  <a:close/>
                  <a:moveTo>
                    <a:pt x="252" y="6"/>
                  </a:moveTo>
                  <a:lnTo>
                    <a:pt x="258" y="6"/>
                  </a:lnTo>
                  <a:lnTo>
                    <a:pt x="258" y="0"/>
                  </a:lnTo>
                  <a:lnTo>
                    <a:pt x="252" y="0"/>
                  </a:lnTo>
                  <a:lnTo>
                    <a:pt x="252" y="6"/>
                  </a:lnTo>
                  <a:close/>
                  <a:moveTo>
                    <a:pt x="192" y="456"/>
                  </a:moveTo>
                  <a:lnTo>
                    <a:pt x="192" y="462"/>
                  </a:lnTo>
                  <a:lnTo>
                    <a:pt x="198" y="462"/>
                  </a:lnTo>
                  <a:lnTo>
                    <a:pt x="198" y="456"/>
                  </a:lnTo>
                  <a:lnTo>
                    <a:pt x="198" y="450"/>
                  </a:lnTo>
                  <a:lnTo>
                    <a:pt x="192" y="450"/>
                  </a:lnTo>
                  <a:lnTo>
                    <a:pt x="192" y="456"/>
                  </a:lnTo>
                  <a:close/>
                  <a:moveTo>
                    <a:pt x="216" y="420"/>
                  </a:moveTo>
                  <a:lnTo>
                    <a:pt x="222" y="420"/>
                  </a:lnTo>
                  <a:lnTo>
                    <a:pt x="228" y="426"/>
                  </a:lnTo>
                  <a:lnTo>
                    <a:pt x="228" y="420"/>
                  </a:lnTo>
                  <a:lnTo>
                    <a:pt x="222" y="420"/>
                  </a:lnTo>
                  <a:lnTo>
                    <a:pt x="222" y="414"/>
                  </a:lnTo>
                  <a:lnTo>
                    <a:pt x="216" y="414"/>
                  </a:lnTo>
                  <a:lnTo>
                    <a:pt x="216" y="420"/>
                  </a:lnTo>
                  <a:close/>
                  <a:moveTo>
                    <a:pt x="264" y="312"/>
                  </a:moveTo>
                  <a:lnTo>
                    <a:pt x="270" y="312"/>
                  </a:lnTo>
                  <a:lnTo>
                    <a:pt x="264" y="312"/>
                  </a:lnTo>
                  <a:lnTo>
                    <a:pt x="264" y="318"/>
                  </a:lnTo>
                  <a:lnTo>
                    <a:pt x="270" y="318"/>
                  </a:lnTo>
                  <a:lnTo>
                    <a:pt x="276" y="318"/>
                  </a:lnTo>
                  <a:lnTo>
                    <a:pt x="282" y="318"/>
                  </a:lnTo>
                  <a:lnTo>
                    <a:pt x="276" y="312"/>
                  </a:lnTo>
                  <a:lnTo>
                    <a:pt x="270" y="312"/>
                  </a:lnTo>
                  <a:lnTo>
                    <a:pt x="264" y="312"/>
                  </a:lnTo>
                  <a:lnTo>
                    <a:pt x="264" y="306"/>
                  </a:lnTo>
                  <a:lnTo>
                    <a:pt x="258" y="306"/>
                  </a:lnTo>
                  <a:lnTo>
                    <a:pt x="258" y="312"/>
                  </a:lnTo>
                  <a:lnTo>
                    <a:pt x="264" y="312"/>
                  </a:lnTo>
                  <a:close/>
                  <a:moveTo>
                    <a:pt x="192" y="78"/>
                  </a:moveTo>
                  <a:lnTo>
                    <a:pt x="192" y="72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192" y="78"/>
                  </a:lnTo>
                  <a:lnTo>
                    <a:pt x="192" y="84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04" y="84"/>
                  </a:lnTo>
                  <a:lnTo>
                    <a:pt x="210" y="84"/>
                  </a:lnTo>
                  <a:lnTo>
                    <a:pt x="210" y="78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204" y="78"/>
                  </a:lnTo>
                  <a:lnTo>
                    <a:pt x="198" y="72"/>
                  </a:lnTo>
                  <a:lnTo>
                    <a:pt x="192" y="72"/>
                  </a:lnTo>
                  <a:lnTo>
                    <a:pt x="192" y="78"/>
                  </a:lnTo>
                  <a:close/>
                  <a:moveTo>
                    <a:pt x="246" y="684"/>
                  </a:moveTo>
                  <a:lnTo>
                    <a:pt x="252" y="684"/>
                  </a:lnTo>
                  <a:lnTo>
                    <a:pt x="258" y="678"/>
                  </a:lnTo>
                  <a:lnTo>
                    <a:pt x="264" y="672"/>
                  </a:lnTo>
                  <a:lnTo>
                    <a:pt x="258" y="666"/>
                  </a:lnTo>
                  <a:lnTo>
                    <a:pt x="258" y="672"/>
                  </a:lnTo>
                  <a:lnTo>
                    <a:pt x="252" y="672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6" y="684"/>
                  </a:lnTo>
                  <a:close/>
                  <a:moveTo>
                    <a:pt x="234" y="24"/>
                  </a:moveTo>
                  <a:lnTo>
                    <a:pt x="234" y="30"/>
                  </a:lnTo>
                  <a:lnTo>
                    <a:pt x="240" y="30"/>
                  </a:lnTo>
                  <a:lnTo>
                    <a:pt x="240" y="36"/>
                  </a:lnTo>
                  <a:lnTo>
                    <a:pt x="240" y="30"/>
                  </a:lnTo>
                  <a:lnTo>
                    <a:pt x="240" y="36"/>
                  </a:lnTo>
                  <a:lnTo>
                    <a:pt x="246" y="36"/>
                  </a:lnTo>
                  <a:lnTo>
                    <a:pt x="246" y="30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46" y="18"/>
                  </a:lnTo>
                  <a:lnTo>
                    <a:pt x="246" y="12"/>
                  </a:lnTo>
                  <a:lnTo>
                    <a:pt x="246" y="6"/>
                  </a:lnTo>
                  <a:lnTo>
                    <a:pt x="246" y="12"/>
                  </a:lnTo>
                  <a:lnTo>
                    <a:pt x="240" y="12"/>
                  </a:lnTo>
                  <a:lnTo>
                    <a:pt x="240" y="18"/>
                  </a:lnTo>
                  <a:lnTo>
                    <a:pt x="240" y="12"/>
                  </a:lnTo>
                  <a:lnTo>
                    <a:pt x="234" y="12"/>
                  </a:lnTo>
                  <a:lnTo>
                    <a:pt x="234" y="18"/>
                  </a:lnTo>
                  <a:lnTo>
                    <a:pt x="234" y="12"/>
                  </a:lnTo>
                  <a:lnTo>
                    <a:pt x="234" y="18"/>
                  </a:lnTo>
                  <a:lnTo>
                    <a:pt x="234" y="24"/>
                  </a:lnTo>
                  <a:close/>
                  <a:moveTo>
                    <a:pt x="24" y="846"/>
                  </a:moveTo>
                  <a:lnTo>
                    <a:pt x="30" y="846"/>
                  </a:lnTo>
                  <a:lnTo>
                    <a:pt x="36" y="846"/>
                  </a:lnTo>
                  <a:lnTo>
                    <a:pt x="36" y="840"/>
                  </a:lnTo>
                  <a:lnTo>
                    <a:pt x="42" y="840"/>
                  </a:lnTo>
                  <a:lnTo>
                    <a:pt x="42" y="834"/>
                  </a:lnTo>
                  <a:lnTo>
                    <a:pt x="48" y="834"/>
                  </a:lnTo>
                  <a:lnTo>
                    <a:pt x="48" y="828"/>
                  </a:lnTo>
                  <a:lnTo>
                    <a:pt x="42" y="828"/>
                  </a:lnTo>
                  <a:lnTo>
                    <a:pt x="42" y="834"/>
                  </a:lnTo>
                  <a:lnTo>
                    <a:pt x="36" y="834"/>
                  </a:lnTo>
                  <a:lnTo>
                    <a:pt x="30" y="834"/>
                  </a:lnTo>
                  <a:lnTo>
                    <a:pt x="24" y="834"/>
                  </a:lnTo>
                  <a:lnTo>
                    <a:pt x="18" y="834"/>
                  </a:lnTo>
                  <a:lnTo>
                    <a:pt x="18" y="840"/>
                  </a:lnTo>
                  <a:lnTo>
                    <a:pt x="18" y="846"/>
                  </a:lnTo>
                  <a:lnTo>
                    <a:pt x="24" y="846"/>
                  </a:lnTo>
                  <a:close/>
                  <a:moveTo>
                    <a:pt x="168" y="114"/>
                  </a:moveTo>
                  <a:lnTo>
                    <a:pt x="174" y="114"/>
                  </a:lnTo>
                  <a:lnTo>
                    <a:pt x="180" y="114"/>
                  </a:lnTo>
                  <a:lnTo>
                    <a:pt x="180" y="108"/>
                  </a:lnTo>
                  <a:lnTo>
                    <a:pt x="180" y="102"/>
                  </a:lnTo>
                  <a:lnTo>
                    <a:pt x="186" y="102"/>
                  </a:lnTo>
                  <a:lnTo>
                    <a:pt x="186" y="96"/>
                  </a:lnTo>
                  <a:lnTo>
                    <a:pt x="186" y="90"/>
                  </a:lnTo>
                  <a:lnTo>
                    <a:pt x="186" y="84"/>
                  </a:lnTo>
                  <a:lnTo>
                    <a:pt x="186" y="90"/>
                  </a:lnTo>
                  <a:lnTo>
                    <a:pt x="186" y="96"/>
                  </a:lnTo>
                  <a:lnTo>
                    <a:pt x="180" y="96"/>
                  </a:lnTo>
                  <a:lnTo>
                    <a:pt x="174" y="96"/>
                  </a:lnTo>
                  <a:lnTo>
                    <a:pt x="174" y="102"/>
                  </a:lnTo>
                  <a:lnTo>
                    <a:pt x="168" y="102"/>
                  </a:lnTo>
                  <a:lnTo>
                    <a:pt x="168" y="108"/>
                  </a:lnTo>
                  <a:lnTo>
                    <a:pt x="168" y="114"/>
                  </a:lnTo>
                  <a:close/>
                  <a:moveTo>
                    <a:pt x="126" y="708"/>
                  </a:moveTo>
                  <a:lnTo>
                    <a:pt x="126" y="714"/>
                  </a:lnTo>
                  <a:lnTo>
                    <a:pt x="132" y="714"/>
                  </a:lnTo>
                  <a:lnTo>
                    <a:pt x="126" y="714"/>
                  </a:lnTo>
                  <a:lnTo>
                    <a:pt x="126" y="720"/>
                  </a:lnTo>
                  <a:lnTo>
                    <a:pt x="132" y="720"/>
                  </a:lnTo>
                  <a:lnTo>
                    <a:pt x="132" y="714"/>
                  </a:lnTo>
                  <a:lnTo>
                    <a:pt x="138" y="714"/>
                  </a:lnTo>
                  <a:lnTo>
                    <a:pt x="138" y="720"/>
                  </a:lnTo>
                  <a:lnTo>
                    <a:pt x="144" y="720"/>
                  </a:lnTo>
                  <a:lnTo>
                    <a:pt x="144" y="714"/>
                  </a:lnTo>
                  <a:lnTo>
                    <a:pt x="150" y="714"/>
                  </a:lnTo>
                  <a:lnTo>
                    <a:pt x="144" y="720"/>
                  </a:lnTo>
                  <a:lnTo>
                    <a:pt x="150" y="720"/>
                  </a:lnTo>
                  <a:lnTo>
                    <a:pt x="150" y="714"/>
                  </a:lnTo>
                  <a:lnTo>
                    <a:pt x="144" y="714"/>
                  </a:lnTo>
                  <a:lnTo>
                    <a:pt x="138" y="714"/>
                  </a:lnTo>
                  <a:lnTo>
                    <a:pt x="138" y="708"/>
                  </a:lnTo>
                  <a:lnTo>
                    <a:pt x="132" y="708"/>
                  </a:lnTo>
                  <a:lnTo>
                    <a:pt x="138" y="708"/>
                  </a:lnTo>
                  <a:lnTo>
                    <a:pt x="138" y="702"/>
                  </a:lnTo>
                  <a:lnTo>
                    <a:pt x="132" y="702"/>
                  </a:lnTo>
                  <a:lnTo>
                    <a:pt x="132" y="708"/>
                  </a:lnTo>
                  <a:lnTo>
                    <a:pt x="126" y="702"/>
                  </a:lnTo>
                  <a:lnTo>
                    <a:pt x="126" y="696"/>
                  </a:lnTo>
                  <a:lnTo>
                    <a:pt x="120" y="702"/>
                  </a:lnTo>
                  <a:lnTo>
                    <a:pt x="126" y="708"/>
                  </a:lnTo>
                  <a:close/>
                  <a:moveTo>
                    <a:pt x="78" y="786"/>
                  </a:moveTo>
                  <a:lnTo>
                    <a:pt x="84" y="786"/>
                  </a:lnTo>
                  <a:lnTo>
                    <a:pt x="84" y="792"/>
                  </a:lnTo>
                  <a:lnTo>
                    <a:pt x="90" y="792"/>
                  </a:lnTo>
                  <a:lnTo>
                    <a:pt x="90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102" y="774"/>
                  </a:lnTo>
                  <a:lnTo>
                    <a:pt x="102" y="768"/>
                  </a:lnTo>
                  <a:lnTo>
                    <a:pt x="96" y="768"/>
                  </a:lnTo>
                  <a:lnTo>
                    <a:pt x="90" y="768"/>
                  </a:lnTo>
                  <a:lnTo>
                    <a:pt x="90" y="762"/>
                  </a:lnTo>
                  <a:lnTo>
                    <a:pt x="90" y="756"/>
                  </a:lnTo>
                  <a:lnTo>
                    <a:pt x="90" y="750"/>
                  </a:lnTo>
                  <a:lnTo>
                    <a:pt x="84" y="750"/>
                  </a:lnTo>
                  <a:lnTo>
                    <a:pt x="78" y="750"/>
                  </a:lnTo>
                  <a:lnTo>
                    <a:pt x="78" y="756"/>
                  </a:lnTo>
                  <a:lnTo>
                    <a:pt x="78" y="762"/>
                  </a:lnTo>
                  <a:lnTo>
                    <a:pt x="78" y="768"/>
                  </a:lnTo>
                  <a:lnTo>
                    <a:pt x="78" y="774"/>
                  </a:lnTo>
                  <a:lnTo>
                    <a:pt x="78" y="780"/>
                  </a:lnTo>
                  <a:lnTo>
                    <a:pt x="78" y="786"/>
                  </a:lnTo>
                  <a:close/>
                  <a:moveTo>
                    <a:pt x="300" y="330"/>
                  </a:moveTo>
                  <a:lnTo>
                    <a:pt x="300" y="336"/>
                  </a:lnTo>
                  <a:lnTo>
                    <a:pt x="306" y="336"/>
                  </a:lnTo>
                  <a:lnTo>
                    <a:pt x="306" y="342"/>
                  </a:lnTo>
                  <a:lnTo>
                    <a:pt x="306" y="348"/>
                  </a:lnTo>
                  <a:lnTo>
                    <a:pt x="312" y="354"/>
                  </a:lnTo>
                  <a:lnTo>
                    <a:pt x="318" y="354"/>
                  </a:lnTo>
                  <a:lnTo>
                    <a:pt x="324" y="354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42" y="342"/>
                  </a:lnTo>
                  <a:lnTo>
                    <a:pt x="348" y="342"/>
                  </a:lnTo>
                  <a:lnTo>
                    <a:pt x="348" y="336"/>
                  </a:lnTo>
                  <a:lnTo>
                    <a:pt x="348" y="330"/>
                  </a:lnTo>
                  <a:lnTo>
                    <a:pt x="348" y="324"/>
                  </a:lnTo>
                  <a:lnTo>
                    <a:pt x="342" y="324"/>
                  </a:lnTo>
                  <a:lnTo>
                    <a:pt x="336" y="324"/>
                  </a:lnTo>
                  <a:lnTo>
                    <a:pt x="336" y="318"/>
                  </a:lnTo>
                  <a:lnTo>
                    <a:pt x="330" y="318"/>
                  </a:lnTo>
                  <a:lnTo>
                    <a:pt x="324" y="318"/>
                  </a:lnTo>
                  <a:lnTo>
                    <a:pt x="318" y="312"/>
                  </a:lnTo>
                  <a:lnTo>
                    <a:pt x="312" y="312"/>
                  </a:lnTo>
                  <a:lnTo>
                    <a:pt x="312" y="318"/>
                  </a:lnTo>
                  <a:lnTo>
                    <a:pt x="306" y="318"/>
                  </a:lnTo>
                  <a:lnTo>
                    <a:pt x="306" y="324"/>
                  </a:lnTo>
                  <a:lnTo>
                    <a:pt x="300" y="324"/>
                  </a:lnTo>
                  <a:lnTo>
                    <a:pt x="300" y="330"/>
                  </a:lnTo>
                  <a:close/>
                  <a:moveTo>
                    <a:pt x="378" y="324"/>
                  </a:moveTo>
                  <a:lnTo>
                    <a:pt x="378" y="330"/>
                  </a:lnTo>
                  <a:lnTo>
                    <a:pt x="384" y="330"/>
                  </a:lnTo>
                  <a:lnTo>
                    <a:pt x="390" y="330"/>
                  </a:lnTo>
                  <a:lnTo>
                    <a:pt x="396" y="330"/>
                  </a:lnTo>
                  <a:lnTo>
                    <a:pt x="396" y="324"/>
                  </a:lnTo>
                  <a:lnTo>
                    <a:pt x="396" y="318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396" y="300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08" y="288"/>
                  </a:lnTo>
                  <a:lnTo>
                    <a:pt x="408" y="282"/>
                  </a:lnTo>
                  <a:lnTo>
                    <a:pt x="408" y="276"/>
                  </a:lnTo>
                  <a:lnTo>
                    <a:pt x="414" y="270"/>
                  </a:lnTo>
                  <a:lnTo>
                    <a:pt x="408" y="270"/>
                  </a:lnTo>
                  <a:lnTo>
                    <a:pt x="408" y="264"/>
                  </a:lnTo>
                  <a:lnTo>
                    <a:pt x="408" y="258"/>
                  </a:lnTo>
                  <a:lnTo>
                    <a:pt x="414" y="258"/>
                  </a:lnTo>
                  <a:lnTo>
                    <a:pt x="408" y="258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02" y="252"/>
                  </a:lnTo>
                  <a:lnTo>
                    <a:pt x="396" y="258"/>
                  </a:lnTo>
                  <a:lnTo>
                    <a:pt x="396" y="264"/>
                  </a:lnTo>
                  <a:lnTo>
                    <a:pt x="396" y="270"/>
                  </a:lnTo>
                  <a:lnTo>
                    <a:pt x="390" y="270"/>
                  </a:lnTo>
                  <a:lnTo>
                    <a:pt x="390" y="276"/>
                  </a:lnTo>
                  <a:lnTo>
                    <a:pt x="390" y="282"/>
                  </a:lnTo>
                  <a:lnTo>
                    <a:pt x="390" y="288"/>
                  </a:lnTo>
                  <a:lnTo>
                    <a:pt x="390" y="294"/>
                  </a:lnTo>
                  <a:lnTo>
                    <a:pt x="384" y="306"/>
                  </a:lnTo>
                  <a:lnTo>
                    <a:pt x="378" y="306"/>
                  </a:lnTo>
                  <a:lnTo>
                    <a:pt x="378" y="312"/>
                  </a:lnTo>
                  <a:lnTo>
                    <a:pt x="378" y="318"/>
                  </a:lnTo>
                  <a:lnTo>
                    <a:pt x="378" y="324"/>
                  </a:lnTo>
                  <a:close/>
                  <a:moveTo>
                    <a:pt x="114" y="690"/>
                  </a:moveTo>
                  <a:lnTo>
                    <a:pt x="120" y="690"/>
                  </a:lnTo>
                  <a:lnTo>
                    <a:pt x="120" y="696"/>
                  </a:lnTo>
                  <a:lnTo>
                    <a:pt x="126" y="696"/>
                  </a:lnTo>
                  <a:lnTo>
                    <a:pt x="132" y="696"/>
                  </a:lnTo>
                  <a:lnTo>
                    <a:pt x="138" y="696"/>
                  </a:lnTo>
                  <a:lnTo>
                    <a:pt x="138" y="702"/>
                  </a:lnTo>
                  <a:lnTo>
                    <a:pt x="144" y="702"/>
                  </a:lnTo>
                  <a:lnTo>
                    <a:pt x="138" y="702"/>
                  </a:lnTo>
                  <a:lnTo>
                    <a:pt x="138" y="708"/>
                  </a:lnTo>
                  <a:lnTo>
                    <a:pt x="144" y="708"/>
                  </a:lnTo>
                  <a:lnTo>
                    <a:pt x="138" y="708"/>
                  </a:lnTo>
                  <a:lnTo>
                    <a:pt x="144" y="708"/>
                  </a:lnTo>
                  <a:lnTo>
                    <a:pt x="150" y="708"/>
                  </a:lnTo>
                  <a:lnTo>
                    <a:pt x="156" y="708"/>
                  </a:lnTo>
                  <a:lnTo>
                    <a:pt x="150" y="708"/>
                  </a:lnTo>
                  <a:lnTo>
                    <a:pt x="150" y="714"/>
                  </a:lnTo>
                  <a:lnTo>
                    <a:pt x="156" y="714"/>
                  </a:lnTo>
                  <a:lnTo>
                    <a:pt x="156" y="708"/>
                  </a:lnTo>
                  <a:lnTo>
                    <a:pt x="150" y="708"/>
                  </a:lnTo>
                  <a:lnTo>
                    <a:pt x="150" y="702"/>
                  </a:lnTo>
                  <a:lnTo>
                    <a:pt x="156" y="708"/>
                  </a:lnTo>
                  <a:lnTo>
                    <a:pt x="162" y="708"/>
                  </a:lnTo>
                  <a:lnTo>
                    <a:pt x="162" y="702"/>
                  </a:lnTo>
                  <a:lnTo>
                    <a:pt x="168" y="702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68" y="696"/>
                  </a:lnTo>
                  <a:lnTo>
                    <a:pt x="168" y="690"/>
                  </a:lnTo>
                  <a:lnTo>
                    <a:pt x="162" y="690"/>
                  </a:lnTo>
                  <a:lnTo>
                    <a:pt x="168" y="690"/>
                  </a:lnTo>
                  <a:lnTo>
                    <a:pt x="168" y="684"/>
                  </a:lnTo>
                  <a:lnTo>
                    <a:pt x="174" y="684"/>
                  </a:lnTo>
                  <a:lnTo>
                    <a:pt x="180" y="684"/>
                  </a:lnTo>
                  <a:lnTo>
                    <a:pt x="180" y="678"/>
                  </a:lnTo>
                  <a:lnTo>
                    <a:pt x="186" y="678"/>
                  </a:lnTo>
                  <a:lnTo>
                    <a:pt x="186" y="672"/>
                  </a:lnTo>
                  <a:lnTo>
                    <a:pt x="192" y="672"/>
                  </a:lnTo>
                  <a:lnTo>
                    <a:pt x="192" y="666"/>
                  </a:lnTo>
                  <a:lnTo>
                    <a:pt x="198" y="666"/>
                  </a:lnTo>
                  <a:lnTo>
                    <a:pt x="204" y="666"/>
                  </a:lnTo>
                  <a:lnTo>
                    <a:pt x="204" y="660"/>
                  </a:lnTo>
                  <a:lnTo>
                    <a:pt x="210" y="660"/>
                  </a:lnTo>
                  <a:lnTo>
                    <a:pt x="210" y="654"/>
                  </a:lnTo>
                  <a:lnTo>
                    <a:pt x="204" y="648"/>
                  </a:lnTo>
                  <a:lnTo>
                    <a:pt x="204" y="642"/>
                  </a:lnTo>
                  <a:lnTo>
                    <a:pt x="198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204" y="654"/>
                  </a:lnTo>
                  <a:lnTo>
                    <a:pt x="204" y="660"/>
                  </a:lnTo>
                  <a:lnTo>
                    <a:pt x="198" y="660"/>
                  </a:lnTo>
                  <a:lnTo>
                    <a:pt x="198" y="654"/>
                  </a:lnTo>
                  <a:lnTo>
                    <a:pt x="198" y="660"/>
                  </a:lnTo>
                  <a:lnTo>
                    <a:pt x="192" y="660"/>
                  </a:lnTo>
                  <a:lnTo>
                    <a:pt x="198" y="660"/>
                  </a:lnTo>
                  <a:lnTo>
                    <a:pt x="192" y="654"/>
                  </a:lnTo>
                  <a:lnTo>
                    <a:pt x="192" y="660"/>
                  </a:lnTo>
                  <a:lnTo>
                    <a:pt x="186" y="660"/>
                  </a:lnTo>
                  <a:lnTo>
                    <a:pt x="192" y="660"/>
                  </a:lnTo>
                  <a:lnTo>
                    <a:pt x="192" y="654"/>
                  </a:lnTo>
                  <a:lnTo>
                    <a:pt x="186" y="654"/>
                  </a:lnTo>
                  <a:lnTo>
                    <a:pt x="180" y="654"/>
                  </a:lnTo>
                  <a:lnTo>
                    <a:pt x="174" y="660"/>
                  </a:lnTo>
                  <a:lnTo>
                    <a:pt x="174" y="666"/>
                  </a:lnTo>
                  <a:lnTo>
                    <a:pt x="174" y="660"/>
                  </a:lnTo>
                  <a:lnTo>
                    <a:pt x="168" y="666"/>
                  </a:lnTo>
                  <a:lnTo>
                    <a:pt x="168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38" y="678"/>
                  </a:lnTo>
                  <a:lnTo>
                    <a:pt x="132" y="678"/>
                  </a:lnTo>
                  <a:lnTo>
                    <a:pt x="126" y="678"/>
                  </a:lnTo>
                  <a:lnTo>
                    <a:pt x="126" y="684"/>
                  </a:lnTo>
                  <a:lnTo>
                    <a:pt x="132" y="684"/>
                  </a:lnTo>
                  <a:lnTo>
                    <a:pt x="138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32" y="684"/>
                  </a:lnTo>
                  <a:lnTo>
                    <a:pt x="126" y="684"/>
                  </a:lnTo>
                  <a:lnTo>
                    <a:pt x="126" y="690"/>
                  </a:lnTo>
                  <a:lnTo>
                    <a:pt x="120" y="690"/>
                  </a:lnTo>
                  <a:lnTo>
                    <a:pt x="120" y="684"/>
                  </a:lnTo>
                  <a:lnTo>
                    <a:pt x="120" y="690"/>
                  </a:lnTo>
                  <a:lnTo>
                    <a:pt x="114" y="690"/>
                  </a:lnTo>
                  <a:close/>
                  <a:moveTo>
                    <a:pt x="414" y="144"/>
                  </a:moveTo>
                  <a:lnTo>
                    <a:pt x="414" y="138"/>
                  </a:lnTo>
                  <a:lnTo>
                    <a:pt x="420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20" y="120"/>
                  </a:lnTo>
                  <a:lnTo>
                    <a:pt x="420" y="114"/>
                  </a:lnTo>
                  <a:lnTo>
                    <a:pt x="414" y="114"/>
                  </a:lnTo>
                  <a:lnTo>
                    <a:pt x="408" y="114"/>
                  </a:lnTo>
                  <a:lnTo>
                    <a:pt x="402" y="114"/>
                  </a:lnTo>
                  <a:lnTo>
                    <a:pt x="402" y="108"/>
                  </a:lnTo>
                  <a:lnTo>
                    <a:pt x="396" y="114"/>
                  </a:lnTo>
                  <a:lnTo>
                    <a:pt x="396" y="108"/>
                  </a:lnTo>
                  <a:lnTo>
                    <a:pt x="390" y="108"/>
                  </a:lnTo>
                  <a:lnTo>
                    <a:pt x="390" y="102"/>
                  </a:lnTo>
                  <a:lnTo>
                    <a:pt x="390" y="96"/>
                  </a:lnTo>
                  <a:lnTo>
                    <a:pt x="384" y="96"/>
                  </a:lnTo>
                  <a:lnTo>
                    <a:pt x="384" y="90"/>
                  </a:lnTo>
                  <a:lnTo>
                    <a:pt x="378" y="90"/>
                  </a:lnTo>
                  <a:lnTo>
                    <a:pt x="372" y="84"/>
                  </a:lnTo>
                  <a:lnTo>
                    <a:pt x="366" y="84"/>
                  </a:lnTo>
                  <a:lnTo>
                    <a:pt x="366" y="78"/>
                  </a:lnTo>
                  <a:lnTo>
                    <a:pt x="366" y="72"/>
                  </a:lnTo>
                  <a:lnTo>
                    <a:pt x="372" y="72"/>
                  </a:lnTo>
                  <a:lnTo>
                    <a:pt x="366" y="72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54" y="60"/>
                  </a:lnTo>
                  <a:lnTo>
                    <a:pt x="348" y="60"/>
                  </a:lnTo>
                  <a:lnTo>
                    <a:pt x="348" y="54"/>
                  </a:lnTo>
                  <a:lnTo>
                    <a:pt x="348" y="48"/>
                  </a:lnTo>
                  <a:lnTo>
                    <a:pt x="342" y="48"/>
                  </a:lnTo>
                  <a:lnTo>
                    <a:pt x="342" y="42"/>
                  </a:lnTo>
                  <a:lnTo>
                    <a:pt x="336" y="36"/>
                  </a:lnTo>
                  <a:lnTo>
                    <a:pt x="330" y="30"/>
                  </a:lnTo>
                  <a:lnTo>
                    <a:pt x="324" y="30"/>
                  </a:lnTo>
                  <a:lnTo>
                    <a:pt x="324" y="24"/>
                  </a:lnTo>
                  <a:lnTo>
                    <a:pt x="318" y="24"/>
                  </a:lnTo>
                  <a:lnTo>
                    <a:pt x="318" y="18"/>
                  </a:lnTo>
                  <a:lnTo>
                    <a:pt x="312" y="18"/>
                  </a:lnTo>
                  <a:lnTo>
                    <a:pt x="312" y="24"/>
                  </a:lnTo>
                  <a:lnTo>
                    <a:pt x="306" y="24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300" y="24"/>
                  </a:lnTo>
                  <a:lnTo>
                    <a:pt x="300" y="30"/>
                  </a:lnTo>
                  <a:lnTo>
                    <a:pt x="294" y="30"/>
                  </a:lnTo>
                  <a:lnTo>
                    <a:pt x="288" y="30"/>
                  </a:lnTo>
                  <a:lnTo>
                    <a:pt x="282" y="30"/>
                  </a:lnTo>
                  <a:lnTo>
                    <a:pt x="282" y="24"/>
                  </a:lnTo>
                  <a:lnTo>
                    <a:pt x="276" y="24"/>
                  </a:lnTo>
                  <a:lnTo>
                    <a:pt x="276" y="30"/>
                  </a:lnTo>
                  <a:lnTo>
                    <a:pt x="270" y="30"/>
                  </a:lnTo>
                  <a:lnTo>
                    <a:pt x="270" y="36"/>
                  </a:lnTo>
                  <a:lnTo>
                    <a:pt x="270" y="30"/>
                  </a:lnTo>
                  <a:lnTo>
                    <a:pt x="264" y="30"/>
                  </a:lnTo>
                  <a:lnTo>
                    <a:pt x="258" y="30"/>
                  </a:lnTo>
                  <a:lnTo>
                    <a:pt x="252" y="30"/>
                  </a:lnTo>
                  <a:lnTo>
                    <a:pt x="246" y="30"/>
                  </a:lnTo>
                  <a:lnTo>
                    <a:pt x="246" y="36"/>
                  </a:lnTo>
                  <a:lnTo>
                    <a:pt x="252" y="36"/>
                  </a:lnTo>
                  <a:lnTo>
                    <a:pt x="252" y="42"/>
                  </a:lnTo>
                  <a:lnTo>
                    <a:pt x="252" y="48"/>
                  </a:lnTo>
                  <a:lnTo>
                    <a:pt x="246" y="48"/>
                  </a:lnTo>
                  <a:lnTo>
                    <a:pt x="252" y="54"/>
                  </a:lnTo>
                  <a:lnTo>
                    <a:pt x="246" y="54"/>
                  </a:lnTo>
                  <a:lnTo>
                    <a:pt x="252" y="54"/>
                  </a:lnTo>
                  <a:lnTo>
                    <a:pt x="258" y="60"/>
                  </a:lnTo>
                  <a:lnTo>
                    <a:pt x="258" y="66"/>
                  </a:lnTo>
                  <a:lnTo>
                    <a:pt x="258" y="72"/>
                  </a:lnTo>
                  <a:lnTo>
                    <a:pt x="252" y="72"/>
                  </a:lnTo>
                  <a:lnTo>
                    <a:pt x="252" y="78"/>
                  </a:lnTo>
                  <a:lnTo>
                    <a:pt x="258" y="78"/>
                  </a:lnTo>
                  <a:lnTo>
                    <a:pt x="252" y="78"/>
                  </a:lnTo>
                  <a:lnTo>
                    <a:pt x="258" y="78"/>
                  </a:lnTo>
                  <a:lnTo>
                    <a:pt x="252" y="78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8" y="96"/>
                  </a:lnTo>
                  <a:lnTo>
                    <a:pt x="264" y="96"/>
                  </a:lnTo>
                  <a:lnTo>
                    <a:pt x="264" y="102"/>
                  </a:lnTo>
                  <a:lnTo>
                    <a:pt x="270" y="102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76" y="114"/>
                  </a:lnTo>
                  <a:lnTo>
                    <a:pt x="276" y="120"/>
                  </a:lnTo>
                  <a:lnTo>
                    <a:pt x="282" y="126"/>
                  </a:lnTo>
                  <a:lnTo>
                    <a:pt x="276" y="126"/>
                  </a:lnTo>
                  <a:lnTo>
                    <a:pt x="276" y="132"/>
                  </a:lnTo>
                  <a:lnTo>
                    <a:pt x="276" y="138"/>
                  </a:lnTo>
                  <a:lnTo>
                    <a:pt x="276" y="144"/>
                  </a:lnTo>
                  <a:lnTo>
                    <a:pt x="270" y="144"/>
                  </a:lnTo>
                  <a:lnTo>
                    <a:pt x="270" y="150"/>
                  </a:lnTo>
                  <a:lnTo>
                    <a:pt x="264" y="150"/>
                  </a:lnTo>
                  <a:lnTo>
                    <a:pt x="264" y="156"/>
                  </a:lnTo>
                  <a:lnTo>
                    <a:pt x="264" y="150"/>
                  </a:lnTo>
                  <a:lnTo>
                    <a:pt x="258" y="150"/>
                  </a:lnTo>
                  <a:lnTo>
                    <a:pt x="252" y="150"/>
                  </a:lnTo>
                  <a:lnTo>
                    <a:pt x="252" y="144"/>
                  </a:lnTo>
                  <a:lnTo>
                    <a:pt x="246" y="150"/>
                  </a:lnTo>
                  <a:lnTo>
                    <a:pt x="240" y="150"/>
                  </a:lnTo>
                  <a:lnTo>
                    <a:pt x="246" y="150"/>
                  </a:lnTo>
                  <a:lnTo>
                    <a:pt x="252" y="156"/>
                  </a:lnTo>
                  <a:lnTo>
                    <a:pt x="258" y="162"/>
                  </a:lnTo>
                  <a:lnTo>
                    <a:pt x="258" y="168"/>
                  </a:lnTo>
                  <a:lnTo>
                    <a:pt x="264" y="168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64" y="174"/>
                  </a:lnTo>
                  <a:lnTo>
                    <a:pt x="264" y="180"/>
                  </a:lnTo>
                  <a:lnTo>
                    <a:pt x="270" y="180"/>
                  </a:lnTo>
                  <a:lnTo>
                    <a:pt x="276" y="180"/>
                  </a:lnTo>
                  <a:lnTo>
                    <a:pt x="276" y="174"/>
                  </a:lnTo>
                  <a:lnTo>
                    <a:pt x="276" y="180"/>
                  </a:lnTo>
                  <a:lnTo>
                    <a:pt x="282" y="180"/>
                  </a:lnTo>
                  <a:lnTo>
                    <a:pt x="288" y="180"/>
                  </a:lnTo>
                  <a:lnTo>
                    <a:pt x="294" y="180"/>
                  </a:lnTo>
                  <a:lnTo>
                    <a:pt x="300" y="180"/>
                  </a:lnTo>
                  <a:lnTo>
                    <a:pt x="306" y="180"/>
                  </a:lnTo>
                  <a:lnTo>
                    <a:pt x="312" y="180"/>
                  </a:lnTo>
                  <a:lnTo>
                    <a:pt x="312" y="186"/>
                  </a:lnTo>
                  <a:lnTo>
                    <a:pt x="312" y="192"/>
                  </a:lnTo>
                  <a:lnTo>
                    <a:pt x="318" y="192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0" y="186"/>
                  </a:lnTo>
                  <a:lnTo>
                    <a:pt x="336" y="186"/>
                  </a:lnTo>
                  <a:lnTo>
                    <a:pt x="336" y="180"/>
                  </a:lnTo>
                  <a:lnTo>
                    <a:pt x="336" y="174"/>
                  </a:lnTo>
                  <a:lnTo>
                    <a:pt x="330" y="174"/>
                  </a:lnTo>
                  <a:lnTo>
                    <a:pt x="324" y="168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18" y="156"/>
                  </a:lnTo>
                  <a:lnTo>
                    <a:pt x="312" y="150"/>
                  </a:lnTo>
                  <a:lnTo>
                    <a:pt x="312" y="144"/>
                  </a:lnTo>
                  <a:lnTo>
                    <a:pt x="312" y="138"/>
                  </a:lnTo>
                  <a:lnTo>
                    <a:pt x="312" y="144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12" y="126"/>
                  </a:lnTo>
                  <a:lnTo>
                    <a:pt x="318" y="126"/>
                  </a:lnTo>
                  <a:lnTo>
                    <a:pt x="318" y="120"/>
                  </a:lnTo>
                  <a:lnTo>
                    <a:pt x="318" y="114"/>
                  </a:lnTo>
                  <a:lnTo>
                    <a:pt x="324" y="114"/>
                  </a:lnTo>
                  <a:lnTo>
                    <a:pt x="324" y="108"/>
                  </a:lnTo>
                  <a:lnTo>
                    <a:pt x="324" y="102"/>
                  </a:lnTo>
                  <a:lnTo>
                    <a:pt x="330" y="102"/>
                  </a:lnTo>
                  <a:lnTo>
                    <a:pt x="330" y="96"/>
                  </a:lnTo>
                  <a:lnTo>
                    <a:pt x="336" y="96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8" y="102"/>
                  </a:lnTo>
                  <a:lnTo>
                    <a:pt x="354" y="102"/>
                  </a:lnTo>
                  <a:lnTo>
                    <a:pt x="360" y="108"/>
                  </a:lnTo>
                  <a:lnTo>
                    <a:pt x="360" y="114"/>
                  </a:lnTo>
                  <a:lnTo>
                    <a:pt x="354" y="114"/>
                  </a:lnTo>
                  <a:lnTo>
                    <a:pt x="354" y="120"/>
                  </a:lnTo>
                  <a:lnTo>
                    <a:pt x="354" y="126"/>
                  </a:lnTo>
                  <a:lnTo>
                    <a:pt x="348" y="126"/>
                  </a:lnTo>
                  <a:lnTo>
                    <a:pt x="342" y="126"/>
                  </a:lnTo>
                  <a:lnTo>
                    <a:pt x="342" y="120"/>
                  </a:lnTo>
                  <a:lnTo>
                    <a:pt x="342" y="114"/>
                  </a:lnTo>
                  <a:lnTo>
                    <a:pt x="336" y="114"/>
                  </a:lnTo>
                  <a:lnTo>
                    <a:pt x="330" y="114"/>
                  </a:lnTo>
                  <a:lnTo>
                    <a:pt x="324" y="114"/>
                  </a:lnTo>
                  <a:lnTo>
                    <a:pt x="324" y="120"/>
                  </a:lnTo>
                  <a:lnTo>
                    <a:pt x="324" y="126"/>
                  </a:lnTo>
                  <a:lnTo>
                    <a:pt x="330" y="126"/>
                  </a:lnTo>
                  <a:lnTo>
                    <a:pt x="336" y="126"/>
                  </a:lnTo>
                  <a:lnTo>
                    <a:pt x="342" y="126"/>
                  </a:lnTo>
                  <a:lnTo>
                    <a:pt x="342" y="132"/>
                  </a:lnTo>
                  <a:lnTo>
                    <a:pt x="342" y="138"/>
                  </a:lnTo>
                  <a:lnTo>
                    <a:pt x="342" y="144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0" y="174"/>
                  </a:lnTo>
                  <a:lnTo>
                    <a:pt x="354" y="174"/>
                  </a:lnTo>
                  <a:lnTo>
                    <a:pt x="354" y="180"/>
                  </a:lnTo>
                  <a:lnTo>
                    <a:pt x="354" y="186"/>
                  </a:lnTo>
                  <a:lnTo>
                    <a:pt x="354" y="192"/>
                  </a:lnTo>
                  <a:lnTo>
                    <a:pt x="354" y="198"/>
                  </a:lnTo>
                  <a:lnTo>
                    <a:pt x="348" y="198"/>
                  </a:lnTo>
                  <a:lnTo>
                    <a:pt x="348" y="204"/>
                  </a:lnTo>
                  <a:lnTo>
                    <a:pt x="342" y="204"/>
                  </a:lnTo>
                  <a:lnTo>
                    <a:pt x="336" y="204"/>
                  </a:lnTo>
                  <a:lnTo>
                    <a:pt x="336" y="210"/>
                  </a:lnTo>
                  <a:lnTo>
                    <a:pt x="342" y="210"/>
                  </a:lnTo>
                  <a:lnTo>
                    <a:pt x="342" y="216"/>
                  </a:lnTo>
                  <a:lnTo>
                    <a:pt x="336" y="222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48" y="216"/>
                  </a:lnTo>
                  <a:lnTo>
                    <a:pt x="354" y="210"/>
                  </a:lnTo>
                  <a:lnTo>
                    <a:pt x="360" y="210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66" y="204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384" y="198"/>
                  </a:lnTo>
                  <a:lnTo>
                    <a:pt x="390" y="198"/>
                  </a:lnTo>
                  <a:lnTo>
                    <a:pt x="390" y="192"/>
                  </a:lnTo>
                  <a:lnTo>
                    <a:pt x="396" y="192"/>
                  </a:lnTo>
                  <a:lnTo>
                    <a:pt x="396" y="186"/>
                  </a:lnTo>
                  <a:lnTo>
                    <a:pt x="396" y="180"/>
                  </a:lnTo>
                  <a:lnTo>
                    <a:pt x="402" y="180"/>
                  </a:lnTo>
                  <a:lnTo>
                    <a:pt x="408" y="180"/>
                  </a:lnTo>
                  <a:lnTo>
                    <a:pt x="408" y="174"/>
                  </a:lnTo>
                  <a:lnTo>
                    <a:pt x="414" y="174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408" y="168"/>
                  </a:lnTo>
                  <a:lnTo>
                    <a:pt x="408" y="162"/>
                  </a:lnTo>
                  <a:lnTo>
                    <a:pt x="402" y="162"/>
                  </a:lnTo>
                  <a:lnTo>
                    <a:pt x="396" y="162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8"/>
                  </a:lnTo>
                  <a:lnTo>
                    <a:pt x="408" y="144"/>
                  </a:lnTo>
                  <a:lnTo>
                    <a:pt x="414" y="14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ct val="30000"/>
                </a:spcAft>
                <a:buClr>
                  <a:srgbClr val="DDDDDD"/>
                </a:buClr>
                <a:buFont typeface="Wingdings" pitchFamily="2" charset="2"/>
                <a:buChar char="n"/>
                <a:defRPr/>
              </a:pPr>
              <a:endParaRPr kumimoji="0" lang="ja-JP" altLang="en-US" sz="1800" ker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74" name="ListLeanHorizontalTextTopic1"/>
          <p:cNvSpPr txBox="1">
            <a:spLocks noChangeArrowheads="1"/>
          </p:cNvSpPr>
          <p:nvPr/>
        </p:nvSpPr>
        <p:spPr bwMode="auto">
          <a:xfrm>
            <a:off x="4684733" y="4499145"/>
            <a:ext cx="12192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FontTx/>
              <a:buNone/>
            </a:pPr>
            <a:r>
              <a:rPr lang="en-US" altLang="ja-JP" sz="1600" dirty="0">
                <a:solidFill>
                  <a:srgbClr val="37609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Narita</a:t>
            </a:r>
          </a:p>
        </p:txBody>
      </p:sp>
      <p:sp>
        <p:nvSpPr>
          <p:cNvPr id="75" name="ListLeanHorizontalTextTopic1"/>
          <p:cNvSpPr txBox="1">
            <a:spLocks noChangeArrowheads="1"/>
          </p:cNvSpPr>
          <p:nvPr/>
        </p:nvSpPr>
        <p:spPr bwMode="auto">
          <a:xfrm>
            <a:off x="4409690" y="5595017"/>
            <a:ext cx="132873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FontTx/>
              <a:buNone/>
            </a:pPr>
            <a:r>
              <a:rPr lang="en-US" altLang="ja-JP" sz="1600" dirty="0">
                <a:solidFill>
                  <a:srgbClr val="37609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Toyoda</a:t>
            </a:r>
            <a:endParaRPr lang="ja-JP" altLang="en-US" sz="1600" dirty="0">
              <a:solidFill>
                <a:srgbClr val="376092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76" name="ListLeanHorizontalTextTopic1"/>
          <p:cNvSpPr txBox="1">
            <a:spLocks noChangeArrowheads="1"/>
          </p:cNvSpPr>
          <p:nvPr/>
        </p:nvSpPr>
        <p:spPr bwMode="auto">
          <a:xfrm>
            <a:off x="4395402" y="5950617"/>
            <a:ext cx="145732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FontTx/>
              <a:buNone/>
            </a:pPr>
            <a:r>
              <a:rPr lang="en-US" altLang="ja-JP" sz="1600" dirty="0" err="1">
                <a:solidFill>
                  <a:srgbClr val="37609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Centrair</a:t>
            </a:r>
            <a:endParaRPr lang="ja-JP" altLang="en-US" sz="1600" dirty="0">
              <a:solidFill>
                <a:srgbClr val="376092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77" name="ListLeanHorizontalTextTopic1"/>
          <p:cNvSpPr txBox="1">
            <a:spLocks noChangeArrowheads="1"/>
          </p:cNvSpPr>
          <p:nvPr/>
        </p:nvSpPr>
        <p:spPr bwMode="auto">
          <a:xfrm>
            <a:off x="1399789" y="5893234"/>
            <a:ext cx="127476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FontTx/>
              <a:buNone/>
            </a:pPr>
            <a:r>
              <a:rPr lang="en-US" altLang="ja-JP" sz="1600" dirty="0">
                <a:solidFill>
                  <a:srgbClr val="37609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Kyushu</a:t>
            </a:r>
            <a:endParaRPr lang="ja-JP" altLang="en-US" sz="1600" dirty="0">
              <a:solidFill>
                <a:srgbClr val="376092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78" name="ListLeanHorizontalTextTopic1"/>
          <p:cNvSpPr txBox="1">
            <a:spLocks noChangeArrowheads="1"/>
          </p:cNvSpPr>
          <p:nvPr/>
        </p:nvSpPr>
        <p:spPr bwMode="auto">
          <a:xfrm>
            <a:off x="833401" y="4531233"/>
            <a:ext cx="13668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FontTx/>
              <a:buNone/>
            </a:pPr>
            <a:r>
              <a:rPr lang="en-US" altLang="ja-JP" sz="1600" dirty="0">
                <a:solidFill>
                  <a:srgbClr val="37609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Kansai</a:t>
            </a:r>
            <a:endParaRPr lang="ja-JP" altLang="en-US" sz="1600" dirty="0">
              <a:solidFill>
                <a:srgbClr val="376092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79" name="ListLeanHorizontalTextTopic1"/>
          <p:cNvSpPr txBox="1">
            <a:spLocks noChangeArrowheads="1"/>
          </p:cNvSpPr>
          <p:nvPr/>
        </p:nvSpPr>
        <p:spPr bwMode="auto">
          <a:xfrm>
            <a:off x="857987" y="4131342"/>
            <a:ext cx="149066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FontTx/>
              <a:buNone/>
            </a:pPr>
            <a:r>
              <a:rPr lang="en-US" altLang="ja-JP" sz="1600" dirty="0">
                <a:solidFill>
                  <a:srgbClr val="37609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Osaka</a:t>
            </a:r>
            <a:endParaRPr lang="ja-JP" altLang="en-US" sz="1600" dirty="0">
              <a:solidFill>
                <a:srgbClr val="376092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80" name="RbLeanShape Right Angle 139"/>
          <p:cNvSpPr/>
          <p:nvPr/>
        </p:nvSpPr>
        <p:spPr>
          <a:xfrm flipV="1">
            <a:off x="4365240" y="4636167"/>
            <a:ext cx="333375" cy="0"/>
          </a:xfrm>
          <a:custGeom>
            <a:avLst/>
            <a:gdLst>
              <a:gd name="connsiteX0" fmla="*/ 1270000 w 1270000"/>
              <a:gd name="connsiteY0" fmla="*/ 0 h 476250"/>
              <a:gd name="connsiteX1" fmla="*/ 0 w 1270000"/>
              <a:gd name="connsiteY1" fmla="*/ 0 h 476250"/>
              <a:gd name="connsiteX2" fmla="*/ 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1270000" y="0"/>
                </a:moveTo>
                <a:lnTo>
                  <a:pt x="0" y="0"/>
                </a:lnTo>
                <a:lnTo>
                  <a:pt x="0" y="476250"/>
                </a:lnTo>
              </a:path>
            </a:pathLst>
          </a:custGeom>
          <a:noFill/>
          <a:ln w="9525" cap="flat" cmpd="sng" algn="ctr">
            <a:solidFill>
              <a:srgbClr val="24246E"/>
            </a:solidFill>
            <a:prstDash val="solid"/>
            <a:headEnd type="none"/>
            <a:tailEnd type="oval" w="sm" len="sm"/>
          </a:ln>
          <a:effectLst/>
        </p:spPr>
        <p:txBody>
          <a:bodyPr lIns="89972" tIns="89972" rIns="0" bIns="0"/>
          <a:lstStyle/>
          <a:p>
            <a:pPr fontAlgn="ctr">
              <a:spcBef>
                <a:spcPts val="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1" name="RbLeanShape Right Angle 139"/>
          <p:cNvSpPr>
            <a:spLocks/>
          </p:cNvSpPr>
          <p:nvPr/>
        </p:nvSpPr>
        <p:spPr bwMode="auto">
          <a:xfrm flipV="1">
            <a:off x="3787390" y="4840954"/>
            <a:ext cx="614362" cy="887413"/>
          </a:xfrm>
          <a:custGeom>
            <a:avLst/>
            <a:gdLst>
              <a:gd name="T0" fmla="*/ 0 w 1270000"/>
              <a:gd name="T1" fmla="*/ 0 h 476250"/>
              <a:gd name="T2" fmla="*/ 0 w 1270000"/>
              <a:gd name="T3" fmla="*/ 0 h 476250"/>
              <a:gd name="T4" fmla="*/ 0 w 1270000"/>
              <a:gd name="T5" fmla="*/ 2147483647 h 47625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270000" h="476250">
                <a:moveTo>
                  <a:pt x="1270000" y="0"/>
                </a:moveTo>
                <a:lnTo>
                  <a:pt x="0" y="0"/>
                </a:lnTo>
                <a:lnTo>
                  <a:pt x="0" y="476250"/>
                </a:lnTo>
              </a:path>
            </a:pathLst>
          </a:custGeom>
          <a:noFill/>
          <a:ln w="9525" cap="flat" cmpd="sng" algn="ctr">
            <a:solidFill>
              <a:srgbClr val="24246E"/>
            </a:solidFill>
            <a:prstDash val="solid"/>
            <a:round/>
            <a:headEnd type="none" w="med" len="med"/>
            <a:tailEnd type="oval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9972" tIns="89972" rIns="0" bIns="0"/>
          <a:lstStyle/>
          <a:p>
            <a:pPr fontAlgn="auto">
              <a:spcBef>
                <a:spcPts val="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2" name="RbLeanShape Right Angle 139"/>
          <p:cNvSpPr/>
          <p:nvPr/>
        </p:nvSpPr>
        <p:spPr>
          <a:xfrm flipV="1">
            <a:off x="3698490" y="4839367"/>
            <a:ext cx="687387" cy="1292225"/>
          </a:xfrm>
          <a:custGeom>
            <a:avLst/>
            <a:gdLst>
              <a:gd name="connsiteX0" fmla="*/ 1270000 w 1270000"/>
              <a:gd name="connsiteY0" fmla="*/ 0 h 476250"/>
              <a:gd name="connsiteX1" fmla="*/ 0 w 1270000"/>
              <a:gd name="connsiteY1" fmla="*/ 0 h 476250"/>
              <a:gd name="connsiteX2" fmla="*/ 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1270000" y="0"/>
                </a:moveTo>
                <a:lnTo>
                  <a:pt x="0" y="0"/>
                </a:lnTo>
                <a:lnTo>
                  <a:pt x="0" y="476250"/>
                </a:lnTo>
              </a:path>
            </a:pathLst>
          </a:custGeom>
          <a:noFill/>
          <a:ln w="9525" cap="flat" cmpd="sng" algn="ctr">
            <a:solidFill>
              <a:srgbClr val="24246E"/>
            </a:solidFill>
            <a:prstDash val="solid"/>
            <a:headEnd type="none"/>
            <a:tailEnd type="oval" w="sm" len="sm"/>
          </a:ln>
          <a:effectLst/>
        </p:spPr>
        <p:txBody>
          <a:bodyPr lIns="89972" tIns="89972" rIns="0" bIns="0"/>
          <a:lstStyle/>
          <a:p>
            <a:pPr fontAlgn="ctr">
              <a:spcBef>
                <a:spcPts val="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3" name="RbLeanShape Right Angle 139"/>
          <p:cNvSpPr/>
          <p:nvPr/>
        </p:nvSpPr>
        <p:spPr>
          <a:xfrm flipH="1">
            <a:off x="1547267" y="4691729"/>
            <a:ext cx="1868648" cy="249238"/>
          </a:xfrm>
          <a:custGeom>
            <a:avLst/>
            <a:gdLst>
              <a:gd name="connsiteX0" fmla="*/ 1270000 w 1270000"/>
              <a:gd name="connsiteY0" fmla="*/ 0 h 476250"/>
              <a:gd name="connsiteX1" fmla="*/ 0 w 1270000"/>
              <a:gd name="connsiteY1" fmla="*/ 0 h 476250"/>
              <a:gd name="connsiteX2" fmla="*/ 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1270000" y="0"/>
                </a:moveTo>
                <a:lnTo>
                  <a:pt x="0" y="0"/>
                </a:lnTo>
                <a:lnTo>
                  <a:pt x="0" y="476250"/>
                </a:lnTo>
              </a:path>
            </a:pathLst>
          </a:custGeom>
          <a:noFill/>
          <a:ln w="9525" cap="flat" cmpd="sng" algn="ctr">
            <a:solidFill>
              <a:srgbClr val="24246E"/>
            </a:solidFill>
            <a:prstDash val="solid"/>
            <a:headEnd type="none"/>
            <a:tailEnd type="oval" w="sm" len="sm"/>
          </a:ln>
          <a:effectLst/>
        </p:spPr>
        <p:txBody>
          <a:bodyPr lIns="89972" tIns="89972" rIns="0" bIns="0"/>
          <a:lstStyle/>
          <a:p>
            <a:pPr fontAlgn="ctr">
              <a:spcBef>
                <a:spcPts val="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84" name="Picture 18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2080" y="3040729"/>
            <a:ext cx="2032912" cy="12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5" name="Picture 18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54" y="3250278"/>
            <a:ext cx="2146013" cy="12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6" name="Picture 18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2079" y="5066379"/>
            <a:ext cx="2292244" cy="12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7" name="Picture 18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3436" y="5226717"/>
            <a:ext cx="2148031" cy="12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8" name="Oval 785"/>
          <p:cNvSpPr/>
          <p:nvPr/>
        </p:nvSpPr>
        <p:spPr>
          <a:xfrm>
            <a:off x="2482465" y="5002879"/>
            <a:ext cx="98425" cy="10795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D2DBFD">
                <a:lumMod val="75000"/>
              </a:srgbClr>
            </a:solidFill>
            <a:prstDash val="solid"/>
          </a:ln>
          <a:effectLst/>
        </p:spPr>
        <p:txBody>
          <a:bodyPr lIns="71979" tIns="0" rIns="71979" bIns="0" anchor="ctr"/>
          <a:lstStyle/>
          <a:p>
            <a:pPr fontAlgn="auto">
              <a:lnSpc>
                <a:spcPct val="93000"/>
              </a:lnSpc>
              <a:spcBef>
                <a:spcPts val="3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 dirty="0"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89" name="Oval 785"/>
          <p:cNvSpPr/>
          <p:nvPr/>
        </p:nvSpPr>
        <p:spPr>
          <a:xfrm>
            <a:off x="3366702" y="4879054"/>
            <a:ext cx="100013" cy="10795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D2DBFD">
                <a:lumMod val="75000"/>
              </a:srgbClr>
            </a:solidFill>
            <a:prstDash val="solid"/>
          </a:ln>
          <a:effectLst/>
        </p:spPr>
        <p:txBody>
          <a:bodyPr lIns="71979" tIns="0" rIns="71979" bIns="0" anchor="ctr"/>
          <a:lstStyle/>
          <a:p>
            <a:pPr fontAlgn="auto">
              <a:lnSpc>
                <a:spcPct val="93000"/>
              </a:lnSpc>
              <a:spcBef>
                <a:spcPts val="3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90" name="Oval 785"/>
          <p:cNvSpPr/>
          <p:nvPr/>
        </p:nvSpPr>
        <p:spPr>
          <a:xfrm>
            <a:off x="3649277" y="4782217"/>
            <a:ext cx="100013" cy="10795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lIns="71979" tIns="0" rIns="71979" bIns="0" anchor="ctr"/>
          <a:lstStyle/>
          <a:p>
            <a:pPr fontAlgn="auto">
              <a:lnSpc>
                <a:spcPct val="93000"/>
              </a:lnSpc>
              <a:spcBef>
                <a:spcPts val="3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 dirty="0"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91" name="Oval 785"/>
          <p:cNvSpPr/>
          <p:nvPr/>
        </p:nvSpPr>
        <p:spPr>
          <a:xfrm>
            <a:off x="4179502" y="4542504"/>
            <a:ext cx="100013" cy="10795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D2DBFD">
                <a:lumMod val="75000"/>
              </a:srgbClr>
            </a:solidFill>
            <a:prstDash val="solid"/>
          </a:ln>
          <a:effectLst/>
        </p:spPr>
        <p:txBody>
          <a:bodyPr lIns="71979" tIns="0" rIns="71979" bIns="0" anchor="ctr"/>
          <a:lstStyle/>
          <a:p>
            <a:pPr fontAlgn="auto">
              <a:lnSpc>
                <a:spcPct val="93000"/>
              </a:lnSpc>
              <a:spcBef>
                <a:spcPts val="3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 dirty="0"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92" name="Oval 785"/>
          <p:cNvSpPr/>
          <p:nvPr/>
        </p:nvSpPr>
        <p:spPr>
          <a:xfrm>
            <a:off x="4316027" y="4583779"/>
            <a:ext cx="100013" cy="10795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D2DBFD">
                <a:lumMod val="75000"/>
              </a:srgbClr>
            </a:solidFill>
            <a:prstDash val="solid"/>
          </a:ln>
          <a:effectLst/>
        </p:spPr>
        <p:txBody>
          <a:bodyPr lIns="71979" tIns="0" rIns="71979" bIns="0" anchor="ctr"/>
          <a:lstStyle/>
          <a:p>
            <a:pPr fontAlgn="auto">
              <a:lnSpc>
                <a:spcPct val="93000"/>
              </a:lnSpc>
              <a:spcBef>
                <a:spcPts val="3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 dirty="0"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93" name="AutoShape 192"/>
          <p:cNvSpPr>
            <a:spLocks noChangeArrowheads="1"/>
          </p:cNvSpPr>
          <p:nvPr/>
        </p:nvSpPr>
        <p:spPr bwMode="auto">
          <a:xfrm>
            <a:off x="6678227" y="2110454"/>
            <a:ext cx="409575" cy="150813"/>
          </a:xfrm>
          <a:prstGeom prst="wedgeRectCallout">
            <a:avLst>
              <a:gd name="adj1" fmla="val -488363"/>
              <a:gd name="adj2" fmla="val 1306547"/>
            </a:avLst>
          </a:prstGeom>
          <a:solidFill>
            <a:srgbClr val="FFFFFF"/>
          </a:solidFill>
          <a:ln w="9525">
            <a:solidFill>
              <a:srgbClr val="F67D0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2" tIns="45706" rIns="91412" bIns="45706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ja-JP" altLang="en-US" sz="1800" ker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94" name="Picture 89" descr="C:\Users\kamimura\Desktop\MSC本社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2941" y="1241694"/>
            <a:ext cx="1126808" cy="1698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5" name="RbLeanShape Right Angle 139"/>
          <p:cNvSpPr/>
          <p:nvPr/>
        </p:nvSpPr>
        <p:spPr>
          <a:xfrm flipH="1">
            <a:off x="1533881" y="4304379"/>
            <a:ext cx="1913784" cy="552450"/>
          </a:xfrm>
          <a:custGeom>
            <a:avLst/>
            <a:gdLst>
              <a:gd name="connsiteX0" fmla="*/ 1270000 w 1270000"/>
              <a:gd name="connsiteY0" fmla="*/ 0 h 476250"/>
              <a:gd name="connsiteX1" fmla="*/ 0 w 1270000"/>
              <a:gd name="connsiteY1" fmla="*/ 0 h 476250"/>
              <a:gd name="connsiteX2" fmla="*/ 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1270000" y="0"/>
                </a:moveTo>
                <a:lnTo>
                  <a:pt x="0" y="0"/>
                </a:lnTo>
                <a:lnTo>
                  <a:pt x="0" y="476250"/>
                </a:lnTo>
              </a:path>
            </a:pathLst>
          </a:custGeom>
          <a:noFill/>
          <a:ln w="9525" cap="flat" cmpd="sng" algn="ctr">
            <a:solidFill>
              <a:srgbClr val="24246E"/>
            </a:solidFill>
            <a:prstDash val="solid"/>
            <a:headEnd type="none"/>
            <a:tailEnd type="oval" w="sm" len="sm"/>
          </a:ln>
          <a:effectLst/>
        </p:spPr>
        <p:txBody>
          <a:bodyPr lIns="89972" tIns="89972" rIns="0" bIns="0"/>
          <a:lstStyle/>
          <a:p>
            <a:pPr fontAlgn="ctr">
              <a:spcBef>
                <a:spcPts val="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6" name="RbLeanShape Right Angle 139"/>
          <p:cNvSpPr/>
          <p:nvPr/>
        </p:nvSpPr>
        <p:spPr>
          <a:xfrm rot="16200000" flipV="1">
            <a:off x="1869690" y="5368004"/>
            <a:ext cx="969962" cy="357188"/>
          </a:xfrm>
          <a:custGeom>
            <a:avLst/>
            <a:gdLst>
              <a:gd name="connsiteX0" fmla="*/ 1270000 w 1270000"/>
              <a:gd name="connsiteY0" fmla="*/ 0 h 476250"/>
              <a:gd name="connsiteX1" fmla="*/ 0 w 1270000"/>
              <a:gd name="connsiteY1" fmla="*/ 0 h 476250"/>
              <a:gd name="connsiteX2" fmla="*/ 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1270000" y="0"/>
                </a:moveTo>
                <a:lnTo>
                  <a:pt x="0" y="0"/>
                </a:lnTo>
                <a:lnTo>
                  <a:pt x="0" y="476250"/>
                </a:lnTo>
              </a:path>
            </a:pathLst>
          </a:custGeom>
          <a:noFill/>
          <a:ln w="9525" cap="flat" cmpd="sng" algn="ctr">
            <a:solidFill>
              <a:srgbClr val="24246E"/>
            </a:solidFill>
            <a:prstDash val="solid"/>
            <a:headEnd type="none"/>
            <a:tailEnd type="none" w="sm" len="sm"/>
          </a:ln>
          <a:effectLst/>
        </p:spPr>
        <p:txBody>
          <a:bodyPr lIns="89972" tIns="89972" rIns="0" bIns="0"/>
          <a:lstStyle/>
          <a:p>
            <a:pPr fontAlgn="ctr">
              <a:spcBef>
                <a:spcPts val="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7" name="Oval 785"/>
          <p:cNvSpPr/>
          <p:nvPr/>
        </p:nvSpPr>
        <p:spPr>
          <a:xfrm>
            <a:off x="3398452" y="4809204"/>
            <a:ext cx="100013" cy="10795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D2DBFD">
                <a:lumMod val="75000"/>
              </a:srgbClr>
            </a:solidFill>
            <a:prstDash val="solid"/>
          </a:ln>
          <a:effectLst/>
        </p:spPr>
        <p:txBody>
          <a:bodyPr lIns="71979" tIns="0" rIns="71979" bIns="0" anchor="ctr"/>
          <a:lstStyle/>
          <a:p>
            <a:pPr fontAlgn="auto">
              <a:lnSpc>
                <a:spcPct val="93000"/>
              </a:lnSpc>
              <a:spcBef>
                <a:spcPts val="3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 dirty="0"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98" name="AutoShape 192"/>
          <p:cNvSpPr>
            <a:spLocks noChangeArrowheads="1"/>
          </p:cNvSpPr>
          <p:nvPr/>
        </p:nvSpPr>
        <p:spPr bwMode="auto">
          <a:xfrm flipH="1">
            <a:off x="1267253" y="2568990"/>
            <a:ext cx="158750" cy="92075"/>
          </a:xfrm>
          <a:prstGeom prst="wedgeRectCallout">
            <a:avLst>
              <a:gd name="adj1" fmla="val 35787"/>
              <a:gd name="adj2" fmla="val 1721246"/>
            </a:avLst>
          </a:prstGeom>
          <a:solidFill>
            <a:srgbClr val="FFFFFF"/>
          </a:solidFill>
          <a:ln w="9525">
            <a:solidFill>
              <a:srgbClr val="F67D0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2" tIns="45706" rIns="91412" bIns="45706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ja-JP" altLang="en-US" sz="1800" ker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99" name="Picture 91" descr="C:\Users\kamimura\Desktop\堂島大阪営業所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442" y="1385919"/>
            <a:ext cx="1138237" cy="171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0" name="ListLeanHorizontalTextTopic1"/>
          <p:cNvSpPr txBox="1">
            <a:spLocks noChangeArrowheads="1"/>
          </p:cNvSpPr>
          <p:nvPr/>
        </p:nvSpPr>
        <p:spPr bwMode="auto">
          <a:xfrm>
            <a:off x="2512627" y="3253657"/>
            <a:ext cx="134937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algn="ctr">
              <a:spcAft>
                <a:spcPct val="0"/>
              </a:spcAft>
              <a:buFontTx/>
              <a:buNone/>
            </a:pPr>
            <a:r>
              <a:rPr lang="en-US" altLang="ja-JP" sz="1600" dirty="0">
                <a:solidFill>
                  <a:srgbClr val="37609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Nagoya</a:t>
            </a:r>
            <a:endParaRPr lang="ja-JP" altLang="en-US" sz="1600" dirty="0">
              <a:solidFill>
                <a:srgbClr val="376092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101" name="円/楕円 91"/>
          <p:cNvSpPr/>
          <p:nvPr/>
        </p:nvSpPr>
        <p:spPr>
          <a:xfrm rot="3638482">
            <a:off x="2349007" y="4755226"/>
            <a:ext cx="507998" cy="644525"/>
          </a:xfrm>
          <a:prstGeom prst="ellipse">
            <a:avLst/>
          </a:prstGeom>
          <a:gradFill flip="none" rotWithShape="1">
            <a:gsLst>
              <a:gs pos="0">
                <a:srgbClr val="FFC000"/>
              </a:gs>
              <a:gs pos="5000">
                <a:srgbClr val="FFFFFF">
                  <a:alpha val="22000"/>
                </a:srgbClr>
              </a:gs>
              <a:gs pos="100000">
                <a:srgbClr val="FFFF00"/>
              </a:gs>
            </a:gsLst>
            <a:path path="circle">
              <a:fillToRect l="50000" t="50000" r="50000" b="50000"/>
            </a:path>
            <a:tileRect/>
          </a:gra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lIns="91412" tIns="45706" rIns="91412" bIns="45706" anchor="ctr"/>
          <a:lstStyle/>
          <a:p>
            <a:pPr algn="ctr" fontAlgn="auto">
              <a:spcBef>
                <a:spcPts val="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2" name="円/楕円 92"/>
          <p:cNvSpPr/>
          <p:nvPr/>
        </p:nvSpPr>
        <p:spPr>
          <a:xfrm>
            <a:off x="2959495" y="4601177"/>
            <a:ext cx="676561" cy="612838"/>
          </a:xfrm>
          <a:prstGeom prst="ellipse">
            <a:avLst/>
          </a:prstGeom>
          <a:gradFill flip="none" rotWithShape="1">
            <a:gsLst>
              <a:gs pos="0">
                <a:srgbClr val="FFC000"/>
              </a:gs>
              <a:gs pos="5000">
                <a:srgbClr val="FFFFFF">
                  <a:alpha val="22000"/>
                </a:srgbClr>
              </a:gs>
              <a:gs pos="100000">
                <a:srgbClr val="FFFF00"/>
              </a:gs>
            </a:gsLst>
            <a:path path="circle">
              <a:fillToRect l="50000" t="50000" r="50000" b="50000"/>
            </a:path>
            <a:tileRect/>
          </a:gra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lIns="91412" tIns="45706" rIns="91412" bIns="45706" anchor="ctr"/>
          <a:lstStyle/>
          <a:p>
            <a:pPr algn="ctr" fontAlgn="auto">
              <a:spcBef>
                <a:spcPts val="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3" name="角丸四角形 102"/>
          <p:cNvSpPr/>
          <p:nvPr/>
        </p:nvSpPr>
        <p:spPr>
          <a:xfrm>
            <a:off x="7329102" y="6617965"/>
            <a:ext cx="1620000" cy="324000"/>
          </a:xfrm>
          <a:prstGeom prst="roundRect">
            <a:avLst/>
          </a:prstGeom>
          <a:solidFill>
            <a:srgbClr val="0070C0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lIns="91412" tIns="45706" rIns="91412" bIns="45706" anchor="ctr"/>
          <a:lstStyle/>
          <a:p>
            <a:pPr fontAlgn="auto">
              <a:lnSpc>
                <a:spcPct val="93000"/>
              </a:lnSpc>
              <a:spcBef>
                <a:spcPts val="0"/>
              </a:spcBef>
              <a:spcAft>
                <a:spcPct val="30000"/>
              </a:spcAft>
              <a:buClr>
                <a:srgbClr val="24246E"/>
              </a:buClr>
              <a:buSzPct val="100000"/>
              <a:buFont typeface="Wingdings" pitchFamily="2" charset="2"/>
              <a:buNone/>
              <a:defRPr/>
            </a:pPr>
            <a:r>
              <a:rPr kumimoji="0" lang="en-US" altLang="ja-JP" sz="1600" b="1" kern="0" dirty="0" err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Centrair</a:t>
            </a:r>
            <a:endParaRPr kumimoji="0" lang="en-US" altLang="ja-JP" sz="1600" b="1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104" name="角丸四角形 103"/>
          <p:cNvSpPr/>
          <p:nvPr/>
        </p:nvSpPr>
        <p:spPr>
          <a:xfrm>
            <a:off x="7452976" y="2604550"/>
            <a:ext cx="1620000" cy="324000"/>
          </a:xfrm>
          <a:prstGeom prst="roundRect">
            <a:avLst/>
          </a:prstGeom>
          <a:solidFill>
            <a:srgbClr val="0070C0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lIns="91412" tIns="45706" rIns="91412" bIns="45706" anchor="ctr"/>
          <a:lstStyle/>
          <a:p>
            <a:pPr fontAlgn="auto">
              <a:lnSpc>
                <a:spcPct val="93000"/>
              </a:lnSpc>
              <a:spcBef>
                <a:spcPts val="0"/>
              </a:spcBef>
              <a:spcAft>
                <a:spcPct val="30000"/>
              </a:spcAft>
              <a:buClr>
                <a:srgbClr val="24246E"/>
              </a:buClr>
              <a:buSzPct val="100000"/>
              <a:buFont typeface="Wingdings" pitchFamily="2" charset="2"/>
              <a:buNone/>
              <a:defRPr/>
            </a:pPr>
            <a:r>
              <a:rPr kumimoji="0" lang="en-US" altLang="ja-JP" sz="1600" b="1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Tokyo (HQ)</a:t>
            </a:r>
          </a:p>
        </p:txBody>
      </p:sp>
      <p:sp>
        <p:nvSpPr>
          <p:cNvPr id="105" name="角丸四角形 104"/>
          <p:cNvSpPr/>
          <p:nvPr/>
        </p:nvSpPr>
        <p:spPr>
          <a:xfrm>
            <a:off x="832900" y="3160669"/>
            <a:ext cx="1620000" cy="324000"/>
          </a:xfrm>
          <a:prstGeom prst="roundRect">
            <a:avLst/>
          </a:prstGeom>
          <a:solidFill>
            <a:srgbClr val="0070C0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lIns="91412" tIns="45706" rIns="91412" bIns="45706" anchor="ctr"/>
          <a:lstStyle/>
          <a:p>
            <a:pPr fontAlgn="auto">
              <a:lnSpc>
                <a:spcPct val="93000"/>
              </a:lnSpc>
              <a:spcBef>
                <a:spcPts val="0"/>
              </a:spcBef>
              <a:spcAft>
                <a:spcPct val="30000"/>
              </a:spcAft>
              <a:buClr>
                <a:srgbClr val="24246E"/>
              </a:buClr>
              <a:buSzPct val="100000"/>
              <a:buFont typeface="Wingdings" pitchFamily="2" charset="2"/>
              <a:buNone/>
              <a:defRPr/>
            </a:pPr>
            <a:r>
              <a:rPr kumimoji="0" lang="en-US" altLang="ja-JP" sz="1600" b="1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Osaka</a:t>
            </a:r>
          </a:p>
        </p:txBody>
      </p:sp>
      <p:sp>
        <p:nvSpPr>
          <p:cNvPr id="106" name="角丸四角形 105"/>
          <p:cNvSpPr/>
          <p:nvPr/>
        </p:nvSpPr>
        <p:spPr>
          <a:xfrm>
            <a:off x="7329102" y="4597917"/>
            <a:ext cx="1620000" cy="324000"/>
          </a:xfrm>
          <a:prstGeom prst="roundRect">
            <a:avLst/>
          </a:prstGeom>
          <a:solidFill>
            <a:srgbClr val="0070C0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lIns="91412" tIns="45706" rIns="91412" bIns="45706" anchor="ctr"/>
          <a:lstStyle/>
          <a:p>
            <a:pPr fontAlgn="auto">
              <a:lnSpc>
                <a:spcPct val="93000"/>
              </a:lnSpc>
              <a:spcBef>
                <a:spcPts val="0"/>
              </a:spcBef>
              <a:spcAft>
                <a:spcPct val="30000"/>
              </a:spcAft>
              <a:buClr>
                <a:srgbClr val="24246E"/>
              </a:buClr>
              <a:buSzPct val="100000"/>
              <a:buFont typeface="Wingdings" pitchFamily="2" charset="2"/>
              <a:buNone/>
              <a:defRPr/>
            </a:pPr>
            <a:r>
              <a:rPr kumimoji="0" lang="en-US" altLang="ja-JP" sz="1600" b="1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Toyoda </a:t>
            </a:r>
          </a:p>
        </p:txBody>
      </p:sp>
      <p:sp>
        <p:nvSpPr>
          <p:cNvPr id="107" name="角丸四角形 106"/>
          <p:cNvSpPr/>
          <p:nvPr/>
        </p:nvSpPr>
        <p:spPr>
          <a:xfrm>
            <a:off x="3749290" y="1945355"/>
            <a:ext cx="1620000" cy="324000"/>
          </a:xfrm>
          <a:prstGeom prst="roundRect">
            <a:avLst/>
          </a:prstGeom>
          <a:solidFill>
            <a:srgbClr val="0070C0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lIns="91412" tIns="45706" rIns="91412" bIns="45706" anchor="ctr"/>
          <a:lstStyle/>
          <a:p>
            <a:pPr fontAlgn="auto">
              <a:lnSpc>
                <a:spcPct val="93000"/>
              </a:lnSpc>
              <a:spcBef>
                <a:spcPts val="0"/>
              </a:spcBef>
              <a:spcAft>
                <a:spcPct val="30000"/>
              </a:spcAft>
              <a:buClr>
                <a:srgbClr val="24246E"/>
              </a:buClr>
              <a:buSzPct val="100000"/>
              <a:buFont typeface="Wingdings" pitchFamily="2" charset="2"/>
              <a:buNone/>
              <a:defRPr/>
            </a:pPr>
            <a:r>
              <a:rPr kumimoji="0" lang="en-US" altLang="ja-JP" sz="1600" b="1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Nagoya</a:t>
            </a:r>
          </a:p>
        </p:txBody>
      </p:sp>
      <p:sp>
        <p:nvSpPr>
          <p:cNvPr id="108" name="RbLeanShape Right Angle 139"/>
          <p:cNvSpPr/>
          <p:nvPr/>
        </p:nvSpPr>
        <p:spPr>
          <a:xfrm flipH="1">
            <a:off x="3574664" y="3396329"/>
            <a:ext cx="215899" cy="1423988"/>
          </a:xfrm>
          <a:custGeom>
            <a:avLst/>
            <a:gdLst>
              <a:gd name="connsiteX0" fmla="*/ 1270000 w 1270000"/>
              <a:gd name="connsiteY0" fmla="*/ 0 h 476250"/>
              <a:gd name="connsiteX1" fmla="*/ 0 w 1270000"/>
              <a:gd name="connsiteY1" fmla="*/ 0 h 476250"/>
              <a:gd name="connsiteX2" fmla="*/ 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1270000" y="0"/>
                </a:moveTo>
                <a:lnTo>
                  <a:pt x="0" y="0"/>
                </a:lnTo>
                <a:lnTo>
                  <a:pt x="0" y="476250"/>
                </a:lnTo>
              </a:path>
            </a:pathLst>
          </a:custGeom>
          <a:noFill/>
          <a:ln w="9525" cap="flat" cmpd="sng" algn="ctr">
            <a:solidFill>
              <a:srgbClr val="24246E"/>
            </a:solidFill>
            <a:prstDash val="solid"/>
            <a:headEnd type="none"/>
            <a:tailEnd type="oval" w="sm" len="sm"/>
          </a:ln>
          <a:effectLst/>
        </p:spPr>
        <p:txBody>
          <a:bodyPr lIns="89972" tIns="89972" rIns="0" bIns="0"/>
          <a:lstStyle/>
          <a:p>
            <a:pPr fontAlgn="ctr">
              <a:spcBef>
                <a:spcPts val="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9" name="Oval 785"/>
          <p:cNvSpPr/>
          <p:nvPr/>
        </p:nvSpPr>
        <p:spPr>
          <a:xfrm>
            <a:off x="3730240" y="4721892"/>
            <a:ext cx="98425" cy="10795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lIns="71979" tIns="0" rIns="71979" bIns="0" anchor="ctr"/>
          <a:lstStyle/>
          <a:p>
            <a:pPr fontAlgn="auto">
              <a:lnSpc>
                <a:spcPct val="93000"/>
              </a:lnSpc>
              <a:spcBef>
                <a:spcPts val="3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 dirty="0"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110" name="AutoShape 192"/>
          <p:cNvSpPr>
            <a:spLocks noChangeArrowheads="1"/>
          </p:cNvSpPr>
          <p:nvPr/>
        </p:nvSpPr>
        <p:spPr bwMode="auto">
          <a:xfrm flipH="1">
            <a:off x="2933723" y="2267617"/>
            <a:ext cx="158750" cy="92075"/>
          </a:xfrm>
          <a:prstGeom prst="wedgeRectCallout">
            <a:avLst>
              <a:gd name="adj1" fmla="val -71375"/>
              <a:gd name="adj2" fmla="val 979542"/>
            </a:avLst>
          </a:prstGeom>
          <a:solidFill>
            <a:srgbClr val="FFFFFF"/>
          </a:solidFill>
          <a:ln w="9525">
            <a:solidFill>
              <a:srgbClr val="F67D0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2" tIns="45706" rIns="91412" bIns="45706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ja-JP" altLang="en-US" sz="1800" ker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1" name="Oval 785"/>
          <p:cNvSpPr/>
          <p:nvPr/>
        </p:nvSpPr>
        <p:spPr>
          <a:xfrm>
            <a:off x="3738177" y="4767929"/>
            <a:ext cx="98425" cy="10795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lIns="71979" tIns="0" rIns="71979" bIns="0" anchor="ctr"/>
          <a:lstStyle/>
          <a:p>
            <a:pPr fontAlgn="auto">
              <a:lnSpc>
                <a:spcPct val="93000"/>
              </a:lnSpc>
              <a:spcBef>
                <a:spcPts val="30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 dirty="0"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112" name="円/楕円 94"/>
          <p:cNvSpPr/>
          <p:nvPr/>
        </p:nvSpPr>
        <p:spPr>
          <a:xfrm>
            <a:off x="3485321" y="4490802"/>
            <a:ext cx="634999" cy="644525"/>
          </a:xfrm>
          <a:prstGeom prst="ellipse">
            <a:avLst/>
          </a:prstGeom>
          <a:gradFill flip="none" rotWithShape="1">
            <a:gsLst>
              <a:gs pos="0">
                <a:srgbClr val="FFC000"/>
              </a:gs>
              <a:gs pos="5000">
                <a:srgbClr val="FFFFFF">
                  <a:alpha val="22000"/>
                </a:srgbClr>
              </a:gs>
              <a:gs pos="100000">
                <a:srgbClr val="FFFF00"/>
              </a:gs>
            </a:gsLst>
            <a:path path="circle">
              <a:fillToRect l="50000" t="50000" r="50000" b="50000"/>
            </a:path>
            <a:tileRect/>
          </a:gra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lIns="91412" tIns="45706" rIns="91412" bIns="45706" anchor="ctr"/>
          <a:lstStyle/>
          <a:p>
            <a:pPr algn="ctr" fontAlgn="auto">
              <a:spcBef>
                <a:spcPts val="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113" name="Picture 2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6" t="12183" r="3819"/>
          <a:stretch>
            <a:fillRect/>
          </a:stretch>
        </p:blipFill>
        <p:spPr bwMode="auto">
          <a:xfrm>
            <a:off x="2512627" y="1310962"/>
            <a:ext cx="1208088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4" name="ListLeanHorizontalTextTopic1"/>
          <p:cNvSpPr txBox="1">
            <a:spLocks noChangeArrowheads="1"/>
          </p:cNvSpPr>
          <p:nvPr/>
        </p:nvSpPr>
        <p:spPr bwMode="auto">
          <a:xfrm>
            <a:off x="4660515" y="4087540"/>
            <a:ext cx="124341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FontTx/>
              <a:buNone/>
            </a:pPr>
            <a:r>
              <a:rPr lang="en-US" altLang="ja-JP" sz="1600" b="1" dirty="0">
                <a:solidFill>
                  <a:srgbClr val="37609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Tokyo(HQ)</a:t>
            </a:r>
          </a:p>
        </p:txBody>
      </p:sp>
      <p:sp>
        <p:nvSpPr>
          <p:cNvPr id="115" name="円/楕円 93"/>
          <p:cNvSpPr/>
          <p:nvPr/>
        </p:nvSpPr>
        <p:spPr>
          <a:xfrm rot="1495805">
            <a:off x="3981055" y="4231353"/>
            <a:ext cx="634999" cy="754063"/>
          </a:xfrm>
          <a:prstGeom prst="ellipse">
            <a:avLst/>
          </a:prstGeom>
          <a:gradFill flip="none" rotWithShape="1">
            <a:gsLst>
              <a:gs pos="0">
                <a:srgbClr val="FFC000"/>
              </a:gs>
              <a:gs pos="5000">
                <a:srgbClr val="FFFFFF">
                  <a:alpha val="22000"/>
                </a:srgbClr>
              </a:gs>
              <a:gs pos="100000">
                <a:srgbClr val="FFFF00"/>
              </a:gs>
            </a:gsLst>
            <a:path path="circle">
              <a:fillToRect l="50000" t="50000" r="50000" b="50000"/>
            </a:path>
            <a:tileRect/>
          </a:gra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lIns="91412" tIns="45706" rIns="91412" bIns="45706" anchor="ctr"/>
          <a:lstStyle/>
          <a:p>
            <a:pPr algn="ctr" fontAlgn="auto">
              <a:spcBef>
                <a:spcPts val="0"/>
              </a:spcBef>
              <a:spcAft>
                <a:spcPct val="30000"/>
              </a:spcAft>
              <a:buClr>
                <a:srgbClr val="DDDDDD"/>
              </a:buClr>
              <a:buFont typeface="Wingdings" pitchFamily="2" charset="2"/>
              <a:buChar char="n"/>
              <a:defRPr/>
            </a:pPr>
            <a:endParaRPr kumimoji="0" lang="ja-JP" altLang="en-US" sz="1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116" name="カギ線コネクタ 115"/>
          <p:cNvCxnSpPr>
            <a:stCxn id="114" idx="1"/>
          </p:cNvCxnSpPr>
          <p:nvPr/>
        </p:nvCxnSpPr>
        <p:spPr bwMode="auto">
          <a:xfrm rot="10800000" flipV="1">
            <a:off x="4243015" y="4210650"/>
            <a:ext cx="417501" cy="344219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4246E"/>
            </a:solidFill>
            <a:prstDash val="solid"/>
            <a:miter lim="800000"/>
          </a:ln>
          <a:effectLst/>
        </p:spPr>
      </p:cxnSp>
      <p:sp>
        <p:nvSpPr>
          <p:cNvPr id="117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18" name="タイトル 34"/>
          <p:cNvSpPr>
            <a:spLocks noGrp="1"/>
          </p:cNvSpPr>
          <p:nvPr>
            <p:ph type="title"/>
          </p:nvPr>
        </p:nvSpPr>
        <p:spPr>
          <a:xfrm>
            <a:off x="603709" y="106465"/>
            <a:ext cx="9810194" cy="813805"/>
          </a:xfrm>
        </p:spPr>
        <p:txBody>
          <a:bodyPr/>
          <a:lstStyle/>
          <a:p>
            <a:r>
              <a:rPr lang="en-US" altLang="ja-JP" sz="1731" dirty="0">
                <a:solidFill>
                  <a:srgbClr val="002060"/>
                </a:solidFill>
              </a:rPr>
              <a:t>Ⅱ. Introduction of MITSUI-SOKO EXPRESS</a:t>
            </a:r>
            <a:br>
              <a:rPr lang="ja-JP" altLang="en-US" dirty="0">
                <a:solidFill>
                  <a:srgbClr val="002060"/>
                </a:solidFill>
              </a:rPr>
            </a:br>
            <a:r>
              <a:rPr lang="ja-JP" altLang="en-US" sz="2400" dirty="0">
                <a:solidFill>
                  <a:srgbClr val="002060"/>
                </a:solidFill>
              </a:rPr>
              <a:t>  </a:t>
            </a:r>
            <a:r>
              <a:rPr lang="en-US" altLang="ja-JP" sz="2400" dirty="0">
                <a:solidFill>
                  <a:srgbClr val="002060"/>
                </a:solidFill>
              </a:rPr>
              <a:t>3. Network: Domestic</a:t>
            </a:r>
            <a:endParaRPr kumimoji="1" lang="ja-JP" alt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9674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グループ化 25"/>
          <p:cNvGrpSpPr/>
          <p:nvPr/>
        </p:nvGrpSpPr>
        <p:grpSpPr>
          <a:xfrm>
            <a:off x="5888744" y="5991979"/>
            <a:ext cx="280735" cy="184609"/>
            <a:chOff x="6080125" y="6246960"/>
            <a:chExt cx="280735" cy="184609"/>
          </a:xfrm>
        </p:grpSpPr>
        <p:sp>
          <p:nvSpPr>
            <p:cNvPr id="27" name="Oval 16"/>
            <p:cNvSpPr>
              <a:spLocks noChangeArrowheads="1"/>
            </p:cNvSpPr>
            <p:nvPr/>
          </p:nvSpPr>
          <p:spPr bwMode="auto">
            <a:xfrm>
              <a:off x="6165850" y="6273947"/>
              <a:ext cx="123438" cy="131763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31" tIns="41214" rIns="82431" bIns="41214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28" name="テキスト ボックス 442"/>
            <p:cNvSpPr txBox="1">
              <a:spLocks noChangeArrowheads="1"/>
            </p:cNvSpPr>
            <p:nvPr/>
          </p:nvSpPr>
          <p:spPr bwMode="auto">
            <a:xfrm>
              <a:off x="6080125" y="6246960"/>
              <a:ext cx="280735" cy="1846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85" tIns="45692" rIns="91385" bIns="45692">
              <a:spAutoFit/>
            </a:bodyPr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ja-JP" sz="600" kern="0">
                  <a:solidFill>
                    <a:srgbClr val="FFFFFF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10</a:t>
              </a:r>
              <a:endParaRPr lang="ja-JP" altLang="en-US" sz="6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29" name="Rectangle 4"/>
          <p:cNvSpPr>
            <a:spLocks noChangeArrowheads="1"/>
          </p:cNvSpPr>
          <p:nvPr/>
        </p:nvSpPr>
        <p:spPr bwMode="auto">
          <a:xfrm>
            <a:off x="521717" y="800854"/>
            <a:ext cx="9498012" cy="5649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79" tIns="35979" rIns="35979" bIns="35979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algn="ctr" fontAlgn="auto">
              <a:spcBef>
                <a:spcPct val="50000"/>
              </a:spcBef>
              <a:spcAft>
                <a:spcPct val="0"/>
              </a:spcAft>
              <a:buClr>
                <a:srgbClr val="DDDDDD"/>
              </a:buClr>
              <a:buFont typeface="Wingdings" pitchFamily="2" charset="2"/>
              <a:buNone/>
              <a:defRPr/>
            </a:pPr>
            <a:endParaRPr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30" name="Group 7"/>
          <p:cNvGrpSpPr>
            <a:grpSpLocks noChangeAspect="1"/>
          </p:cNvGrpSpPr>
          <p:nvPr/>
        </p:nvGrpSpPr>
        <p:grpSpPr bwMode="auto">
          <a:xfrm>
            <a:off x="2399729" y="1820029"/>
            <a:ext cx="2011363" cy="569912"/>
            <a:chOff x="3484" y="1696"/>
            <a:chExt cx="904" cy="272"/>
          </a:xfrm>
        </p:grpSpPr>
        <p:sp>
          <p:nvSpPr>
            <p:cNvPr id="31" name="Freeform 8"/>
            <p:cNvSpPr>
              <a:spLocks noChangeAspect="1"/>
            </p:cNvSpPr>
            <p:nvPr/>
          </p:nvSpPr>
          <p:spPr bwMode="auto">
            <a:xfrm>
              <a:off x="3852" y="1928"/>
              <a:ext cx="40" cy="40"/>
            </a:xfrm>
            <a:custGeom>
              <a:avLst/>
              <a:gdLst>
                <a:gd name="T0" fmla="*/ 0 w 40"/>
                <a:gd name="T1" fmla="*/ 24 h 40"/>
                <a:gd name="T2" fmla="*/ 0 w 40"/>
                <a:gd name="T3" fmla="*/ 40 h 40"/>
                <a:gd name="T4" fmla="*/ 32 w 40"/>
                <a:gd name="T5" fmla="*/ 40 h 40"/>
                <a:gd name="T6" fmla="*/ 32 w 40"/>
                <a:gd name="T7" fmla="*/ 32 h 40"/>
                <a:gd name="T8" fmla="*/ 32 w 40"/>
                <a:gd name="T9" fmla="*/ 24 h 40"/>
                <a:gd name="T10" fmla="*/ 40 w 40"/>
                <a:gd name="T11" fmla="*/ 24 h 40"/>
                <a:gd name="T12" fmla="*/ 24 w 40"/>
                <a:gd name="T13" fmla="*/ 8 h 40"/>
                <a:gd name="T14" fmla="*/ 32 w 40"/>
                <a:gd name="T15" fmla="*/ 0 h 40"/>
                <a:gd name="T16" fmla="*/ 16 w 40"/>
                <a:gd name="T17" fmla="*/ 0 h 40"/>
                <a:gd name="T18" fmla="*/ 16 w 40"/>
                <a:gd name="T19" fmla="*/ 8 h 40"/>
                <a:gd name="T20" fmla="*/ 8 w 40"/>
                <a:gd name="T21" fmla="*/ 0 h 40"/>
                <a:gd name="T22" fmla="*/ 8 w 40"/>
                <a:gd name="T23" fmla="*/ 8 h 40"/>
                <a:gd name="T24" fmla="*/ 0 w 40"/>
                <a:gd name="T25" fmla="*/ 8 h 40"/>
                <a:gd name="T26" fmla="*/ 0 w 40"/>
                <a:gd name="T27" fmla="*/ 24 h 4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0" h="40">
                  <a:moveTo>
                    <a:pt x="0" y="24"/>
                  </a:moveTo>
                  <a:lnTo>
                    <a:pt x="0" y="40"/>
                  </a:lnTo>
                  <a:lnTo>
                    <a:pt x="32" y="40"/>
                  </a:lnTo>
                  <a:lnTo>
                    <a:pt x="32" y="32"/>
                  </a:lnTo>
                  <a:lnTo>
                    <a:pt x="32" y="24"/>
                  </a:lnTo>
                  <a:lnTo>
                    <a:pt x="40" y="24"/>
                  </a:lnTo>
                  <a:lnTo>
                    <a:pt x="24" y="8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16" y="8"/>
                  </a:lnTo>
                  <a:lnTo>
                    <a:pt x="8" y="0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2" name="Freeform 9"/>
            <p:cNvSpPr>
              <a:spLocks noChangeAspect="1"/>
            </p:cNvSpPr>
            <p:nvPr/>
          </p:nvSpPr>
          <p:spPr bwMode="auto">
            <a:xfrm>
              <a:off x="4028" y="1928"/>
              <a:ext cx="64" cy="24"/>
            </a:xfrm>
            <a:custGeom>
              <a:avLst/>
              <a:gdLst>
                <a:gd name="T0" fmla="*/ 0 w 64"/>
                <a:gd name="T1" fmla="*/ 16 h 24"/>
                <a:gd name="T2" fmla="*/ 8 w 64"/>
                <a:gd name="T3" fmla="*/ 24 h 24"/>
                <a:gd name="T4" fmla="*/ 8 w 64"/>
                <a:gd name="T5" fmla="*/ 8 h 24"/>
                <a:gd name="T6" fmla="*/ 16 w 64"/>
                <a:gd name="T7" fmla="*/ 0 h 24"/>
                <a:gd name="T8" fmla="*/ 40 w 64"/>
                <a:gd name="T9" fmla="*/ 0 h 24"/>
                <a:gd name="T10" fmla="*/ 48 w 64"/>
                <a:gd name="T11" fmla="*/ 0 h 24"/>
                <a:gd name="T12" fmla="*/ 64 w 64"/>
                <a:gd name="T13" fmla="*/ 0 h 24"/>
                <a:gd name="T14" fmla="*/ 8 w 64"/>
                <a:gd name="T15" fmla="*/ 0 h 24"/>
                <a:gd name="T16" fmla="*/ 0 w 64"/>
                <a:gd name="T17" fmla="*/ 8 h 24"/>
                <a:gd name="T18" fmla="*/ 0 w 64"/>
                <a:gd name="T19" fmla="*/ 16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4" h="24">
                  <a:moveTo>
                    <a:pt x="0" y="16"/>
                  </a:moveTo>
                  <a:lnTo>
                    <a:pt x="8" y="24"/>
                  </a:lnTo>
                  <a:lnTo>
                    <a:pt x="8" y="8"/>
                  </a:lnTo>
                  <a:lnTo>
                    <a:pt x="16" y="0"/>
                  </a:lnTo>
                  <a:lnTo>
                    <a:pt x="40" y="0"/>
                  </a:lnTo>
                  <a:lnTo>
                    <a:pt x="48" y="0"/>
                  </a:lnTo>
                  <a:lnTo>
                    <a:pt x="64" y="0"/>
                  </a:lnTo>
                  <a:lnTo>
                    <a:pt x="8" y="0"/>
                  </a:lnTo>
                  <a:lnTo>
                    <a:pt x="0" y="8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3" name="Freeform 10"/>
            <p:cNvSpPr>
              <a:spLocks noChangeAspect="1"/>
            </p:cNvSpPr>
            <p:nvPr/>
          </p:nvSpPr>
          <p:spPr bwMode="auto">
            <a:xfrm>
              <a:off x="4348" y="1792"/>
              <a:ext cx="40" cy="64"/>
            </a:xfrm>
            <a:custGeom>
              <a:avLst/>
              <a:gdLst>
                <a:gd name="T0" fmla="*/ 0 w 40"/>
                <a:gd name="T1" fmla="*/ 64 h 64"/>
                <a:gd name="T2" fmla="*/ 8 w 40"/>
                <a:gd name="T3" fmla="*/ 64 h 64"/>
                <a:gd name="T4" fmla="*/ 24 w 40"/>
                <a:gd name="T5" fmla="*/ 64 h 64"/>
                <a:gd name="T6" fmla="*/ 24 w 40"/>
                <a:gd name="T7" fmla="*/ 56 h 64"/>
                <a:gd name="T8" fmla="*/ 40 w 40"/>
                <a:gd name="T9" fmla="*/ 48 h 64"/>
                <a:gd name="T10" fmla="*/ 40 w 40"/>
                <a:gd name="T11" fmla="*/ 24 h 64"/>
                <a:gd name="T12" fmla="*/ 32 w 40"/>
                <a:gd name="T13" fmla="*/ 0 h 64"/>
                <a:gd name="T14" fmla="*/ 24 w 40"/>
                <a:gd name="T15" fmla="*/ 0 h 64"/>
                <a:gd name="T16" fmla="*/ 32 w 40"/>
                <a:gd name="T17" fmla="*/ 24 h 64"/>
                <a:gd name="T18" fmla="*/ 16 w 40"/>
                <a:gd name="T19" fmla="*/ 56 h 64"/>
                <a:gd name="T20" fmla="*/ 0 w 40"/>
                <a:gd name="T21" fmla="*/ 64 h 6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0" h="64">
                  <a:moveTo>
                    <a:pt x="0" y="64"/>
                  </a:moveTo>
                  <a:lnTo>
                    <a:pt x="8" y="64"/>
                  </a:lnTo>
                  <a:lnTo>
                    <a:pt x="24" y="64"/>
                  </a:lnTo>
                  <a:lnTo>
                    <a:pt x="24" y="56"/>
                  </a:lnTo>
                  <a:lnTo>
                    <a:pt x="40" y="48"/>
                  </a:lnTo>
                  <a:lnTo>
                    <a:pt x="40" y="24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32" y="24"/>
                  </a:lnTo>
                  <a:lnTo>
                    <a:pt x="16" y="56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4" name="Freeform 11"/>
            <p:cNvSpPr>
              <a:spLocks noChangeAspect="1"/>
            </p:cNvSpPr>
            <p:nvPr/>
          </p:nvSpPr>
          <p:spPr bwMode="auto">
            <a:xfrm>
              <a:off x="3484" y="1712"/>
              <a:ext cx="32" cy="24"/>
            </a:xfrm>
            <a:custGeom>
              <a:avLst/>
              <a:gdLst>
                <a:gd name="T0" fmla="*/ 0 w 32"/>
                <a:gd name="T1" fmla="*/ 8 h 24"/>
                <a:gd name="T2" fmla="*/ 16 w 32"/>
                <a:gd name="T3" fmla="*/ 24 h 24"/>
                <a:gd name="T4" fmla="*/ 32 w 32"/>
                <a:gd name="T5" fmla="*/ 16 h 24"/>
                <a:gd name="T6" fmla="*/ 24 w 32"/>
                <a:gd name="T7" fmla="*/ 8 h 24"/>
                <a:gd name="T8" fmla="*/ 16 w 32"/>
                <a:gd name="T9" fmla="*/ 0 h 24"/>
                <a:gd name="T10" fmla="*/ 8 w 32"/>
                <a:gd name="T11" fmla="*/ 0 h 24"/>
                <a:gd name="T12" fmla="*/ 0 w 32"/>
                <a:gd name="T13" fmla="*/ 8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2" h="24">
                  <a:moveTo>
                    <a:pt x="0" y="8"/>
                  </a:moveTo>
                  <a:lnTo>
                    <a:pt x="16" y="24"/>
                  </a:lnTo>
                  <a:lnTo>
                    <a:pt x="32" y="16"/>
                  </a:lnTo>
                  <a:lnTo>
                    <a:pt x="24" y="8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5" name="Freeform 12"/>
            <p:cNvSpPr>
              <a:spLocks noChangeAspect="1"/>
            </p:cNvSpPr>
            <p:nvPr/>
          </p:nvSpPr>
          <p:spPr bwMode="auto">
            <a:xfrm>
              <a:off x="3524" y="1696"/>
              <a:ext cx="24" cy="24"/>
            </a:xfrm>
            <a:custGeom>
              <a:avLst/>
              <a:gdLst>
                <a:gd name="T0" fmla="*/ 8 w 24"/>
                <a:gd name="T1" fmla="*/ 16 h 24"/>
                <a:gd name="T2" fmla="*/ 16 w 24"/>
                <a:gd name="T3" fmla="*/ 16 h 24"/>
                <a:gd name="T4" fmla="*/ 16 w 24"/>
                <a:gd name="T5" fmla="*/ 24 h 24"/>
                <a:gd name="T6" fmla="*/ 24 w 24"/>
                <a:gd name="T7" fmla="*/ 24 h 24"/>
                <a:gd name="T8" fmla="*/ 16 w 24"/>
                <a:gd name="T9" fmla="*/ 8 h 24"/>
                <a:gd name="T10" fmla="*/ 8 w 24"/>
                <a:gd name="T11" fmla="*/ 0 h 24"/>
                <a:gd name="T12" fmla="*/ 0 w 24"/>
                <a:gd name="T13" fmla="*/ 0 h 24"/>
                <a:gd name="T14" fmla="*/ 16 w 24"/>
                <a:gd name="T15" fmla="*/ 8 h 24"/>
                <a:gd name="T16" fmla="*/ 8 w 24"/>
                <a:gd name="T17" fmla="*/ 8 h 24"/>
                <a:gd name="T18" fmla="*/ 8 w 24"/>
                <a:gd name="T19" fmla="*/ 16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4" h="24">
                  <a:moveTo>
                    <a:pt x="8" y="16"/>
                  </a:moveTo>
                  <a:lnTo>
                    <a:pt x="16" y="16"/>
                  </a:lnTo>
                  <a:lnTo>
                    <a:pt x="16" y="24"/>
                  </a:lnTo>
                  <a:lnTo>
                    <a:pt x="24" y="24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0"/>
                  </a:lnTo>
                  <a:lnTo>
                    <a:pt x="16" y="8"/>
                  </a:lnTo>
                  <a:lnTo>
                    <a:pt x="8" y="8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grpSp>
        <p:nvGrpSpPr>
          <p:cNvPr id="36" name="Group 13"/>
          <p:cNvGrpSpPr>
            <a:grpSpLocks noChangeAspect="1"/>
          </p:cNvGrpSpPr>
          <p:nvPr/>
        </p:nvGrpSpPr>
        <p:grpSpPr bwMode="auto">
          <a:xfrm>
            <a:off x="2007617" y="3328154"/>
            <a:ext cx="660400" cy="906462"/>
            <a:chOff x="3308" y="2416"/>
            <a:chExt cx="296" cy="432"/>
          </a:xfrm>
        </p:grpSpPr>
        <p:sp>
          <p:nvSpPr>
            <p:cNvPr id="37" name="Freeform 14"/>
            <p:cNvSpPr>
              <a:spLocks noChangeAspect="1"/>
            </p:cNvSpPr>
            <p:nvPr/>
          </p:nvSpPr>
          <p:spPr bwMode="auto">
            <a:xfrm>
              <a:off x="3308" y="2416"/>
              <a:ext cx="32" cy="24"/>
            </a:xfrm>
            <a:custGeom>
              <a:avLst/>
              <a:gdLst>
                <a:gd name="T0" fmla="*/ 0 w 32"/>
                <a:gd name="T1" fmla="*/ 0 h 24"/>
                <a:gd name="T2" fmla="*/ 16 w 32"/>
                <a:gd name="T3" fmla="*/ 24 h 24"/>
                <a:gd name="T4" fmla="*/ 32 w 32"/>
                <a:gd name="T5" fmla="*/ 16 h 24"/>
                <a:gd name="T6" fmla="*/ 32 w 32"/>
                <a:gd name="T7" fmla="*/ 8 h 24"/>
                <a:gd name="T8" fmla="*/ 16 w 32"/>
                <a:gd name="T9" fmla="*/ 8 h 24"/>
                <a:gd name="T10" fmla="*/ 16 w 32"/>
                <a:gd name="T11" fmla="*/ 0 h 24"/>
                <a:gd name="T12" fmla="*/ 0 w 32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2" h="24">
                  <a:moveTo>
                    <a:pt x="0" y="0"/>
                  </a:moveTo>
                  <a:lnTo>
                    <a:pt x="16" y="24"/>
                  </a:lnTo>
                  <a:lnTo>
                    <a:pt x="32" y="16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8" name="Freeform 15"/>
            <p:cNvSpPr>
              <a:spLocks noChangeAspect="1"/>
            </p:cNvSpPr>
            <p:nvPr/>
          </p:nvSpPr>
          <p:spPr bwMode="auto">
            <a:xfrm>
              <a:off x="3556" y="2624"/>
              <a:ext cx="40" cy="48"/>
            </a:xfrm>
            <a:custGeom>
              <a:avLst/>
              <a:gdLst>
                <a:gd name="T0" fmla="*/ 0 w 40"/>
                <a:gd name="T1" fmla="*/ 40 h 48"/>
                <a:gd name="T2" fmla="*/ 8 w 40"/>
                <a:gd name="T3" fmla="*/ 48 h 48"/>
                <a:gd name="T4" fmla="*/ 8 w 40"/>
                <a:gd name="T5" fmla="*/ 40 h 48"/>
                <a:gd name="T6" fmla="*/ 24 w 40"/>
                <a:gd name="T7" fmla="*/ 48 h 48"/>
                <a:gd name="T8" fmla="*/ 32 w 40"/>
                <a:gd name="T9" fmla="*/ 40 h 48"/>
                <a:gd name="T10" fmla="*/ 24 w 40"/>
                <a:gd name="T11" fmla="*/ 40 h 48"/>
                <a:gd name="T12" fmla="*/ 40 w 40"/>
                <a:gd name="T13" fmla="*/ 16 h 48"/>
                <a:gd name="T14" fmla="*/ 32 w 40"/>
                <a:gd name="T15" fmla="*/ 8 h 48"/>
                <a:gd name="T16" fmla="*/ 24 w 40"/>
                <a:gd name="T17" fmla="*/ 0 h 48"/>
                <a:gd name="T18" fmla="*/ 8 w 40"/>
                <a:gd name="T19" fmla="*/ 8 h 48"/>
                <a:gd name="T20" fmla="*/ 0 w 40"/>
                <a:gd name="T21" fmla="*/ 40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0" h="48">
                  <a:moveTo>
                    <a:pt x="0" y="40"/>
                  </a:moveTo>
                  <a:lnTo>
                    <a:pt x="8" y="48"/>
                  </a:lnTo>
                  <a:lnTo>
                    <a:pt x="8" y="40"/>
                  </a:lnTo>
                  <a:lnTo>
                    <a:pt x="24" y="48"/>
                  </a:lnTo>
                  <a:lnTo>
                    <a:pt x="32" y="40"/>
                  </a:lnTo>
                  <a:lnTo>
                    <a:pt x="24" y="40"/>
                  </a:lnTo>
                  <a:lnTo>
                    <a:pt x="40" y="16"/>
                  </a:lnTo>
                  <a:lnTo>
                    <a:pt x="32" y="8"/>
                  </a:lnTo>
                  <a:lnTo>
                    <a:pt x="24" y="0"/>
                  </a:lnTo>
                  <a:lnTo>
                    <a:pt x="8" y="8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9" name="Freeform 16"/>
            <p:cNvSpPr>
              <a:spLocks noChangeAspect="1"/>
            </p:cNvSpPr>
            <p:nvPr/>
          </p:nvSpPr>
          <p:spPr bwMode="auto">
            <a:xfrm>
              <a:off x="3524" y="2680"/>
              <a:ext cx="24" cy="80"/>
            </a:xfrm>
            <a:custGeom>
              <a:avLst/>
              <a:gdLst>
                <a:gd name="T0" fmla="*/ 0 w 24"/>
                <a:gd name="T1" fmla="*/ 40 h 80"/>
                <a:gd name="T2" fmla="*/ 16 w 24"/>
                <a:gd name="T3" fmla="*/ 64 h 80"/>
                <a:gd name="T4" fmla="*/ 16 w 24"/>
                <a:gd name="T5" fmla="*/ 80 h 80"/>
                <a:gd name="T6" fmla="*/ 24 w 24"/>
                <a:gd name="T7" fmla="*/ 80 h 80"/>
                <a:gd name="T8" fmla="*/ 24 w 24"/>
                <a:gd name="T9" fmla="*/ 56 h 80"/>
                <a:gd name="T10" fmla="*/ 8 w 24"/>
                <a:gd name="T11" fmla="*/ 48 h 80"/>
                <a:gd name="T12" fmla="*/ 16 w 24"/>
                <a:gd name="T13" fmla="*/ 40 h 80"/>
                <a:gd name="T14" fmla="*/ 0 w 24"/>
                <a:gd name="T15" fmla="*/ 0 h 80"/>
                <a:gd name="T16" fmla="*/ 0 w 24"/>
                <a:gd name="T17" fmla="*/ 8 h 80"/>
                <a:gd name="T18" fmla="*/ 0 w 24"/>
                <a:gd name="T19" fmla="*/ 40 h 8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4" h="80">
                  <a:moveTo>
                    <a:pt x="0" y="40"/>
                  </a:moveTo>
                  <a:lnTo>
                    <a:pt x="16" y="64"/>
                  </a:lnTo>
                  <a:lnTo>
                    <a:pt x="16" y="80"/>
                  </a:lnTo>
                  <a:lnTo>
                    <a:pt x="24" y="80"/>
                  </a:lnTo>
                  <a:lnTo>
                    <a:pt x="24" y="56"/>
                  </a:lnTo>
                  <a:lnTo>
                    <a:pt x="8" y="48"/>
                  </a:lnTo>
                  <a:lnTo>
                    <a:pt x="16" y="4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0" name="Freeform 17"/>
            <p:cNvSpPr>
              <a:spLocks noChangeAspect="1"/>
            </p:cNvSpPr>
            <p:nvPr/>
          </p:nvSpPr>
          <p:spPr bwMode="auto">
            <a:xfrm>
              <a:off x="3588" y="2776"/>
              <a:ext cx="16" cy="72"/>
            </a:xfrm>
            <a:custGeom>
              <a:avLst/>
              <a:gdLst>
                <a:gd name="T0" fmla="*/ 0 w 16"/>
                <a:gd name="T1" fmla="*/ 40 h 72"/>
                <a:gd name="T2" fmla="*/ 8 w 16"/>
                <a:gd name="T3" fmla="*/ 56 h 72"/>
                <a:gd name="T4" fmla="*/ 16 w 16"/>
                <a:gd name="T5" fmla="*/ 72 h 72"/>
                <a:gd name="T6" fmla="*/ 8 w 16"/>
                <a:gd name="T7" fmla="*/ 48 h 72"/>
                <a:gd name="T8" fmla="*/ 16 w 16"/>
                <a:gd name="T9" fmla="*/ 32 h 72"/>
                <a:gd name="T10" fmla="*/ 8 w 16"/>
                <a:gd name="T11" fmla="*/ 8 h 72"/>
                <a:gd name="T12" fmla="*/ 0 w 16"/>
                <a:gd name="T13" fmla="*/ 0 h 72"/>
                <a:gd name="T14" fmla="*/ 8 w 16"/>
                <a:gd name="T15" fmla="*/ 32 h 72"/>
                <a:gd name="T16" fmla="*/ 0 w 16"/>
                <a:gd name="T17" fmla="*/ 40 h 7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" h="72">
                  <a:moveTo>
                    <a:pt x="0" y="40"/>
                  </a:moveTo>
                  <a:lnTo>
                    <a:pt x="8" y="56"/>
                  </a:lnTo>
                  <a:lnTo>
                    <a:pt x="16" y="72"/>
                  </a:lnTo>
                  <a:lnTo>
                    <a:pt x="8" y="48"/>
                  </a:lnTo>
                  <a:lnTo>
                    <a:pt x="16" y="32"/>
                  </a:lnTo>
                  <a:lnTo>
                    <a:pt x="8" y="8"/>
                  </a:lnTo>
                  <a:lnTo>
                    <a:pt x="0" y="0"/>
                  </a:lnTo>
                  <a:lnTo>
                    <a:pt x="8" y="32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41" name="Freeform 18"/>
          <p:cNvSpPr>
            <a:spLocks noChangeAspect="1"/>
          </p:cNvSpPr>
          <p:nvPr/>
        </p:nvSpPr>
        <p:spPr bwMode="auto">
          <a:xfrm>
            <a:off x="1190054" y="3380541"/>
            <a:ext cx="214313" cy="166688"/>
          </a:xfrm>
          <a:custGeom>
            <a:avLst/>
            <a:gdLst>
              <a:gd name="T0" fmla="*/ 2147483647 w 96"/>
              <a:gd name="T1" fmla="*/ 2147483647 h 80"/>
              <a:gd name="T2" fmla="*/ 2147483647 w 96"/>
              <a:gd name="T3" fmla="*/ 2147483647 h 80"/>
              <a:gd name="T4" fmla="*/ 2147483647 w 96"/>
              <a:gd name="T5" fmla="*/ 2147483647 h 80"/>
              <a:gd name="T6" fmla="*/ 2147483647 w 96"/>
              <a:gd name="T7" fmla="*/ 2147483647 h 80"/>
              <a:gd name="T8" fmla="*/ 2147483647 w 96"/>
              <a:gd name="T9" fmla="*/ 2147483647 h 80"/>
              <a:gd name="T10" fmla="*/ 2147483647 w 96"/>
              <a:gd name="T11" fmla="*/ 2147483647 h 80"/>
              <a:gd name="T12" fmla="*/ 2147483647 w 96"/>
              <a:gd name="T13" fmla="*/ 0 h 80"/>
              <a:gd name="T14" fmla="*/ 2147483647 w 96"/>
              <a:gd name="T15" fmla="*/ 2147483647 h 80"/>
              <a:gd name="T16" fmla="*/ 2147483647 w 96"/>
              <a:gd name="T17" fmla="*/ 0 h 80"/>
              <a:gd name="T18" fmla="*/ 2147483647 w 96"/>
              <a:gd name="T19" fmla="*/ 0 h 80"/>
              <a:gd name="T20" fmla="*/ 2147483647 w 96"/>
              <a:gd name="T21" fmla="*/ 2147483647 h 80"/>
              <a:gd name="T22" fmla="*/ 0 w 96"/>
              <a:gd name="T23" fmla="*/ 2147483647 h 80"/>
              <a:gd name="T24" fmla="*/ 0 w 96"/>
              <a:gd name="T25" fmla="*/ 2147483647 h 80"/>
              <a:gd name="T26" fmla="*/ 2147483647 w 96"/>
              <a:gd name="T27" fmla="*/ 2147483647 h 80"/>
              <a:gd name="T28" fmla="*/ 2147483647 w 96"/>
              <a:gd name="T29" fmla="*/ 2147483647 h 80"/>
              <a:gd name="T30" fmla="*/ 2147483647 w 96"/>
              <a:gd name="T31" fmla="*/ 2147483647 h 80"/>
              <a:gd name="T32" fmla="*/ 2147483647 w 96"/>
              <a:gd name="T33" fmla="*/ 2147483647 h 80"/>
              <a:gd name="T34" fmla="*/ 2147483647 w 96"/>
              <a:gd name="T35" fmla="*/ 2147483647 h 80"/>
              <a:gd name="T36" fmla="*/ 2147483647 w 96"/>
              <a:gd name="T37" fmla="*/ 2147483647 h 80"/>
              <a:gd name="T38" fmla="*/ 2147483647 w 96"/>
              <a:gd name="T39" fmla="*/ 2147483647 h 80"/>
              <a:gd name="T40" fmla="*/ 2147483647 w 96"/>
              <a:gd name="T41" fmla="*/ 2147483647 h 8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96" h="80">
                <a:moveTo>
                  <a:pt x="80" y="80"/>
                </a:moveTo>
                <a:lnTo>
                  <a:pt x="88" y="72"/>
                </a:lnTo>
                <a:lnTo>
                  <a:pt x="88" y="64"/>
                </a:lnTo>
                <a:lnTo>
                  <a:pt x="96" y="64"/>
                </a:lnTo>
                <a:lnTo>
                  <a:pt x="88" y="48"/>
                </a:lnTo>
                <a:lnTo>
                  <a:pt x="88" y="32"/>
                </a:lnTo>
                <a:lnTo>
                  <a:pt x="72" y="0"/>
                </a:lnTo>
                <a:lnTo>
                  <a:pt x="56" y="8"/>
                </a:lnTo>
                <a:lnTo>
                  <a:pt x="48" y="0"/>
                </a:lnTo>
                <a:lnTo>
                  <a:pt x="16" y="0"/>
                </a:lnTo>
                <a:lnTo>
                  <a:pt x="16" y="16"/>
                </a:lnTo>
                <a:lnTo>
                  <a:pt x="0" y="16"/>
                </a:lnTo>
                <a:lnTo>
                  <a:pt x="0" y="24"/>
                </a:lnTo>
                <a:lnTo>
                  <a:pt x="16" y="48"/>
                </a:lnTo>
                <a:lnTo>
                  <a:pt x="32" y="40"/>
                </a:lnTo>
                <a:lnTo>
                  <a:pt x="48" y="40"/>
                </a:lnTo>
                <a:lnTo>
                  <a:pt x="56" y="56"/>
                </a:lnTo>
                <a:lnTo>
                  <a:pt x="56" y="64"/>
                </a:lnTo>
                <a:lnTo>
                  <a:pt x="64" y="64"/>
                </a:lnTo>
                <a:lnTo>
                  <a:pt x="72" y="80"/>
                </a:lnTo>
                <a:lnTo>
                  <a:pt x="80" y="8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2" name="Freeform 19"/>
          <p:cNvSpPr>
            <a:spLocks noChangeAspect="1"/>
          </p:cNvSpPr>
          <p:nvPr/>
        </p:nvSpPr>
        <p:spPr bwMode="auto">
          <a:xfrm>
            <a:off x="1990154" y="3613904"/>
            <a:ext cx="569913" cy="587375"/>
          </a:xfrm>
          <a:custGeom>
            <a:avLst/>
            <a:gdLst>
              <a:gd name="T0" fmla="*/ 2147483647 w 256"/>
              <a:gd name="T1" fmla="*/ 2147483647 h 280"/>
              <a:gd name="T2" fmla="*/ 2147483647 w 256"/>
              <a:gd name="T3" fmla="*/ 2147483647 h 280"/>
              <a:gd name="T4" fmla="*/ 2147483647 w 256"/>
              <a:gd name="T5" fmla="*/ 2147483647 h 280"/>
              <a:gd name="T6" fmla="*/ 2147483647 w 256"/>
              <a:gd name="T7" fmla="*/ 0 h 280"/>
              <a:gd name="T8" fmla="*/ 2147483647 w 256"/>
              <a:gd name="T9" fmla="*/ 0 h 280"/>
              <a:gd name="T10" fmla="*/ 2147483647 w 256"/>
              <a:gd name="T11" fmla="*/ 2147483647 h 280"/>
              <a:gd name="T12" fmla="*/ 2147483647 w 256"/>
              <a:gd name="T13" fmla="*/ 2147483647 h 280"/>
              <a:gd name="T14" fmla="*/ 2147483647 w 256"/>
              <a:gd name="T15" fmla="*/ 2147483647 h 280"/>
              <a:gd name="T16" fmla="*/ 2147483647 w 256"/>
              <a:gd name="T17" fmla="*/ 2147483647 h 280"/>
              <a:gd name="T18" fmla="*/ 2147483647 w 256"/>
              <a:gd name="T19" fmla="*/ 2147483647 h 280"/>
              <a:gd name="T20" fmla="*/ 2147483647 w 256"/>
              <a:gd name="T21" fmla="*/ 2147483647 h 280"/>
              <a:gd name="T22" fmla="*/ 2147483647 w 256"/>
              <a:gd name="T23" fmla="*/ 2147483647 h 280"/>
              <a:gd name="T24" fmla="*/ 2147483647 w 256"/>
              <a:gd name="T25" fmla="*/ 2147483647 h 280"/>
              <a:gd name="T26" fmla="*/ 2147483647 w 256"/>
              <a:gd name="T27" fmla="*/ 2147483647 h 280"/>
              <a:gd name="T28" fmla="*/ 0 w 256"/>
              <a:gd name="T29" fmla="*/ 2147483647 h 280"/>
              <a:gd name="T30" fmla="*/ 0 w 256"/>
              <a:gd name="T31" fmla="*/ 2147483647 h 280"/>
              <a:gd name="T32" fmla="*/ 0 w 256"/>
              <a:gd name="T33" fmla="*/ 2147483647 h 280"/>
              <a:gd name="T34" fmla="*/ 2147483647 w 256"/>
              <a:gd name="T35" fmla="*/ 2147483647 h 280"/>
              <a:gd name="T36" fmla="*/ 2147483647 w 256"/>
              <a:gd name="T37" fmla="*/ 2147483647 h 280"/>
              <a:gd name="T38" fmla="*/ 2147483647 w 256"/>
              <a:gd name="T39" fmla="*/ 2147483647 h 280"/>
              <a:gd name="T40" fmla="*/ 2147483647 w 256"/>
              <a:gd name="T41" fmla="*/ 2147483647 h 280"/>
              <a:gd name="T42" fmla="*/ 2147483647 w 256"/>
              <a:gd name="T43" fmla="*/ 2147483647 h 280"/>
              <a:gd name="T44" fmla="*/ 2147483647 w 256"/>
              <a:gd name="T45" fmla="*/ 2147483647 h 280"/>
              <a:gd name="T46" fmla="*/ 2147483647 w 256"/>
              <a:gd name="T47" fmla="*/ 2147483647 h 280"/>
              <a:gd name="T48" fmla="*/ 2147483647 w 256"/>
              <a:gd name="T49" fmla="*/ 2147483647 h 280"/>
              <a:gd name="T50" fmla="*/ 2147483647 w 256"/>
              <a:gd name="T51" fmla="*/ 2147483647 h 280"/>
              <a:gd name="T52" fmla="*/ 2147483647 w 256"/>
              <a:gd name="T53" fmla="*/ 2147483647 h 280"/>
              <a:gd name="T54" fmla="*/ 2147483647 w 256"/>
              <a:gd name="T55" fmla="*/ 2147483647 h 280"/>
              <a:gd name="T56" fmla="*/ 2147483647 w 256"/>
              <a:gd name="T57" fmla="*/ 2147483647 h 280"/>
              <a:gd name="T58" fmla="*/ 2147483647 w 256"/>
              <a:gd name="T59" fmla="*/ 2147483647 h 280"/>
              <a:gd name="T60" fmla="*/ 2147483647 w 256"/>
              <a:gd name="T61" fmla="*/ 2147483647 h 280"/>
              <a:gd name="T62" fmla="*/ 2147483647 w 256"/>
              <a:gd name="T63" fmla="*/ 2147483647 h 280"/>
              <a:gd name="T64" fmla="*/ 2147483647 w 256"/>
              <a:gd name="T65" fmla="*/ 2147483647 h 280"/>
              <a:gd name="T66" fmla="*/ 2147483647 w 256"/>
              <a:gd name="T67" fmla="*/ 2147483647 h 280"/>
              <a:gd name="T68" fmla="*/ 2147483647 w 256"/>
              <a:gd name="T69" fmla="*/ 2147483647 h 280"/>
              <a:gd name="T70" fmla="*/ 2147483647 w 256"/>
              <a:gd name="T71" fmla="*/ 2147483647 h 280"/>
              <a:gd name="T72" fmla="*/ 2147483647 w 256"/>
              <a:gd name="T73" fmla="*/ 2147483647 h 280"/>
              <a:gd name="T74" fmla="*/ 2147483647 w 256"/>
              <a:gd name="T75" fmla="*/ 2147483647 h 280"/>
              <a:gd name="T76" fmla="*/ 2147483647 w 256"/>
              <a:gd name="T77" fmla="*/ 2147483647 h 280"/>
              <a:gd name="T78" fmla="*/ 2147483647 w 256"/>
              <a:gd name="T79" fmla="*/ 2147483647 h 280"/>
              <a:gd name="T80" fmla="*/ 2147483647 w 256"/>
              <a:gd name="T81" fmla="*/ 2147483647 h 280"/>
              <a:gd name="T82" fmla="*/ 2147483647 w 256"/>
              <a:gd name="T83" fmla="*/ 2147483647 h 280"/>
              <a:gd name="T84" fmla="*/ 2147483647 w 256"/>
              <a:gd name="T85" fmla="*/ 2147483647 h 280"/>
              <a:gd name="T86" fmla="*/ 2147483647 w 256"/>
              <a:gd name="T87" fmla="*/ 2147483647 h 280"/>
              <a:gd name="T88" fmla="*/ 2147483647 w 256"/>
              <a:gd name="T89" fmla="*/ 2147483647 h 280"/>
              <a:gd name="T90" fmla="*/ 2147483647 w 256"/>
              <a:gd name="T91" fmla="*/ 2147483647 h 280"/>
              <a:gd name="T92" fmla="*/ 2147483647 w 256"/>
              <a:gd name="T93" fmla="*/ 2147483647 h 280"/>
              <a:gd name="T94" fmla="*/ 2147483647 w 256"/>
              <a:gd name="T95" fmla="*/ 2147483647 h 280"/>
              <a:gd name="T96" fmla="*/ 2147483647 w 256"/>
              <a:gd name="T97" fmla="*/ 2147483647 h 280"/>
              <a:gd name="T98" fmla="*/ 2147483647 w 256"/>
              <a:gd name="T99" fmla="*/ 2147483647 h 280"/>
              <a:gd name="T100" fmla="*/ 2147483647 w 256"/>
              <a:gd name="T101" fmla="*/ 2147483647 h 280"/>
              <a:gd name="T102" fmla="*/ 2147483647 w 256"/>
              <a:gd name="T103" fmla="*/ 2147483647 h 280"/>
              <a:gd name="T104" fmla="*/ 2147483647 w 256"/>
              <a:gd name="T105" fmla="*/ 2147483647 h 280"/>
              <a:gd name="T106" fmla="*/ 2147483647 w 256"/>
              <a:gd name="T107" fmla="*/ 2147483647 h 280"/>
              <a:gd name="T108" fmla="*/ 2147483647 w 256"/>
              <a:gd name="T109" fmla="*/ 0 h 280"/>
              <a:gd name="T110" fmla="*/ 2147483647 w 256"/>
              <a:gd name="T111" fmla="*/ 2147483647 h 28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6" h="280">
                <a:moveTo>
                  <a:pt x="144" y="8"/>
                </a:moveTo>
                <a:lnTo>
                  <a:pt x="136" y="16"/>
                </a:lnTo>
                <a:lnTo>
                  <a:pt x="112" y="8"/>
                </a:lnTo>
                <a:lnTo>
                  <a:pt x="104" y="0"/>
                </a:lnTo>
                <a:lnTo>
                  <a:pt x="96" y="0"/>
                </a:lnTo>
                <a:lnTo>
                  <a:pt x="88" y="24"/>
                </a:lnTo>
                <a:lnTo>
                  <a:pt x="80" y="48"/>
                </a:lnTo>
                <a:lnTo>
                  <a:pt x="72" y="88"/>
                </a:lnTo>
                <a:lnTo>
                  <a:pt x="56" y="112"/>
                </a:lnTo>
                <a:lnTo>
                  <a:pt x="48" y="136"/>
                </a:lnTo>
                <a:lnTo>
                  <a:pt x="32" y="152"/>
                </a:lnTo>
                <a:lnTo>
                  <a:pt x="24" y="144"/>
                </a:lnTo>
                <a:lnTo>
                  <a:pt x="16" y="152"/>
                </a:lnTo>
                <a:lnTo>
                  <a:pt x="8" y="152"/>
                </a:lnTo>
                <a:lnTo>
                  <a:pt x="0" y="152"/>
                </a:lnTo>
                <a:lnTo>
                  <a:pt x="0" y="168"/>
                </a:lnTo>
                <a:lnTo>
                  <a:pt x="0" y="176"/>
                </a:lnTo>
                <a:lnTo>
                  <a:pt x="16" y="168"/>
                </a:lnTo>
                <a:lnTo>
                  <a:pt x="48" y="168"/>
                </a:lnTo>
                <a:lnTo>
                  <a:pt x="56" y="168"/>
                </a:lnTo>
                <a:lnTo>
                  <a:pt x="64" y="192"/>
                </a:lnTo>
                <a:lnTo>
                  <a:pt x="72" y="200"/>
                </a:lnTo>
                <a:lnTo>
                  <a:pt x="96" y="200"/>
                </a:lnTo>
                <a:lnTo>
                  <a:pt x="96" y="184"/>
                </a:lnTo>
                <a:lnTo>
                  <a:pt x="112" y="184"/>
                </a:lnTo>
                <a:lnTo>
                  <a:pt x="128" y="192"/>
                </a:lnTo>
                <a:lnTo>
                  <a:pt x="128" y="224"/>
                </a:lnTo>
                <a:lnTo>
                  <a:pt x="136" y="240"/>
                </a:lnTo>
                <a:lnTo>
                  <a:pt x="128" y="248"/>
                </a:lnTo>
                <a:lnTo>
                  <a:pt x="160" y="240"/>
                </a:lnTo>
                <a:lnTo>
                  <a:pt x="184" y="256"/>
                </a:lnTo>
                <a:lnTo>
                  <a:pt x="192" y="256"/>
                </a:lnTo>
                <a:lnTo>
                  <a:pt x="216" y="272"/>
                </a:lnTo>
                <a:lnTo>
                  <a:pt x="232" y="280"/>
                </a:lnTo>
                <a:lnTo>
                  <a:pt x="232" y="264"/>
                </a:lnTo>
                <a:lnTo>
                  <a:pt x="224" y="264"/>
                </a:lnTo>
                <a:lnTo>
                  <a:pt x="216" y="256"/>
                </a:lnTo>
                <a:lnTo>
                  <a:pt x="224" y="216"/>
                </a:lnTo>
                <a:lnTo>
                  <a:pt x="224" y="208"/>
                </a:lnTo>
                <a:lnTo>
                  <a:pt x="240" y="200"/>
                </a:lnTo>
                <a:lnTo>
                  <a:pt x="248" y="200"/>
                </a:lnTo>
                <a:lnTo>
                  <a:pt x="232" y="176"/>
                </a:lnTo>
                <a:lnTo>
                  <a:pt x="232" y="144"/>
                </a:lnTo>
                <a:lnTo>
                  <a:pt x="232" y="128"/>
                </a:lnTo>
                <a:lnTo>
                  <a:pt x="224" y="120"/>
                </a:lnTo>
                <a:lnTo>
                  <a:pt x="224" y="112"/>
                </a:lnTo>
                <a:lnTo>
                  <a:pt x="232" y="96"/>
                </a:lnTo>
                <a:lnTo>
                  <a:pt x="240" y="72"/>
                </a:lnTo>
                <a:lnTo>
                  <a:pt x="248" y="56"/>
                </a:lnTo>
                <a:lnTo>
                  <a:pt x="256" y="48"/>
                </a:lnTo>
                <a:lnTo>
                  <a:pt x="248" y="40"/>
                </a:lnTo>
                <a:lnTo>
                  <a:pt x="248" y="24"/>
                </a:lnTo>
                <a:lnTo>
                  <a:pt x="232" y="8"/>
                </a:lnTo>
                <a:lnTo>
                  <a:pt x="216" y="8"/>
                </a:lnTo>
                <a:lnTo>
                  <a:pt x="208" y="0"/>
                </a:lnTo>
                <a:lnTo>
                  <a:pt x="144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3" name="Freeform 20"/>
          <p:cNvSpPr>
            <a:spLocks noChangeAspect="1"/>
          </p:cNvSpPr>
          <p:nvPr/>
        </p:nvSpPr>
        <p:spPr bwMode="auto">
          <a:xfrm>
            <a:off x="2061592" y="3429754"/>
            <a:ext cx="392112" cy="250825"/>
          </a:xfrm>
          <a:custGeom>
            <a:avLst/>
            <a:gdLst>
              <a:gd name="T0" fmla="*/ 0 w 176"/>
              <a:gd name="T1" fmla="*/ 2147483647 h 120"/>
              <a:gd name="T2" fmla="*/ 0 w 176"/>
              <a:gd name="T3" fmla="*/ 2147483647 h 120"/>
              <a:gd name="T4" fmla="*/ 2147483647 w 176"/>
              <a:gd name="T5" fmla="*/ 2147483647 h 120"/>
              <a:gd name="T6" fmla="*/ 2147483647 w 176"/>
              <a:gd name="T7" fmla="*/ 2147483647 h 120"/>
              <a:gd name="T8" fmla="*/ 2147483647 w 176"/>
              <a:gd name="T9" fmla="*/ 2147483647 h 120"/>
              <a:gd name="T10" fmla="*/ 2147483647 w 176"/>
              <a:gd name="T11" fmla="*/ 2147483647 h 120"/>
              <a:gd name="T12" fmla="*/ 2147483647 w 176"/>
              <a:gd name="T13" fmla="*/ 2147483647 h 120"/>
              <a:gd name="T14" fmla="*/ 2147483647 w 176"/>
              <a:gd name="T15" fmla="*/ 2147483647 h 120"/>
              <a:gd name="T16" fmla="*/ 2147483647 w 176"/>
              <a:gd name="T17" fmla="*/ 0 h 120"/>
              <a:gd name="T18" fmla="*/ 2147483647 w 176"/>
              <a:gd name="T19" fmla="*/ 2147483647 h 120"/>
              <a:gd name="T20" fmla="*/ 2147483647 w 176"/>
              <a:gd name="T21" fmla="*/ 2147483647 h 120"/>
              <a:gd name="T22" fmla="*/ 2147483647 w 176"/>
              <a:gd name="T23" fmla="*/ 2147483647 h 120"/>
              <a:gd name="T24" fmla="*/ 2147483647 w 176"/>
              <a:gd name="T25" fmla="*/ 2147483647 h 120"/>
              <a:gd name="T26" fmla="*/ 2147483647 w 176"/>
              <a:gd name="T27" fmla="*/ 2147483647 h 120"/>
              <a:gd name="T28" fmla="*/ 2147483647 w 176"/>
              <a:gd name="T29" fmla="*/ 2147483647 h 120"/>
              <a:gd name="T30" fmla="*/ 2147483647 w 176"/>
              <a:gd name="T31" fmla="*/ 2147483647 h 120"/>
              <a:gd name="T32" fmla="*/ 2147483647 w 176"/>
              <a:gd name="T33" fmla="*/ 2147483647 h 120"/>
              <a:gd name="T34" fmla="*/ 2147483647 w 176"/>
              <a:gd name="T35" fmla="*/ 2147483647 h 120"/>
              <a:gd name="T36" fmla="*/ 2147483647 w 176"/>
              <a:gd name="T37" fmla="*/ 2147483647 h 120"/>
              <a:gd name="T38" fmla="*/ 2147483647 w 176"/>
              <a:gd name="T39" fmla="*/ 2147483647 h 120"/>
              <a:gd name="T40" fmla="*/ 2147483647 w 176"/>
              <a:gd name="T41" fmla="*/ 2147483647 h 120"/>
              <a:gd name="T42" fmla="*/ 2147483647 w 176"/>
              <a:gd name="T43" fmla="*/ 2147483647 h 120"/>
              <a:gd name="T44" fmla="*/ 2147483647 w 176"/>
              <a:gd name="T45" fmla="*/ 2147483647 h 120"/>
              <a:gd name="T46" fmla="*/ 0 w 176"/>
              <a:gd name="T47" fmla="*/ 2147483647 h 12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76" h="120">
                <a:moveTo>
                  <a:pt x="0" y="96"/>
                </a:moveTo>
                <a:lnTo>
                  <a:pt x="0" y="80"/>
                </a:lnTo>
                <a:lnTo>
                  <a:pt x="8" y="56"/>
                </a:lnTo>
                <a:lnTo>
                  <a:pt x="48" y="48"/>
                </a:lnTo>
                <a:lnTo>
                  <a:pt x="56" y="40"/>
                </a:lnTo>
                <a:lnTo>
                  <a:pt x="56" y="32"/>
                </a:lnTo>
                <a:lnTo>
                  <a:pt x="80" y="24"/>
                </a:lnTo>
                <a:lnTo>
                  <a:pt x="96" y="8"/>
                </a:lnTo>
                <a:lnTo>
                  <a:pt x="104" y="0"/>
                </a:lnTo>
                <a:lnTo>
                  <a:pt x="120" y="16"/>
                </a:lnTo>
                <a:lnTo>
                  <a:pt x="120" y="32"/>
                </a:lnTo>
                <a:lnTo>
                  <a:pt x="136" y="40"/>
                </a:lnTo>
                <a:lnTo>
                  <a:pt x="176" y="88"/>
                </a:lnTo>
                <a:lnTo>
                  <a:pt x="112" y="96"/>
                </a:lnTo>
                <a:lnTo>
                  <a:pt x="104" y="104"/>
                </a:lnTo>
                <a:lnTo>
                  <a:pt x="80" y="96"/>
                </a:lnTo>
                <a:lnTo>
                  <a:pt x="72" y="88"/>
                </a:lnTo>
                <a:lnTo>
                  <a:pt x="64" y="88"/>
                </a:lnTo>
                <a:lnTo>
                  <a:pt x="56" y="112"/>
                </a:lnTo>
                <a:lnTo>
                  <a:pt x="40" y="112"/>
                </a:lnTo>
                <a:lnTo>
                  <a:pt x="32" y="112"/>
                </a:lnTo>
                <a:lnTo>
                  <a:pt x="24" y="112"/>
                </a:lnTo>
                <a:lnTo>
                  <a:pt x="16" y="120"/>
                </a:lnTo>
                <a:lnTo>
                  <a:pt x="0" y="9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4" name="Freeform 21"/>
          <p:cNvSpPr>
            <a:spLocks noChangeAspect="1"/>
          </p:cNvSpPr>
          <p:nvPr/>
        </p:nvSpPr>
        <p:spPr bwMode="auto">
          <a:xfrm>
            <a:off x="2614042" y="3312279"/>
            <a:ext cx="425450" cy="350837"/>
          </a:xfrm>
          <a:custGeom>
            <a:avLst/>
            <a:gdLst>
              <a:gd name="T0" fmla="*/ 2147483647 w 192"/>
              <a:gd name="T1" fmla="*/ 2147483647 h 168"/>
              <a:gd name="T2" fmla="*/ 2147483647 w 192"/>
              <a:gd name="T3" fmla="*/ 2147483647 h 168"/>
              <a:gd name="T4" fmla="*/ 2147483647 w 192"/>
              <a:gd name="T5" fmla="*/ 2147483647 h 168"/>
              <a:gd name="T6" fmla="*/ 2147483647 w 192"/>
              <a:gd name="T7" fmla="*/ 2147483647 h 168"/>
              <a:gd name="T8" fmla="*/ 2147483647 w 192"/>
              <a:gd name="T9" fmla="*/ 2147483647 h 168"/>
              <a:gd name="T10" fmla="*/ 2147483647 w 192"/>
              <a:gd name="T11" fmla="*/ 2147483647 h 168"/>
              <a:gd name="T12" fmla="*/ 2147483647 w 192"/>
              <a:gd name="T13" fmla="*/ 2147483647 h 168"/>
              <a:gd name="T14" fmla="*/ 2147483647 w 192"/>
              <a:gd name="T15" fmla="*/ 2147483647 h 168"/>
              <a:gd name="T16" fmla="*/ 2147483647 w 192"/>
              <a:gd name="T17" fmla="*/ 2147483647 h 168"/>
              <a:gd name="T18" fmla="*/ 2147483647 w 192"/>
              <a:gd name="T19" fmla="*/ 2147483647 h 168"/>
              <a:gd name="T20" fmla="*/ 2147483647 w 192"/>
              <a:gd name="T21" fmla="*/ 2147483647 h 168"/>
              <a:gd name="T22" fmla="*/ 2147483647 w 192"/>
              <a:gd name="T23" fmla="*/ 2147483647 h 168"/>
              <a:gd name="T24" fmla="*/ 2147483647 w 192"/>
              <a:gd name="T25" fmla="*/ 2147483647 h 168"/>
              <a:gd name="T26" fmla="*/ 2147483647 w 192"/>
              <a:gd name="T27" fmla="*/ 2147483647 h 168"/>
              <a:gd name="T28" fmla="*/ 2147483647 w 192"/>
              <a:gd name="T29" fmla="*/ 2147483647 h 168"/>
              <a:gd name="T30" fmla="*/ 2147483647 w 192"/>
              <a:gd name="T31" fmla="*/ 2147483647 h 168"/>
              <a:gd name="T32" fmla="*/ 2147483647 w 192"/>
              <a:gd name="T33" fmla="*/ 2147483647 h 168"/>
              <a:gd name="T34" fmla="*/ 2147483647 w 192"/>
              <a:gd name="T35" fmla="*/ 2147483647 h 168"/>
              <a:gd name="T36" fmla="*/ 0 w 192"/>
              <a:gd name="T37" fmla="*/ 2147483647 h 168"/>
              <a:gd name="T38" fmla="*/ 0 w 192"/>
              <a:gd name="T39" fmla="*/ 2147483647 h 168"/>
              <a:gd name="T40" fmla="*/ 2147483647 w 192"/>
              <a:gd name="T41" fmla="*/ 2147483647 h 168"/>
              <a:gd name="T42" fmla="*/ 2147483647 w 192"/>
              <a:gd name="T43" fmla="*/ 2147483647 h 168"/>
              <a:gd name="T44" fmla="*/ 2147483647 w 192"/>
              <a:gd name="T45" fmla="*/ 2147483647 h 168"/>
              <a:gd name="T46" fmla="*/ 2147483647 w 192"/>
              <a:gd name="T47" fmla="*/ 2147483647 h 168"/>
              <a:gd name="T48" fmla="*/ 2147483647 w 192"/>
              <a:gd name="T49" fmla="*/ 2147483647 h 168"/>
              <a:gd name="T50" fmla="*/ 2147483647 w 192"/>
              <a:gd name="T51" fmla="*/ 2147483647 h 168"/>
              <a:gd name="T52" fmla="*/ 2147483647 w 192"/>
              <a:gd name="T53" fmla="*/ 0 h 168"/>
              <a:gd name="T54" fmla="*/ 2147483647 w 192"/>
              <a:gd name="T55" fmla="*/ 2147483647 h 168"/>
              <a:gd name="T56" fmla="*/ 2147483647 w 192"/>
              <a:gd name="T57" fmla="*/ 0 h 168"/>
              <a:gd name="T58" fmla="*/ 2147483647 w 192"/>
              <a:gd name="T59" fmla="*/ 2147483647 h 168"/>
              <a:gd name="T60" fmla="*/ 2147483647 w 192"/>
              <a:gd name="T61" fmla="*/ 2147483647 h 16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92" h="168">
                <a:moveTo>
                  <a:pt x="120" y="40"/>
                </a:moveTo>
                <a:lnTo>
                  <a:pt x="112" y="56"/>
                </a:lnTo>
                <a:lnTo>
                  <a:pt x="128" y="56"/>
                </a:lnTo>
                <a:lnTo>
                  <a:pt x="128" y="64"/>
                </a:lnTo>
                <a:lnTo>
                  <a:pt x="144" y="88"/>
                </a:lnTo>
                <a:lnTo>
                  <a:pt x="184" y="104"/>
                </a:lnTo>
                <a:lnTo>
                  <a:pt x="192" y="104"/>
                </a:lnTo>
                <a:lnTo>
                  <a:pt x="160" y="144"/>
                </a:lnTo>
                <a:lnTo>
                  <a:pt x="136" y="152"/>
                </a:lnTo>
                <a:lnTo>
                  <a:pt x="112" y="160"/>
                </a:lnTo>
                <a:lnTo>
                  <a:pt x="104" y="160"/>
                </a:lnTo>
                <a:lnTo>
                  <a:pt x="80" y="168"/>
                </a:lnTo>
                <a:lnTo>
                  <a:pt x="64" y="168"/>
                </a:lnTo>
                <a:lnTo>
                  <a:pt x="48" y="152"/>
                </a:lnTo>
                <a:lnTo>
                  <a:pt x="32" y="152"/>
                </a:lnTo>
                <a:lnTo>
                  <a:pt x="32" y="144"/>
                </a:lnTo>
                <a:lnTo>
                  <a:pt x="24" y="136"/>
                </a:lnTo>
                <a:lnTo>
                  <a:pt x="8" y="112"/>
                </a:lnTo>
                <a:lnTo>
                  <a:pt x="0" y="104"/>
                </a:lnTo>
                <a:lnTo>
                  <a:pt x="0" y="96"/>
                </a:lnTo>
                <a:lnTo>
                  <a:pt x="8" y="96"/>
                </a:lnTo>
                <a:lnTo>
                  <a:pt x="16" y="64"/>
                </a:lnTo>
                <a:lnTo>
                  <a:pt x="40" y="24"/>
                </a:lnTo>
                <a:lnTo>
                  <a:pt x="40" y="8"/>
                </a:lnTo>
                <a:lnTo>
                  <a:pt x="48" y="8"/>
                </a:lnTo>
                <a:lnTo>
                  <a:pt x="56" y="8"/>
                </a:lnTo>
                <a:lnTo>
                  <a:pt x="56" y="0"/>
                </a:lnTo>
                <a:lnTo>
                  <a:pt x="64" y="8"/>
                </a:lnTo>
                <a:lnTo>
                  <a:pt x="72" y="0"/>
                </a:lnTo>
                <a:lnTo>
                  <a:pt x="88" y="8"/>
                </a:lnTo>
                <a:lnTo>
                  <a:pt x="120" y="4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5" name="Freeform 22"/>
          <p:cNvSpPr>
            <a:spLocks noChangeAspect="1"/>
          </p:cNvSpPr>
          <p:nvPr/>
        </p:nvSpPr>
        <p:spPr bwMode="auto">
          <a:xfrm>
            <a:off x="2702942" y="3212266"/>
            <a:ext cx="196850" cy="184150"/>
          </a:xfrm>
          <a:custGeom>
            <a:avLst/>
            <a:gdLst>
              <a:gd name="T0" fmla="*/ 2147483647 w 88"/>
              <a:gd name="T1" fmla="*/ 2147483647 h 88"/>
              <a:gd name="T2" fmla="*/ 2147483647 w 88"/>
              <a:gd name="T3" fmla="*/ 2147483647 h 88"/>
              <a:gd name="T4" fmla="*/ 2147483647 w 88"/>
              <a:gd name="T5" fmla="*/ 2147483647 h 88"/>
              <a:gd name="T6" fmla="*/ 2147483647 w 88"/>
              <a:gd name="T7" fmla="*/ 2147483647 h 88"/>
              <a:gd name="T8" fmla="*/ 2147483647 w 88"/>
              <a:gd name="T9" fmla="*/ 0 h 88"/>
              <a:gd name="T10" fmla="*/ 2147483647 w 88"/>
              <a:gd name="T11" fmla="*/ 2147483647 h 88"/>
              <a:gd name="T12" fmla="*/ 2147483647 w 88"/>
              <a:gd name="T13" fmla="*/ 2147483647 h 88"/>
              <a:gd name="T14" fmla="*/ 0 w 88"/>
              <a:gd name="T15" fmla="*/ 2147483647 h 88"/>
              <a:gd name="T16" fmla="*/ 2147483647 w 88"/>
              <a:gd name="T17" fmla="*/ 2147483647 h 88"/>
              <a:gd name="T18" fmla="*/ 2147483647 w 88"/>
              <a:gd name="T19" fmla="*/ 2147483647 h 88"/>
              <a:gd name="T20" fmla="*/ 2147483647 w 88"/>
              <a:gd name="T21" fmla="*/ 2147483647 h 88"/>
              <a:gd name="T22" fmla="*/ 2147483647 w 88"/>
              <a:gd name="T23" fmla="*/ 2147483647 h 88"/>
              <a:gd name="T24" fmla="*/ 2147483647 w 88"/>
              <a:gd name="T25" fmla="*/ 2147483647 h 88"/>
              <a:gd name="T26" fmla="*/ 2147483647 w 88"/>
              <a:gd name="T27" fmla="*/ 2147483647 h 88"/>
              <a:gd name="T28" fmla="*/ 2147483647 w 88"/>
              <a:gd name="T29" fmla="*/ 2147483647 h 8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88" h="88">
                <a:moveTo>
                  <a:pt x="80" y="88"/>
                </a:moveTo>
                <a:lnTo>
                  <a:pt x="88" y="80"/>
                </a:lnTo>
                <a:lnTo>
                  <a:pt x="64" y="48"/>
                </a:lnTo>
                <a:lnTo>
                  <a:pt x="40" y="32"/>
                </a:lnTo>
                <a:lnTo>
                  <a:pt x="24" y="0"/>
                </a:lnTo>
                <a:lnTo>
                  <a:pt x="24" y="8"/>
                </a:lnTo>
                <a:lnTo>
                  <a:pt x="8" y="16"/>
                </a:lnTo>
                <a:lnTo>
                  <a:pt x="0" y="56"/>
                </a:lnTo>
                <a:lnTo>
                  <a:pt x="8" y="56"/>
                </a:lnTo>
                <a:lnTo>
                  <a:pt x="16" y="56"/>
                </a:lnTo>
                <a:lnTo>
                  <a:pt x="16" y="48"/>
                </a:lnTo>
                <a:lnTo>
                  <a:pt x="24" y="56"/>
                </a:lnTo>
                <a:lnTo>
                  <a:pt x="32" y="48"/>
                </a:lnTo>
                <a:lnTo>
                  <a:pt x="48" y="56"/>
                </a:lnTo>
                <a:lnTo>
                  <a:pt x="80" y="8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6" name="Freeform 23"/>
          <p:cNvSpPr>
            <a:spLocks noChangeAspect="1"/>
          </p:cNvSpPr>
          <p:nvPr/>
        </p:nvSpPr>
        <p:spPr bwMode="auto">
          <a:xfrm>
            <a:off x="2274317" y="3043991"/>
            <a:ext cx="482600" cy="619125"/>
          </a:xfrm>
          <a:custGeom>
            <a:avLst/>
            <a:gdLst>
              <a:gd name="T0" fmla="*/ 2147483647 w 216"/>
              <a:gd name="T1" fmla="*/ 2147483647 h 296"/>
              <a:gd name="T2" fmla="*/ 2147483647 w 216"/>
              <a:gd name="T3" fmla="*/ 2147483647 h 296"/>
              <a:gd name="T4" fmla="*/ 2147483647 w 216"/>
              <a:gd name="T5" fmla="*/ 2147483647 h 296"/>
              <a:gd name="T6" fmla="*/ 2147483647 w 216"/>
              <a:gd name="T7" fmla="*/ 2147483647 h 296"/>
              <a:gd name="T8" fmla="*/ 2147483647 w 216"/>
              <a:gd name="T9" fmla="*/ 2147483647 h 296"/>
              <a:gd name="T10" fmla="*/ 2147483647 w 216"/>
              <a:gd name="T11" fmla="*/ 2147483647 h 296"/>
              <a:gd name="T12" fmla="*/ 2147483647 w 216"/>
              <a:gd name="T13" fmla="*/ 2147483647 h 296"/>
              <a:gd name="T14" fmla="*/ 2147483647 w 216"/>
              <a:gd name="T15" fmla="*/ 0 h 296"/>
              <a:gd name="T16" fmla="*/ 2147483647 w 216"/>
              <a:gd name="T17" fmla="*/ 2147483647 h 296"/>
              <a:gd name="T18" fmla="*/ 2147483647 w 216"/>
              <a:gd name="T19" fmla="*/ 2147483647 h 296"/>
              <a:gd name="T20" fmla="*/ 2147483647 w 216"/>
              <a:gd name="T21" fmla="*/ 2147483647 h 296"/>
              <a:gd name="T22" fmla="*/ 2147483647 w 216"/>
              <a:gd name="T23" fmla="*/ 2147483647 h 296"/>
              <a:gd name="T24" fmla="*/ 2147483647 w 216"/>
              <a:gd name="T25" fmla="*/ 2147483647 h 296"/>
              <a:gd name="T26" fmla="*/ 2147483647 w 216"/>
              <a:gd name="T27" fmla="*/ 2147483647 h 296"/>
              <a:gd name="T28" fmla="*/ 2147483647 w 216"/>
              <a:gd name="T29" fmla="*/ 2147483647 h 296"/>
              <a:gd name="T30" fmla="*/ 2147483647 w 216"/>
              <a:gd name="T31" fmla="*/ 2147483647 h 296"/>
              <a:gd name="T32" fmla="*/ 2147483647 w 216"/>
              <a:gd name="T33" fmla="*/ 2147483647 h 296"/>
              <a:gd name="T34" fmla="*/ 0 w 216"/>
              <a:gd name="T35" fmla="*/ 2147483647 h 296"/>
              <a:gd name="T36" fmla="*/ 2147483647 w 216"/>
              <a:gd name="T37" fmla="*/ 2147483647 h 296"/>
              <a:gd name="T38" fmla="*/ 2147483647 w 216"/>
              <a:gd name="T39" fmla="*/ 2147483647 h 296"/>
              <a:gd name="T40" fmla="*/ 2147483647 w 216"/>
              <a:gd name="T41" fmla="*/ 2147483647 h 296"/>
              <a:gd name="T42" fmla="*/ 2147483647 w 216"/>
              <a:gd name="T43" fmla="*/ 2147483647 h 296"/>
              <a:gd name="T44" fmla="*/ 2147483647 w 216"/>
              <a:gd name="T45" fmla="*/ 2147483647 h 296"/>
              <a:gd name="T46" fmla="*/ 2147483647 w 216"/>
              <a:gd name="T47" fmla="*/ 2147483647 h 296"/>
              <a:gd name="T48" fmla="*/ 2147483647 w 216"/>
              <a:gd name="T49" fmla="*/ 2147483647 h 296"/>
              <a:gd name="T50" fmla="*/ 2147483647 w 216"/>
              <a:gd name="T51" fmla="*/ 2147483647 h 296"/>
              <a:gd name="T52" fmla="*/ 2147483647 w 216"/>
              <a:gd name="T53" fmla="*/ 2147483647 h 296"/>
              <a:gd name="T54" fmla="*/ 2147483647 w 216"/>
              <a:gd name="T55" fmla="*/ 2147483647 h 296"/>
              <a:gd name="T56" fmla="*/ 2147483647 w 216"/>
              <a:gd name="T57" fmla="*/ 2147483647 h 296"/>
              <a:gd name="T58" fmla="*/ 2147483647 w 216"/>
              <a:gd name="T59" fmla="*/ 2147483647 h 296"/>
              <a:gd name="T60" fmla="*/ 2147483647 w 216"/>
              <a:gd name="T61" fmla="*/ 2147483647 h 296"/>
              <a:gd name="T62" fmla="*/ 2147483647 w 216"/>
              <a:gd name="T63" fmla="*/ 2147483647 h 296"/>
              <a:gd name="T64" fmla="*/ 2147483647 w 216"/>
              <a:gd name="T65" fmla="*/ 2147483647 h 296"/>
              <a:gd name="T66" fmla="*/ 2147483647 w 216"/>
              <a:gd name="T67" fmla="*/ 2147483647 h 296"/>
              <a:gd name="T68" fmla="*/ 2147483647 w 216"/>
              <a:gd name="T69" fmla="*/ 2147483647 h 296"/>
              <a:gd name="T70" fmla="*/ 2147483647 w 216"/>
              <a:gd name="T71" fmla="*/ 2147483647 h 296"/>
              <a:gd name="T72" fmla="*/ 2147483647 w 216"/>
              <a:gd name="T73" fmla="*/ 2147483647 h 296"/>
              <a:gd name="T74" fmla="*/ 2147483647 w 216"/>
              <a:gd name="T75" fmla="*/ 2147483647 h 296"/>
              <a:gd name="T76" fmla="*/ 2147483647 w 216"/>
              <a:gd name="T77" fmla="*/ 2147483647 h 296"/>
              <a:gd name="T78" fmla="*/ 2147483647 w 216"/>
              <a:gd name="T79" fmla="*/ 2147483647 h 29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16" h="296">
                <a:moveTo>
                  <a:pt x="192" y="136"/>
                </a:moveTo>
                <a:lnTo>
                  <a:pt x="200" y="96"/>
                </a:lnTo>
                <a:lnTo>
                  <a:pt x="216" y="88"/>
                </a:lnTo>
                <a:lnTo>
                  <a:pt x="216" y="80"/>
                </a:lnTo>
                <a:lnTo>
                  <a:pt x="208" y="72"/>
                </a:lnTo>
                <a:lnTo>
                  <a:pt x="192" y="16"/>
                </a:lnTo>
                <a:lnTo>
                  <a:pt x="176" y="8"/>
                </a:lnTo>
                <a:lnTo>
                  <a:pt x="176" y="0"/>
                </a:lnTo>
                <a:lnTo>
                  <a:pt x="160" y="16"/>
                </a:lnTo>
                <a:lnTo>
                  <a:pt x="144" y="16"/>
                </a:lnTo>
                <a:lnTo>
                  <a:pt x="40" y="16"/>
                </a:lnTo>
                <a:lnTo>
                  <a:pt x="40" y="48"/>
                </a:lnTo>
                <a:lnTo>
                  <a:pt x="24" y="48"/>
                </a:lnTo>
                <a:lnTo>
                  <a:pt x="24" y="56"/>
                </a:lnTo>
                <a:lnTo>
                  <a:pt x="24" y="104"/>
                </a:lnTo>
                <a:lnTo>
                  <a:pt x="24" y="112"/>
                </a:lnTo>
                <a:lnTo>
                  <a:pt x="16" y="112"/>
                </a:lnTo>
                <a:lnTo>
                  <a:pt x="0" y="152"/>
                </a:lnTo>
                <a:lnTo>
                  <a:pt x="16" y="176"/>
                </a:lnTo>
                <a:lnTo>
                  <a:pt x="8" y="184"/>
                </a:lnTo>
                <a:lnTo>
                  <a:pt x="24" y="200"/>
                </a:lnTo>
                <a:lnTo>
                  <a:pt x="24" y="216"/>
                </a:lnTo>
                <a:lnTo>
                  <a:pt x="40" y="224"/>
                </a:lnTo>
                <a:lnTo>
                  <a:pt x="80" y="272"/>
                </a:lnTo>
                <a:lnTo>
                  <a:pt x="88" y="280"/>
                </a:lnTo>
                <a:lnTo>
                  <a:pt x="104" y="280"/>
                </a:lnTo>
                <a:lnTo>
                  <a:pt x="120" y="296"/>
                </a:lnTo>
                <a:lnTo>
                  <a:pt x="136" y="296"/>
                </a:lnTo>
                <a:lnTo>
                  <a:pt x="160" y="288"/>
                </a:lnTo>
                <a:lnTo>
                  <a:pt x="168" y="280"/>
                </a:lnTo>
                <a:lnTo>
                  <a:pt x="184" y="280"/>
                </a:lnTo>
                <a:lnTo>
                  <a:pt x="184" y="272"/>
                </a:lnTo>
                <a:lnTo>
                  <a:pt x="176" y="264"/>
                </a:lnTo>
                <a:lnTo>
                  <a:pt x="160" y="240"/>
                </a:lnTo>
                <a:lnTo>
                  <a:pt x="152" y="232"/>
                </a:lnTo>
                <a:lnTo>
                  <a:pt x="152" y="224"/>
                </a:lnTo>
                <a:lnTo>
                  <a:pt x="160" y="224"/>
                </a:lnTo>
                <a:lnTo>
                  <a:pt x="168" y="192"/>
                </a:lnTo>
                <a:lnTo>
                  <a:pt x="192" y="152"/>
                </a:lnTo>
                <a:lnTo>
                  <a:pt x="192" y="13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7" name="Freeform 24"/>
          <p:cNvSpPr>
            <a:spLocks noChangeAspect="1"/>
          </p:cNvSpPr>
          <p:nvPr/>
        </p:nvSpPr>
        <p:spPr bwMode="auto">
          <a:xfrm>
            <a:off x="1475804" y="3294816"/>
            <a:ext cx="231775" cy="185738"/>
          </a:xfrm>
          <a:custGeom>
            <a:avLst/>
            <a:gdLst>
              <a:gd name="T0" fmla="*/ 2147483647 w 104"/>
              <a:gd name="T1" fmla="*/ 2147483647 h 88"/>
              <a:gd name="T2" fmla="*/ 2147483647 w 104"/>
              <a:gd name="T3" fmla="*/ 2147483647 h 88"/>
              <a:gd name="T4" fmla="*/ 2147483647 w 104"/>
              <a:gd name="T5" fmla="*/ 2147483647 h 88"/>
              <a:gd name="T6" fmla="*/ 2147483647 w 104"/>
              <a:gd name="T7" fmla="*/ 0 h 88"/>
              <a:gd name="T8" fmla="*/ 2147483647 w 104"/>
              <a:gd name="T9" fmla="*/ 2147483647 h 88"/>
              <a:gd name="T10" fmla="*/ 2147483647 w 104"/>
              <a:gd name="T11" fmla="*/ 2147483647 h 88"/>
              <a:gd name="T12" fmla="*/ 2147483647 w 104"/>
              <a:gd name="T13" fmla="*/ 2147483647 h 88"/>
              <a:gd name="T14" fmla="*/ 0 w 104"/>
              <a:gd name="T15" fmla="*/ 2147483647 h 88"/>
              <a:gd name="T16" fmla="*/ 0 w 104"/>
              <a:gd name="T17" fmla="*/ 2147483647 h 88"/>
              <a:gd name="T18" fmla="*/ 2147483647 w 104"/>
              <a:gd name="T19" fmla="*/ 2147483647 h 88"/>
              <a:gd name="T20" fmla="*/ 2147483647 w 104"/>
              <a:gd name="T21" fmla="*/ 2147483647 h 88"/>
              <a:gd name="T22" fmla="*/ 2147483647 w 104"/>
              <a:gd name="T23" fmla="*/ 2147483647 h 88"/>
              <a:gd name="T24" fmla="*/ 2147483647 w 104"/>
              <a:gd name="T25" fmla="*/ 2147483647 h 88"/>
              <a:gd name="T26" fmla="*/ 2147483647 w 104"/>
              <a:gd name="T27" fmla="*/ 2147483647 h 88"/>
              <a:gd name="T28" fmla="*/ 2147483647 w 104"/>
              <a:gd name="T29" fmla="*/ 2147483647 h 88"/>
              <a:gd name="T30" fmla="*/ 2147483647 w 104"/>
              <a:gd name="T31" fmla="*/ 2147483647 h 88"/>
              <a:gd name="T32" fmla="*/ 2147483647 w 104"/>
              <a:gd name="T33" fmla="*/ 2147483647 h 88"/>
              <a:gd name="T34" fmla="*/ 2147483647 w 104"/>
              <a:gd name="T35" fmla="*/ 2147483647 h 88"/>
              <a:gd name="T36" fmla="*/ 2147483647 w 104"/>
              <a:gd name="T37" fmla="*/ 2147483647 h 8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04" h="88">
                <a:moveTo>
                  <a:pt x="96" y="40"/>
                </a:moveTo>
                <a:lnTo>
                  <a:pt x="88" y="40"/>
                </a:lnTo>
                <a:lnTo>
                  <a:pt x="72" y="16"/>
                </a:lnTo>
                <a:lnTo>
                  <a:pt x="72" y="0"/>
                </a:lnTo>
                <a:lnTo>
                  <a:pt x="56" y="8"/>
                </a:lnTo>
                <a:lnTo>
                  <a:pt x="32" y="24"/>
                </a:lnTo>
                <a:lnTo>
                  <a:pt x="16" y="32"/>
                </a:lnTo>
                <a:lnTo>
                  <a:pt x="0" y="56"/>
                </a:lnTo>
                <a:lnTo>
                  <a:pt x="0" y="72"/>
                </a:lnTo>
                <a:lnTo>
                  <a:pt x="8" y="80"/>
                </a:lnTo>
                <a:lnTo>
                  <a:pt x="24" y="80"/>
                </a:lnTo>
                <a:lnTo>
                  <a:pt x="32" y="88"/>
                </a:lnTo>
                <a:lnTo>
                  <a:pt x="32" y="64"/>
                </a:lnTo>
                <a:lnTo>
                  <a:pt x="64" y="64"/>
                </a:lnTo>
                <a:lnTo>
                  <a:pt x="80" y="64"/>
                </a:lnTo>
                <a:lnTo>
                  <a:pt x="88" y="56"/>
                </a:lnTo>
                <a:lnTo>
                  <a:pt x="96" y="56"/>
                </a:lnTo>
                <a:lnTo>
                  <a:pt x="104" y="48"/>
                </a:lnTo>
                <a:lnTo>
                  <a:pt x="96" y="4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8" name="Freeform 25"/>
          <p:cNvSpPr>
            <a:spLocks noChangeAspect="1"/>
          </p:cNvSpPr>
          <p:nvPr/>
        </p:nvSpPr>
        <p:spPr bwMode="auto">
          <a:xfrm>
            <a:off x="1636142" y="3026529"/>
            <a:ext cx="461962" cy="387350"/>
          </a:xfrm>
          <a:custGeom>
            <a:avLst/>
            <a:gdLst>
              <a:gd name="T0" fmla="*/ 2147483647 w 208"/>
              <a:gd name="T1" fmla="*/ 2147483647 h 184"/>
              <a:gd name="T2" fmla="*/ 2147483647 w 208"/>
              <a:gd name="T3" fmla="*/ 2147483647 h 184"/>
              <a:gd name="T4" fmla="*/ 2147483647 w 208"/>
              <a:gd name="T5" fmla="*/ 2147483647 h 184"/>
              <a:gd name="T6" fmla="*/ 2147483647 w 208"/>
              <a:gd name="T7" fmla="*/ 2147483647 h 184"/>
              <a:gd name="T8" fmla="*/ 2147483647 w 208"/>
              <a:gd name="T9" fmla="*/ 2147483647 h 184"/>
              <a:gd name="T10" fmla="*/ 2147483647 w 208"/>
              <a:gd name="T11" fmla="*/ 2147483647 h 184"/>
              <a:gd name="T12" fmla="*/ 2147483647 w 208"/>
              <a:gd name="T13" fmla="*/ 2147483647 h 184"/>
              <a:gd name="T14" fmla="*/ 2147483647 w 208"/>
              <a:gd name="T15" fmla="*/ 0 h 184"/>
              <a:gd name="T16" fmla="*/ 2147483647 w 208"/>
              <a:gd name="T17" fmla="*/ 0 h 184"/>
              <a:gd name="T18" fmla="*/ 2147483647 w 208"/>
              <a:gd name="T19" fmla="*/ 2147483647 h 184"/>
              <a:gd name="T20" fmla="*/ 2147483647 w 208"/>
              <a:gd name="T21" fmla="*/ 2147483647 h 184"/>
              <a:gd name="T22" fmla="*/ 2147483647 w 208"/>
              <a:gd name="T23" fmla="*/ 2147483647 h 184"/>
              <a:gd name="T24" fmla="*/ 2147483647 w 208"/>
              <a:gd name="T25" fmla="*/ 2147483647 h 184"/>
              <a:gd name="T26" fmla="*/ 0 w 208"/>
              <a:gd name="T27" fmla="*/ 2147483647 h 184"/>
              <a:gd name="T28" fmla="*/ 0 w 208"/>
              <a:gd name="T29" fmla="*/ 2147483647 h 184"/>
              <a:gd name="T30" fmla="*/ 2147483647 w 208"/>
              <a:gd name="T31" fmla="*/ 2147483647 h 184"/>
              <a:gd name="T32" fmla="*/ 2147483647 w 208"/>
              <a:gd name="T33" fmla="*/ 2147483647 h 184"/>
              <a:gd name="T34" fmla="*/ 2147483647 w 208"/>
              <a:gd name="T35" fmla="*/ 2147483647 h 184"/>
              <a:gd name="T36" fmla="*/ 2147483647 w 208"/>
              <a:gd name="T37" fmla="*/ 2147483647 h 184"/>
              <a:gd name="T38" fmla="*/ 2147483647 w 208"/>
              <a:gd name="T39" fmla="*/ 2147483647 h 184"/>
              <a:gd name="T40" fmla="*/ 2147483647 w 208"/>
              <a:gd name="T41" fmla="*/ 2147483647 h 184"/>
              <a:gd name="T42" fmla="*/ 2147483647 w 208"/>
              <a:gd name="T43" fmla="*/ 2147483647 h 184"/>
              <a:gd name="T44" fmla="*/ 2147483647 w 208"/>
              <a:gd name="T45" fmla="*/ 2147483647 h 184"/>
              <a:gd name="T46" fmla="*/ 2147483647 w 208"/>
              <a:gd name="T47" fmla="*/ 2147483647 h 184"/>
              <a:gd name="T48" fmla="*/ 2147483647 w 208"/>
              <a:gd name="T49" fmla="*/ 2147483647 h 184"/>
              <a:gd name="T50" fmla="*/ 2147483647 w 208"/>
              <a:gd name="T51" fmla="*/ 2147483647 h 184"/>
              <a:gd name="T52" fmla="*/ 2147483647 w 208"/>
              <a:gd name="T53" fmla="*/ 2147483647 h 184"/>
              <a:gd name="T54" fmla="*/ 2147483647 w 208"/>
              <a:gd name="T55" fmla="*/ 2147483647 h 184"/>
              <a:gd name="T56" fmla="*/ 2147483647 w 208"/>
              <a:gd name="T57" fmla="*/ 2147483647 h 184"/>
              <a:gd name="T58" fmla="*/ 2147483647 w 208"/>
              <a:gd name="T59" fmla="*/ 2147483647 h 18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208" h="184">
                <a:moveTo>
                  <a:pt x="176" y="152"/>
                </a:moveTo>
                <a:lnTo>
                  <a:pt x="176" y="144"/>
                </a:lnTo>
                <a:lnTo>
                  <a:pt x="200" y="96"/>
                </a:lnTo>
                <a:lnTo>
                  <a:pt x="208" y="48"/>
                </a:lnTo>
                <a:lnTo>
                  <a:pt x="200" y="48"/>
                </a:lnTo>
                <a:lnTo>
                  <a:pt x="192" y="32"/>
                </a:lnTo>
                <a:lnTo>
                  <a:pt x="192" y="8"/>
                </a:lnTo>
                <a:lnTo>
                  <a:pt x="184" y="0"/>
                </a:lnTo>
                <a:lnTo>
                  <a:pt x="152" y="0"/>
                </a:lnTo>
                <a:lnTo>
                  <a:pt x="72" y="64"/>
                </a:lnTo>
                <a:lnTo>
                  <a:pt x="56" y="72"/>
                </a:lnTo>
                <a:lnTo>
                  <a:pt x="56" y="112"/>
                </a:lnTo>
                <a:lnTo>
                  <a:pt x="48" y="120"/>
                </a:lnTo>
                <a:lnTo>
                  <a:pt x="0" y="128"/>
                </a:lnTo>
                <a:lnTo>
                  <a:pt x="0" y="144"/>
                </a:lnTo>
                <a:lnTo>
                  <a:pt x="16" y="168"/>
                </a:lnTo>
                <a:lnTo>
                  <a:pt x="24" y="168"/>
                </a:lnTo>
                <a:lnTo>
                  <a:pt x="32" y="176"/>
                </a:lnTo>
                <a:lnTo>
                  <a:pt x="40" y="168"/>
                </a:lnTo>
                <a:lnTo>
                  <a:pt x="48" y="184"/>
                </a:lnTo>
                <a:lnTo>
                  <a:pt x="48" y="168"/>
                </a:lnTo>
                <a:lnTo>
                  <a:pt x="56" y="152"/>
                </a:lnTo>
                <a:lnTo>
                  <a:pt x="72" y="152"/>
                </a:lnTo>
                <a:lnTo>
                  <a:pt x="88" y="160"/>
                </a:lnTo>
                <a:lnTo>
                  <a:pt x="104" y="160"/>
                </a:lnTo>
                <a:lnTo>
                  <a:pt x="120" y="168"/>
                </a:lnTo>
                <a:lnTo>
                  <a:pt x="136" y="160"/>
                </a:lnTo>
                <a:lnTo>
                  <a:pt x="160" y="160"/>
                </a:lnTo>
                <a:lnTo>
                  <a:pt x="168" y="152"/>
                </a:lnTo>
                <a:lnTo>
                  <a:pt x="176" y="15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9" name="Freeform 26"/>
          <p:cNvSpPr>
            <a:spLocks noChangeAspect="1"/>
          </p:cNvSpPr>
          <p:nvPr/>
        </p:nvSpPr>
        <p:spPr bwMode="auto">
          <a:xfrm>
            <a:off x="1278954" y="2975729"/>
            <a:ext cx="479425" cy="471487"/>
          </a:xfrm>
          <a:custGeom>
            <a:avLst/>
            <a:gdLst>
              <a:gd name="T0" fmla="*/ 2147483647 w 216"/>
              <a:gd name="T1" fmla="*/ 2147483647 h 224"/>
              <a:gd name="T2" fmla="*/ 2147483647 w 216"/>
              <a:gd name="T3" fmla="*/ 2147483647 h 224"/>
              <a:gd name="T4" fmla="*/ 2147483647 w 216"/>
              <a:gd name="T5" fmla="*/ 2147483647 h 224"/>
              <a:gd name="T6" fmla="*/ 2147483647 w 216"/>
              <a:gd name="T7" fmla="*/ 2147483647 h 224"/>
              <a:gd name="T8" fmla="*/ 2147483647 w 216"/>
              <a:gd name="T9" fmla="*/ 2147483647 h 224"/>
              <a:gd name="T10" fmla="*/ 2147483647 w 216"/>
              <a:gd name="T11" fmla="*/ 2147483647 h 224"/>
              <a:gd name="T12" fmla="*/ 2147483647 w 216"/>
              <a:gd name="T13" fmla="*/ 2147483647 h 224"/>
              <a:gd name="T14" fmla="*/ 2147483647 w 216"/>
              <a:gd name="T15" fmla="*/ 2147483647 h 224"/>
              <a:gd name="T16" fmla="*/ 2147483647 w 216"/>
              <a:gd name="T17" fmla="*/ 0 h 224"/>
              <a:gd name="T18" fmla="*/ 2147483647 w 216"/>
              <a:gd name="T19" fmla="*/ 0 h 224"/>
              <a:gd name="T20" fmla="*/ 2147483647 w 216"/>
              <a:gd name="T21" fmla="*/ 2147483647 h 224"/>
              <a:gd name="T22" fmla="*/ 2147483647 w 216"/>
              <a:gd name="T23" fmla="*/ 2147483647 h 224"/>
              <a:gd name="T24" fmla="*/ 2147483647 w 216"/>
              <a:gd name="T25" fmla="*/ 2147483647 h 224"/>
              <a:gd name="T26" fmla="*/ 2147483647 w 216"/>
              <a:gd name="T27" fmla="*/ 2147483647 h 224"/>
              <a:gd name="T28" fmla="*/ 0 w 216"/>
              <a:gd name="T29" fmla="*/ 2147483647 h 224"/>
              <a:gd name="T30" fmla="*/ 2147483647 w 216"/>
              <a:gd name="T31" fmla="*/ 2147483647 h 224"/>
              <a:gd name="T32" fmla="*/ 2147483647 w 216"/>
              <a:gd name="T33" fmla="*/ 2147483647 h 224"/>
              <a:gd name="T34" fmla="*/ 2147483647 w 216"/>
              <a:gd name="T35" fmla="*/ 2147483647 h 224"/>
              <a:gd name="T36" fmla="*/ 2147483647 w 216"/>
              <a:gd name="T37" fmla="*/ 2147483647 h 224"/>
              <a:gd name="T38" fmla="*/ 2147483647 w 216"/>
              <a:gd name="T39" fmla="*/ 2147483647 h 224"/>
              <a:gd name="T40" fmla="*/ 2147483647 w 216"/>
              <a:gd name="T41" fmla="*/ 2147483647 h 224"/>
              <a:gd name="T42" fmla="*/ 2147483647 w 216"/>
              <a:gd name="T43" fmla="*/ 2147483647 h 224"/>
              <a:gd name="T44" fmla="*/ 2147483647 w 216"/>
              <a:gd name="T45" fmla="*/ 2147483647 h 224"/>
              <a:gd name="T46" fmla="*/ 2147483647 w 216"/>
              <a:gd name="T47" fmla="*/ 2147483647 h 224"/>
              <a:gd name="T48" fmla="*/ 2147483647 w 216"/>
              <a:gd name="T49" fmla="*/ 2147483647 h 224"/>
              <a:gd name="T50" fmla="*/ 2147483647 w 216"/>
              <a:gd name="T51" fmla="*/ 2147483647 h 224"/>
              <a:gd name="T52" fmla="*/ 2147483647 w 216"/>
              <a:gd name="T53" fmla="*/ 2147483647 h 224"/>
              <a:gd name="T54" fmla="*/ 2147483647 w 216"/>
              <a:gd name="T55" fmla="*/ 2147483647 h 224"/>
              <a:gd name="T56" fmla="*/ 2147483647 w 216"/>
              <a:gd name="T57" fmla="*/ 2147483647 h 22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16" h="224">
                <a:moveTo>
                  <a:pt x="160" y="152"/>
                </a:moveTo>
                <a:lnTo>
                  <a:pt x="208" y="144"/>
                </a:lnTo>
                <a:lnTo>
                  <a:pt x="216" y="136"/>
                </a:lnTo>
                <a:lnTo>
                  <a:pt x="216" y="96"/>
                </a:lnTo>
                <a:lnTo>
                  <a:pt x="200" y="96"/>
                </a:lnTo>
                <a:lnTo>
                  <a:pt x="200" y="80"/>
                </a:lnTo>
                <a:lnTo>
                  <a:pt x="184" y="72"/>
                </a:lnTo>
                <a:lnTo>
                  <a:pt x="168" y="64"/>
                </a:lnTo>
                <a:lnTo>
                  <a:pt x="96" y="0"/>
                </a:lnTo>
                <a:lnTo>
                  <a:pt x="72" y="0"/>
                </a:lnTo>
                <a:lnTo>
                  <a:pt x="88" y="144"/>
                </a:lnTo>
                <a:lnTo>
                  <a:pt x="24" y="144"/>
                </a:lnTo>
                <a:lnTo>
                  <a:pt x="16" y="152"/>
                </a:lnTo>
                <a:lnTo>
                  <a:pt x="8" y="144"/>
                </a:lnTo>
                <a:lnTo>
                  <a:pt x="0" y="160"/>
                </a:lnTo>
                <a:lnTo>
                  <a:pt x="8" y="192"/>
                </a:lnTo>
                <a:lnTo>
                  <a:pt x="16" y="200"/>
                </a:lnTo>
                <a:lnTo>
                  <a:pt x="32" y="192"/>
                </a:lnTo>
                <a:lnTo>
                  <a:pt x="48" y="224"/>
                </a:lnTo>
                <a:lnTo>
                  <a:pt x="56" y="224"/>
                </a:lnTo>
                <a:lnTo>
                  <a:pt x="64" y="224"/>
                </a:lnTo>
                <a:lnTo>
                  <a:pt x="72" y="224"/>
                </a:lnTo>
                <a:lnTo>
                  <a:pt x="80" y="224"/>
                </a:lnTo>
                <a:lnTo>
                  <a:pt x="88" y="224"/>
                </a:lnTo>
                <a:lnTo>
                  <a:pt x="88" y="208"/>
                </a:lnTo>
                <a:lnTo>
                  <a:pt x="104" y="184"/>
                </a:lnTo>
                <a:lnTo>
                  <a:pt x="120" y="176"/>
                </a:lnTo>
                <a:lnTo>
                  <a:pt x="144" y="160"/>
                </a:lnTo>
                <a:lnTo>
                  <a:pt x="160" y="15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0" name="Freeform 27"/>
          <p:cNvSpPr>
            <a:spLocks noChangeAspect="1"/>
          </p:cNvSpPr>
          <p:nvPr/>
        </p:nvSpPr>
        <p:spPr bwMode="auto">
          <a:xfrm>
            <a:off x="1901254" y="2724904"/>
            <a:ext cx="463550" cy="436562"/>
          </a:xfrm>
          <a:custGeom>
            <a:avLst/>
            <a:gdLst>
              <a:gd name="T0" fmla="*/ 2147483647 w 208"/>
              <a:gd name="T1" fmla="*/ 2147483647 h 208"/>
              <a:gd name="T2" fmla="*/ 2147483647 w 208"/>
              <a:gd name="T3" fmla="*/ 2147483647 h 208"/>
              <a:gd name="T4" fmla="*/ 2147483647 w 208"/>
              <a:gd name="T5" fmla="*/ 2147483647 h 208"/>
              <a:gd name="T6" fmla="*/ 2147483647 w 208"/>
              <a:gd name="T7" fmla="*/ 2147483647 h 208"/>
              <a:gd name="T8" fmla="*/ 2147483647 w 208"/>
              <a:gd name="T9" fmla="*/ 2147483647 h 208"/>
              <a:gd name="T10" fmla="*/ 2147483647 w 208"/>
              <a:gd name="T11" fmla="*/ 2147483647 h 208"/>
              <a:gd name="T12" fmla="*/ 2147483647 w 208"/>
              <a:gd name="T13" fmla="*/ 2147483647 h 208"/>
              <a:gd name="T14" fmla="*/ 2147483647 w 208"/>
              <a:gd name="T15" fmla="*/ 2147483647 h 208"/>
              <a:gd name="T16" fmla="*/ 2147483647 w 208"/>
              <a:gd name="T17" fmla="*/ 2147483647 h 208"/>
              <a:gd name="T18" fmla="*/ 2147483647 w 208"/>
              <a:gd name="T19" fmla="*/ 2147483647 h 208"/>
              <a:gd name="T20" fmla="*/ 2147483647 w 208"/>
              <a:gd name="T21" fmla="*/ 2147483647 h 208"/>
              <a:gd name="T22" fmla="*/ 2147483647 w 208"/>
              <a:gd name="T23" fmla="*/ 2147483647 h 208"/>
              <a:gd name="T24" fmla="*/ 2147483647 w 208"/>
              <a:gd name="T25" fmla="*/ 2147483647 h 208"/>
              <a:gd name="T26" fmla="*/ 2147483647 w 208"/>
              <a:gd name="T27" fmla="*/ 2147483647 h 208"/>
              <a:gd name="T28" fmla="*/ 2147483647 w 208"/>
              <a:gd name="T29" fmla="*/ 2147483647 h 208"/>
              <a:gd name="T30" fmla="*/ 2147483647 w 208"/>
              <a:gd name="T31" fmla="*/ 2147483647 h 208"/>
              <a:gd name="T32" fmla="*/ 2147483647 w 208"/>
              <a:gd name="T33" fmla="*/ 0 h 208"/>
              <a:gd name="T34" fmla="*/ 2147483647 w 208"/>
              <a:gd name="T35" fmla="*/ 2147483647 h 208"/>
              <a:gd name="T36" fmla="*/ 2147483647 w 208"/>
              <a:gd name="T37" fmla="*/ 2147483647 h 208"/>
              <a:gd name="T38" fmla="*/ 2147483647 w 208"/>
              <a:gd name="T39" fmla="*/ 2147483647 h 208"/>
              <a:gd name="T40" fmla="*/ 0 w 208"/>
              <a:gd name="T41" fmla="*/ 2147483647 h 208"/>
              <a:gd name="T42" fmla="*/ 0 w 208"/>
              <a:gd name="T43" fmla="*/ 2147483647 h 208"/>
              <a:gd name="T44" fmla="*/ 2147483647 w 208"/>
              <a:gd name="T45" fmla="*/ 2147483647 h 208"/>
              <a:gd name="T46" fmla="*/ 2147483647 w 208"/>
              <a:gd name="T47" fmla="*/ 2147483647 h 208"/>
              <a:gd name="T48" fmla="*/ 2147483647 w 208"/>
              <a:gd name="T49" fmla="*/ 2147483647 h 208"/>
              <a:gd name="T50" fmla="*/ 0 w 208"/>
              <a:gd name="T51" fmla="*/ 2147483647 h 208"/>
              <a:gd name="T52" fmla="*/ 2147483647 w 208"/>
              <a:gd name="T53" fmla="*/ 2147483647 h 208"/>
              <a:gd name="T54" fmla="*/ 2147483647 w 208"/>
              <a:gd name="T55" fmla="*/ 2147483647 h 208"/>
              <a:gd name="T56" fmla="*/ 2147483647 w 208"/>
              <a:gd name="T57" fmla="*/ 2147483647 h 208"/>
              <a:gd name="T58" fmla="*/ 2147483647 w 208"/>
              <a:gd name="T59" fmla="*/ 2147483647 h 208"/>
              <a:gd name="T60" fmla="*/ 2147483647 w 208"/>
              <a:gd name="T61" fmla="*/ 2147483647 h 208"/>
              <a:gd name="T62" fmla="*/ 2147483647 w 208"/>
              <a:gd name="T63" fmla="*/ 2147483647 h 208"/>
              <a:gd name="T64" fmla="*/ 2147483647 w 208"/>
              <a:gd name="T65" fmla="*/ 2147483647 h 208"/>
              <a:gd name="T66" fmla="*/ 2147483647 w 208"/>
              <a:gd name="T67" fmla="*/ 2147483647 h 208"/>
              <a:gd name="T68" fmla="*/ 2147483647 w 208"/>
              <a:gd name="T69" fmla="*/ 2147483647 h 208"/>
              <a:gd name="T70" fmla="*/ 2147483647 w 208"/>
              <a:gd name="T71" fmla="*/ 2147483647 h 2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08" h="208">
                <a:moveTo>
                  <a:pt x="208" y="168"/>
                </a:moveTo>
                <a:lnTo>
                  <a:pt x="200" y="72"/>
                </a:lnTo>
                <a:lnTo>
                  <a:pt x="200" y="48"/>
                </a:lnTo>
                <a:lnTo>
                  <a:pt x="200" y="24"/>
                </a:lnTo>
                <a:lnTo>
                  <a:pt x="176" y="16"/>
                </a:lnTo>
                <a:lnTo>
                  <a:pt x="176" y="8"/>
                </a:lnTo>
                <a:lnTo>
                  <a:pt x="160" y="8"/>
                </a:lnTo>
                <a:lnTo>
                  <a:pt x="136" y="16"/>
                </a:lnTo>
                <a:lnTo>
                  <a:pt x="136" y="40"/>
                </a:lnTo>
                <a:lnTo>
                  <a:pt x="128" y="48"/>
                </a:lnTo>
                <a:lnTo>
                  <a:pt x="120" y="40"/>
                </a:lnTo>
                <a:lnTo>
                  <a:pt x="104" y="32"/>
                </a:lnTo>
                <a:lnTo>
                  <a:pt x="80" y="24"/>
                </a:lnTo>
                <a:lnTo>
                  <a:pt x="80" y="16"/>
                </a:lnTo>
                <a:lnTo>
                  <a:pt x="64" y="8"/>
                </a:lnTo>
                <a:lnTo>
                  <a:pt x="40" y="8"/>
                </a:lnTo>
                <a:lnTo>
                  <a:pt x="24" y="0"/>
                </a:lnTo>
                <a:lnTo>
                  <a:pt x="24" y="16"/>
                </a:lnTo>
                <a:lnTo>
                  <a:pt x="8" y="24"/>
                </a:lnTo>
                <a:lnTo>
                  <a:pt x="8" y="40"/>
                </a:lnTo>
                <a:lnTo>
                  <a:pt x="0" y="40"/>
                </a:lnTo>
                <a:lnTo>
                  <a:pt x="0" y="48"/>
                </a:lnTo>
                <a:lnTo>
                  <a:pt x="8" y="56"/>
                </a:lnTo>
                <a:lnTo>
                  <a:pt x="8" y="80"/>
                </a:lnTo>
                <a:lnTo>
                  <a:pt x="8" y="96"/>
                </a:lnTo>
                <a:lnTo>
                  <a:pt x="0" y="104"/>
                </a:lnTo>
                <a:lnTo>
                  <a:pt x="16" y="128"/>
                </a:lnTo>
                <a:lnTo>
                  <a:pt x="24" y="128"/>
                </a:lnTo>
                <a:lnTo>
                  <a:pt x="32" y="144"/>
                </a:lnTo>
                <a:lnTo>
                  <a:pt x="64" y="144"/>
                </a:lnTo>
                <a:lnTo>
                  <a:pt x="72" y="152"/>
                </a:lnTo>
                <a:lnTo>
                  <a:pt x="96" y="152"/>
                </a:lnTo>
                <a:lnTo>
                  <a:pt x="192" y="208"/>
                </a:lnTo>
                <a:lnTo>
                  <a:pt x="192" y="200"/>
                </a:lnTo>
                <a:lnTo>
                  <a:pt x="208" y="200"/>
                </a:lnTo>
                <a:lnTo>
                  <a:pt x="208" y="16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1" name="Freeform 28"/>
          <p:cNvSpPr>
            <a:spLocks noChangeAspect="1"/>
          </p:cNvSpPr>
          <p:nvPr/>
        </p:nvSpPr>
        <p:spPr bwMode="auto">
          <a:xfrm>
            <a:off x="1386904" y="2609016"/>
            <a:ext cx="585788" cy="569913"/>
          </a:xfrm>
          <a:custGeom>
            <a:avLst/>
            <a:gdLst>
              <a:gd name="T0" fmla="*/ 2147483647 w 264"/>
              <a:gd name="T1" fmla="*/ 0 h 272"/>
              <a:gd name="T2" fmla="*/ 2147483647 w 264"/>
              <a:gd name="T3" fmla="*/ 0 h 272"/>
              <a:gd name="T4" fmla="*/ 2147483647 w 264"/>
              <a:gd name="T5" fmla="*/ 0 h 272"/>
              <a:gd name="T6" fmla="*/ 2147483647 w 264"/>
              <a:gd name="T7" fmla="*/ 0 h 272"/>
              <a:gd name="T8" fmla="*/ 2147483647 w 264"/>
              <a:gd name="T9" fmla="*/ 2147483647 h 272"/>
              <a:gd name="T10" fmla="*/ 2147483647 w 264"/>
              <a:gd name="T11" fmla="*/ 2147483647 h 272"/>
              <a:gd name="T12" fmla="*/ 2147483647 w 264"/>
              <a:gd name="T13" fmla="*/ 2147483647 h 272"/>
              <a:gd name="T14" fmla="*/ 2147483647 w 264"/>
              <a:gd name="T15" fmla="*/ 2147483647 h 272"/>
              <a:gd name="T16" fmla="*/ 2147483647 w 264"/>
              <a:gd name="T17" fmla="*/ 2147483647 h 272"/>
              <a:gd name="T18" fmla="*/ 2147483647 w 264"/>
              <a:gd name="T19" fmla="*/ 2147483647 h 272"/>
              <a:gd name="T20" fmla="*/ 2147483647 w 264"/>
              <a:gd name="T21" fmla="*/ 2147483647 h 272"/>
              <a:gd name="T22" fmla="*/ 2147483647 w 264"/>
              <a:gd name="T23" fmla="*/ 2147483647 h 272"/>
              <a:gd name="T24" fmla="*/ 0 w 264"/>
              <a:gd name="T25" fmla="*/ 2147483647 h 272"/>
              <a:gd name="T26" fmla="*/ 0 w 264"/>
              <a:gd name="T27" fmla="*/ 2147483647 h 272"/>
              <a:gd name="T28" fmla="*/ 0 w 264"/>
              <a:gd name="T29" fmla="*/ 2147483647 h 272"/>
              <a:gd name="T30" fmla="*/ 2147483647 w 264"/>
              <a:gd name="T31" fmla="*/ 2147483647 h 272"/>
              <a:gd name="T32" fmla="*/ 2147483647 w 264"/>
              <a:gd name="T33" fmla="*/ 2147483647 h 272"/>
              <a:gd name="T34" fmla="*/ 2147483647 w 264"/>
              <a:gd name="T35" fmla="*/ 2147483647 h 272"/>
              <a:gd name="T36" fmla="*/ 2147483647 w 264"/>
              <a:gd name="T37" fmla="*/ 2147483647 h 272"/>
              <a:gd name="T38" fmla="*/ 2147483647 w 264"/>
              <a:gd name="T39" fmla="*/ 2147483647 h 272"/>
              <a:gd name="T40" fmla="*/ 2147483647 w 264"/>
              <a:gd name="T41" fmla="*/ 2147483647 h 272"/>
              <a:gd name="T42" fmla="*/ 2147483647 w 264"/>
              <a:gd name="T43" fmla="*/ 2147483647 h 272"/>
              <a:gd name="T44" fmla="*/ 2147483647 w 264"/>
              <a:gd name="T45" fmla="*/ 2147483647 h 272"/>
              <a:gd name="T46" fmla="*/ 2147483647 w 264"/>
              <a:gd name="T47" fmla="*/ 2147483647 h 272"/>
              <a:gd name="T48" fmla="*/ 2147483647 w 264"/>
              <a:gd name="T49" fmla="*/ 2147483647 h 272"/>
              <a:gd name="T50" fmla="*/ 2147483647 w 264"/>
              <a:gd name="T51" fmla="*/ 2147483647 h 272"/>
              <a:gd name="T52" fmla="*/ 2147483647 w 264"/>
              <a:gd name="T53" fmla="*/ 2147483647 h 272"/>
              <a:gd name="T54" fmla="*/ 2147483647 w 264"/>
              <a:gd name="T55" fmla="*/ 2147483647 h 272"/>
              <a:gd name="T56" fmla="*/ 2147483647 w 264"/>
              <a:gd name="T57" fmla="*/ 2147483647 h 272"/>
              <a:gd name="T58" fmla="*/ 2147483647 w 264"/>
              <a:gd name="T59" fmla="*/ 2147483647 h 272"/>
              <a:gd name="T60" fmla="*/ 2147483647 w 264"/>
              <a:gd name="T61" fmla="*/ 2147483647 h 272"/>
              <a:gd name="T62" fmla="*/ 2147483647 w 264"/>
              <a:gd name="T63" fmla="*/ 2147483647 h 272"/>
              <a:gd name="T64" fmla="*/ 2147483647 w 264"/>
              <a:gd name="T65" fmla="*/ 2147483647 h 272"/>
              <a:gd name="T66" fmla="*/ 2147483647 w 264"/>
              <a:gd name="T67" fmla="*/ 2147483647 h 272"/>
              <a:gd name="T68" fmla="*/ 2147483647 w 264"/>
              <a:gd name="T69" fmla="*/ 2147483647 h 272"/>
              <a:gd name="T70" fmla="*/ 2147483647 w 264"/>
              <a:gd name="T71" fmla="*/ 2147483647 h 272"/>
              <a:gd name="T72" fmla="*/ 2147483647 w 264"/>
              <a:gd name="T73" fmla="*/ 0 h 272"/>
              <a:gd name="T74" fmla="*/ 2147483647 w 264"/>
              <a:gd name="T75" fmla="*/ 0 h 27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64" h="272">
                <a:moveTo>
                  <a:pt x="216" y="0"/>
                </a:moveTo>
                <a:lnTo>
                  <a:pt x="192" y="0"/>
                </a:lnTo>
                <a:lnTo>
                  <a:pt x="184" y="0"/>
                </a:lnTo>
                <a:lnTo>
                  <a:pt x="168" y="0"/>
                </a:lnTo>
                <a:lnTo>
                  <a:pt x="128" y="8"/>
                </a:lnTo>
                <a:lnTo>
                  <a:pt x="88" y="24"/>
                </a:lnTo>
                <a:lnTo>
                  <a:pt x="96" y="32"/>
                </a:lnTo>
                <a:lnTo>
                  <a:pt x="96" y="72"/>
                </a:lnTo>
                <a:lnTo>
                  <a:pt x="64" y="80"/>
                </a:lnTo>
                <a:lnTo>
                  <a:pt x="64" y="88"/>
                </a:lnTo>
                <a:lnTo>
                  <a:pt x="48" y="104"/>
                </a:lnTo>
                <a:lnTo>
                  <a:pt x="8" y="112"/>
                </a:lnTo>
                <a:lnTo>
                  <a:pt x="0" y="120"/>
                </a:lnTo>
                <a:lnTo>
                  <a:pt x="0" y="136"/>
                </a:lnTo>
                <a:lnTo>
                  <a:pt x="0" y="144"/>
                </a:lnTo>
                <a:lnTo>
                  <a:pt x="48" y="176"/>
                </a:lnTo>
                <a:lnTo>
                  <a:pt x="120" y="240"/>
                </a:lnTo>
                <a:lnTo>
                  <a:pt x="136" y="248"/>
                </a:lnTo>
                <a:lnTo>
                  <a:pt x="152" y="256"/>
                </a:lnTo>
                <a:lnTo>
                  <a:pt x="152" y="272"/>
                </a:lnTo>
                <a:lnTo>
                  <a:pt x="168" y="272"/>
                </a:lnTo>
                <a:lnTo>
                  <a:pt x="184" y="264"/>
                </a:lnTo>
                <a:lnTo>
                  <a:pt x="264" y="200"/>
                </a:lnTo>
                <a:lnTo>
                  <a:pt x="256" y="184"/>
                </a:lnTo>
                <a:lnTo>
                  <a:pt x="248" y="184"/>
                </a:lnTo>
                <a:lnTo>
                  <a:pt x="232" y="160"/>
                </a:lnTo>
                <a:lnTo>
                  <a:pt x="240" y="152"/>
                </a:lnTo>
                <a:lnTo>
                  <a:pt x="240" y="136"/>
                </a:lnTo>
                <a:lnTo>
                  <a:pt x="240" y="112"/>
                </a:lnTo>
                <a:lnTo>
                  <a:pt x="232" y="104"/>
                </a:lnTo>
                <a:lnTo>
                  <a:pt x="232" y="96"/>
                </a:lnTo>
                <a:lnTo>
                  <a:pt x="232" y="72"/>
                </a:lnTo>
                <a:lnTo>
                  <a:pt x="216" y="64"/>
                </a:lnTo>
                <a:lnTo>
                  <a:pt x="208" y="48"/>
                </a:lnTo>
                <a:lnTo>
                  <a:pt x="224" y="32"/>
                </a:lnTo>
                <a:lnTo>
                  <a:pt x="224" y="8"/>
                </a:lnTo>
                <a:lnTo>
                  <a:pt x="224" y="0"/>
                </a:lnTo>
                <a:lnTo>
                  <a:pt x="216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2" name="Freeform 29"/>
          <p:cNvSpPr>
            <a:spLocks noChangeAspect="1"/>
          </p:cNvSpPr>
          <p:nvPr/>
        </p:nvSpPr>
        <p:spPr bwMode="auto">
          <a:xfrm>
            <a:off x="2026667" y="3043991"/>
            <a:ext cx="301625" cy="503238"/>
          </a:xfrm>
          <a:custGeom>
            <a:avLst/>
            <a:gdLst>
              <a:gd name="T0" fmla="*/ 2147483647 w 136"/>
              <a:gd name="T1" fmla="*/ 2147483647 h 240"/>
              <a:gd name="T2" fmla="*/ 2147483647 w 136"/>
              <a:gd name="T3" fmla="*/ 2147483647 h 240"/>
              <a:gd name="T4" fmla="*/ 2147483647 w 136"/>
              <a:gd name="T5" fmla="*/ 2147483647 h 240"/>
              <a:gd name="T6" fmla="*/ 2147483647 w 136"/>
              <a:gd name="T7" fmla="*/ 2147483647 h 240"/>
              <a:gd name="T8" fmla="*/ 0 w 136"/>
              <a:gd name="T9" fmla="*/ 2147483647 h 240"/>
              <a:gd name="T10" fmla="*/ 0 w 136"/>
              <a:gd name="T11" fmla="*/ 2147483647 h 240"/>
              <a:gd name="T12" fmla="*/ 2147483647 w 136"/>
              <a:gd name="T13" fmla="*/ 2147483647 h 240"/>
              <a:gd name="T14" fmla="*/ 2147483647 w 136"/>
              <a:gd name="T15" fmla="*/ 2147483647 h 240"/>
              <a:gd name="T16" fmla="*/ 2147483647 w 136"/>
              <a:gd name="T17" fmla="*/ 2147483647 h 240"/>
              <a:gd name="T18" fmla="*/ 2147483647 w 136"/>
              <a:gd name="T19" fmla="*/ 2147483647 h 240"/>
              <a:gd name="T20" fmla="*/ 2147483647 w 136"/>
              <a:gd name="T21" fmla="*/ 2147483647 h 240"/>
              <a:gd name="T22" fmla="*/ 2147483647 w 136"/>
              <a:gd name="T23" fmla="*/ 2147483647 h 240"/>
              <a:gd name="T24" fmla="*/ 2147483647 w 136"/>
              <a:gd name="T25" fmla="*/ 2147483647 h 240"/>
              <a:gd name="T26" fmla="*/ 2147483647 w 136"/>
              <a:gd name="T27" fmla="*/ 2147483647 h 240"/>
              <a:gd name="T28" fmla="*/ 2147483647 w 136"/>
              <a:gd name="T29" fmla="*/ 2147483647 h 240"/>
              <a:gd name="T30" fmla="*/ 2147483647 w 136"/>
              <a:gd name="T31" fmla="*/ 2147483647 h 240"/>
              <a:gd name="T32" fmla="*/ 2147483647 w 136"/>
              <a:gd name="T33" fmla="*/ 2147483647 h 240"/>
              <a:gd name="T34" fmla="*/ 2147483647 w 136"/>
              <a:gd name="T35" fmla="*/ 2147483647 h 240"/>
              <a:gd name="T36" fmla="*/ 2147483647 w 136"/>
              <a:gd name="T37" fmla="*/ 2147483647 h 240"/>
              <a:gd name="T38" fmla="*/ 2147483647 w 136"/>
              <a:gd name="T39" fmla="*/ 2147483647 h 240"/>
              <a:gd name="T40" fmla="*/ 2147483647 w 136"/>
              <a:gd name="T41" fmla="*/ 2147483647 h 240"/>
              <a:gd name="T42" fmla="*/ 2147483647 w 136"/>
              <a:gd name="T43" fmla="*/ 2147483647 h 240"/>
              <a:gd name="T44" fmla="*/ 2147483647 w 136"/>
              <a:gd name="T45" fmla="*/ 2147483647 h 240"/>
              <a:gd name="T46" fmla="*/ 2147483647 w 136"/>
              <a:gd name="T47" fmla="*/ 2147483647 h 240"/>
              <a:gd name="T48" fmla="*/ 2147483647 w 136"/>
              <a:gd name="T49" fmla="*/ 2147483647 h 240"/>
              <a:gd name="T50" fmla="*/ 2147483647 w 136"/>
              <a:gd name="T51" fmla="*/ 2147483647 h 240"/>
              <a:gd name="T52" fmla="*/ 2147483647 w 136"/>
              <a:gd name="T53" fmla="*/ 0 h 240"/>
              <a:gd name="T54" fmla="*/ 2147483647 w 136"/>
              <a:gd name="T55" fmla="*/ 0 h 240"/>
              <a:gd name="T56" fmla="*/ 2147483647 w 136"/>
              <a:gd name="T57" fmla="*/ 2147483647 h 240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136" h="240">
                <a:moveTo>
                  <a:pt x="16" y="24"/>
                </a:moveTo>
                <a:lnTo>
                  <a:pt x="24" y="40"/>
                </a:lnTo>
                <a:lnTo>
                  <a:pt x="32" y="40"/>
                </a:lnTo>
                <a:lnTo>
                  <a:pt x="24" y="88"/>
                </a:lnTo>
                <a:lnTo>
                  <a:pt x="0" y="136"/>
                </a:lnTo>
                <a:lnTo>
                  <a:pt x="0" y="144"/>
                </a:lnTo>
                <a:lnTo>
                  <a:pt x="8" y="152"/>
                </a:lnTo>
                <a:lnTo>
                  <a:pt x="16" y="160"/>
                </a:lnTo>
                <a:lnTo>
                  <a:pt x="16" y="184"/>
                </a:lnTo>
                <a:lnTo>
                  <a:pt x="24" y="200"/>
                </a:lnTo>
                <a:lnTo>
                  <a:pt x="8" y="200"/>
                </a:lnTo>
                <a:lnTo>
                  <a:pt x="8" y="208"/>
                </a:lnTo>
                <a:lnTo>
                  <a:pt x="16" y="216"/>
                </a:lnTo>
                <a:lnTo>
                  <a:pt x="24" y="240"/>
                </a:lnTo>
                <a:lnTo>
                  <a:pt x="64" y="232"/>
                </a:lnTo>
                <a:lnTo>
                  <a:pt x="72" y="224"/>
                </a:lnTo>
                <a:lnTo>
                  <a:pt x="72" y="216"/>
                </a:lnTo>
                <a:lnTo>
                  <a:pt x="96" y="208"/>
                </a:lnTo>
                <a:lnTo>
                  <a:pt x="112" y="192"/>
                </a:lnTo>
                <a:lnTo>
                  <a:pt x="120" y="184"/>
                </a:lnTo>
                <a:lnTo>
                  <a:pt x="128" y="176"/>
                </a:lnTo>
                <a:lnTo>
                  <a:pt x="112" y="152"/>
                </a:lnTo>
                <a:lnTo>
                  <a:pt x="128" y="112"/>
                </a:lnTo>
                <a:lnTo>
                  <a:pt x="136" y="112"/>
                </a:lnTo>
                <a:lnTo>
                  <a:pt x="136" y="104"/>
                </a:lnTo>
                <a:lnTo>
                  <a:pt x="136" y="56"/>
                </a:lnTo>
                <a:lnTo>
                  <a:pt x="40" y="0"/>
                </a:lnTo>
                <a:lnTo>
                  <a:pt x="16" y="0"/>
                </a:lnTo>
                <a:lnTo>
                  <a:pt x="16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3" name="Freeform 30"/>
          <p:cNvSpPr>
            <a:spLocks noChangeAspect="1"/>
          </p:cNvSpPr>
          <p:nvPr/>
        </p:nvSpPr>
        <p:spPr bwMode="auto">
          <a:xfrm>
            <a:off x="2880742" y="3212266"/>
            <a:ext cx="303212" cy="168275"/>
          </a:xfrm>
          <a:custGeom>
            <a:avLst/>
            <a:gdLst>
              <a:gd name="T0" fmla="*/ 0 w 136"/>
              <a:gd name="T1" fmla="*/ 2147483647 h 80"/>
              <a:gd name="T2" fmla="*/ 2147483647 w 136"/>
              <a:gd name="T3" fmla="*/ 2147483647 h 80"/>
              <a:gd name="T4" fmla="*/ 2147483647 w 136"/>
              <a:gd name="T5" fmla="*/ 2147483647 h 80"/>
              <a:gd name="T6" fmla="*/ 2147483647 w 136"/>
              <a:gd name="T7" fmla="*/ 2147483647 h 80"/>
              <a:gd name="T8" fmla="*/ 2147483647 w 136"/>
              <a:gd name="T9" fmla="*/ 0 h 80"/>
              <a:gd name="T10" fmla="*/ 2147483647 w 136"/>
              <a:gd name="T11" fmla="*/ 2147483647 h 80"/>
              <a:gd name="T12" fmla="*/ 2147483647 w 136"/>
              <a:gd name="T13" fmla="*/ 2147483647 h 80"/>
              <a:gd name="T14" fmla="*/ 2147483647 w 136"/>
              <a:gd name="T15" fmla="*/ 2147483647 h 80"/>
              <a:gd name="T16" fmla="*/ 2147483647 w 136"/>
              <a:gd name="T17" fmla="*/ 2147483647 h 80"/>
              <a:gd name="T18" fmla="*/ 2147483647 w 136"/>
              <a:gd name="T19" fmla="*/ 2147483647 h 80"/>
              <a:gd name="T20" fmla="*/ 2147483647 w 136"/>
              <a:gd name="T21" fmla="*/ 2147483647 h 80"/>
              <a:gd name="T22" fmla="*/ 2147483647 w 136"/>
              <a:gd name="T23" fmla="*/ 2147483647 h 80"/>
              <a:gd name="T24" fmla="*/ 2147483647 w 136"/>
              <a:gd name="T25" fmla="*/ 2147483647 h 80"/>
              <a:gd name="T26" fmla="*/ 2147483647 w 136"/>
              <a:gd name="T27" fmla="*/ 2147483647 h 80"/>
              <a:gd name="T28" fmla="*/ 0 w 136"/>
              <a:gd name="T29" fmla="*/ 2147483647 h 8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36" h="80">
                <a:moveTo>
                  <a:pt x="0" y="24"/>
                </a:moveTo>
                <a:lnTo>
                  <a:pt x="16" y="16"/>
                </a:lnTo>
                <a:lnTo>
                  <a:pt x="40" y="48"/>
                </a:lnTo>
                <a:lnTo>
                  <a:pt x="88" y="8"/>
                </a:lnTo>
                <a:lnTo>
                  <a:pt x="128" y="0"/>
                </a:lnTo>
                <a:lnTo>
                  <a:pt x="136" y="16"/>
                </a:lnTo>
                <a:lnTo>
                  <a:pt x="136" y="24"/>
                </a:lnTo>
                <a:lnTo>
                  <a:pt x="128" y="24"/>
                </a:lnTo>
                <a:lnTo>
                  <a:pt x="128" y="32"/>
                </a:lnTo>
                <a:lnTo>
                  <a:pt x="96" y="48"/>
                </a:lnTo>
                <a:lnTo>
                  <a:pt x="64" y="72"/>
                </a:lnTo>
                <a:lnTo>
                  <a:pt x="40" y="72"/>
                </a:lnTo>
                <a:lnTo>
                  <a:pt x="32" y="80"/>
                </a:lnTo>
                <a:lnTo>
                  <a:pt x="16" y="80"/>
                </a:lnTo>
                <a:lnTo>
                  <a:pt x="0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4" name="Freeform 31"/>
          <p:cNvSpPr>
            <a:spLocks noChangeAspect="1"/>
          </p:cNvSpPr>
          <p:nvPr/>
        </p:nvSpPr>
        <p:spPr bwMode="auto">
          <a:xfrm>
            <a:off x="3166492" y="2993191"/>
            <a:ext cx="214312" cy="254000"/>
          </a:xfrm>
          <a:custGeom>
            <a:avLst/>
            <a:gdLst>
              <a:gd name="T0" fmla="*/ 2147483647 w 96"/>
              <a:gd name="T1" fmla="*/ 2147483647 h 120"/>
              <a:gd name="T2" fmla="*/ 2147483647 w 96"/>
              <a:gd name="T3" fmla="*/ 2147483647 h 120"/>
              <a:gd name="T4" fmla="*/ 2147483647 w 96"/>
              <a:gd name="T5" fmla="*/ 2147483647 h 120"/>
              <a:gd name="T6" fmla="*/ 2147483647 w 96"/>
              <a:gd name="T7" fmla="*/ 2147483647 h 120"/>
              <a:gd name="T8" fmla="*/ 2147483647 w 96"/>
              <a:gd name="T9" fmla="*/ 2147483647 h 120"/>
              <a:gd name="T10" fmla="*/ 2147483647 w 96"/>
              <a:gd name="T11" fmla="*/ 2147483647 h 120"/>
              <a:gd name="T12" fmla="*/ 2147483647 w 96"/>
              <a:gd name="T13" fmla="*/ 2147483647 h 120"/>
              <a:gd name="T14" fmla="*/ 2147483647 w 96"/>
              <a:gd name="T15" fmla="*/ 2147483647 h 120"/>
              <a:gd name="T16" fmla="*/ 2147483647 w 96"/>
              <a:gd name="T17" fmla="*/ 2147483647 h 120"/>
              <a:gd name="T18" fmla="*/ 2147483647 w 96"/>
              <a:gd name="T19" fmla="*/ 2147483647 h 120"/>
              <a:gd name="T20" fmla="*/ 2147483647 w 96"/>
              <a:gd name="T21" fmla="*/ 2147483647 h 120"/>
              <a:gd name="T22" fmla="*/ 2147483647 w 96"/>
              <a:gd name="T23" fmla="*/ 0 h 120"/>
              <a:gd name="T24" fmla="*/ 2147483647 w 96"/>
              <a:gd name="T25" fmla="*/ 2147483647 h 120"/>
              <a:gd name="T26" fmla="*/ 2147483647 w 96"/>
              <a:gd name="T27" fmla="*/ 2147483647 h 120"/>
              <a:gd name="T28" fmla="*/ 2147483647 w 96"/>
              <a:gd name="T29" fmla="*/ 2147483647 h 120"/>
              <a:gd name="T30" fmla="*/ 2147483647 w 96"/>
              <a:gd name="T31" fmla="*/ 2147483647 h 120"/>
              <a:gd name="T32" fmla="*/ 2147483647 w 96"/>
              <a:gd name="T33" fmla="*/ 2147483647 h 120"/>
              <a:gd name="T34" fmla="*/ 2147483647 w 96"/>
              <a:gd name="T35" fmla="*/ 2147483647 h 120"/>
              <a:gd name="T36" fmla="*/ 2147483647 w 96"/>
              <a:gd name="T37" fmla="*/ 2147483647 h 120"/>
              <a:gd name="T38" fmla="*/ 0 w 96"/>
              <a:gd name="T39" fmla="*/ 2147483647 h 120"/>
              <a:gd name="T40" fmla="*/ 2147483647 w 96"/>
              <a:gd name="T41" fmla="*/ 2147483647 h 120"/>
              <a:gd name="T42" fmla="*/ 2147483647 w 96"/>
              <a:gd name="T43" fmla="*/ 2147483647 h 12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6" h="120">
                <a:moveTo>
                  <a:pt x="24" y="120"/>
                </a:moveTo>
                <a:lnTo>
                  <a:pt x="32" y="120"/>
                </a:lnTo>
                <a:lnTo>
                  <a:pt x="40" y="104"/>
                </a:lnTo>
                <a:lnTo>
                  <a:pt x="56" y="104"/>
                </a:lnTo>
                <a:lnTo>
                  <a:pt x="64" y="88"/>
                </a:lnTo>
                <a:lnTo>
                  <a:pt x="72" y="88"/>
                </a:lnTo>
                <a:lnTo>
                  <a:pt x="72" y="72"/>
                </a:lnTo>
                <a:lnTo>
                  <a:pt x="88" y="48"/>
                </a:lnTo>
                <a:lnTo>
                  <a:pt x="96" y="32"/>
                </a:lnTo>
                <a:lnTo>
                  <a:pt x="80" y="16"/>
                </a:lnTo>
                <a:lnTo>
                  <a:pt x="56" y="8"/>
                </a:lnTo>
                <a:lnTo>
                  <a:pt x="48" y="0"/>
                </a:lnTo>
                <a:lnTo>
                  <a:pt x="40" y="8"/>
                </a:lnTo>
                <a:lnTo>
                  <a:pt x="40" y="16"/>
                </a:lnTo>
                <a:lnTo>
                  <a:pt x="32" y="16"/>
                </a:lnTo>
                <a:lnTo>
                  <a:pt x="40" y="24"/>
                </a:lnTo>
                <a:lnTo>
                  <a:pt x="48" y="32"/>
                </a:lnTo>
                <a:lnTo>
                  <a:pt x="48" y="48"/>
                </a:lnTo>
                <a:lnTo>
                  <a:pt x="32" y="80"/>
                </a:lnTo>
                <a:lnTo>
                  <a:pt x="0" y="104"/>
                </a:lnTo>
                <a:lnTo>
                  <a:pt x="8" y="120"/>
                </a:lnTo>
                <a:lnTo>
                  <a:pt x="24" y="12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5" name="Freeform 32"/>
          <p:cNvSpPr>
            <a:spLocks noChangeAspect="1"/>
          </p:cNvSpPr>
          <p:nvPr/>
        </p:nvSpPr>
        <p:spPr bwMode="auto">
          <a:xfrm>
            <a:off x="2631504" y="2759829"/>
            <a:ext cx="639763" cy="552450"/>
          </a:xfrm>
          <a:custGeom>
            <a:avLst/>
            <a:gdLst>
              <a:gd name="T0" fmla="*/ 2147483647 w 288"/>
              <a:gd name="T1" fmla="*/ 2147483647 h 264"/>
              <a:gd name="T2" fmla="*/ 2147483647 w 288"/>
              <a:gd name="T3" fmla="*/ 2147483647 h 264"/>
              <a:gd name="T4" fmla="*/ 2147483647 w 288"/>
              <a:gd name="T5" fmla="*/ 2147483647 h 264"/>
              <a:gd name="T6" fmla="*/ 2147483647 w 288"/>
              <a:gd name="T7" fmla="*/ 2147483647 h 264"/>
              <a:gd name="T8" fmla="*/ 2147483647 w 288"/>
              <a:gd name="T9" fmla="*/ 2147483647 h 264"/>
              <a:gd name="T10" fmla="*/ 2147483647 w 288"/>
              <a:gd name="T11" fmla="*/ 2147483647 h 264"/>
              <a:gd name="T12" fmla="*/ 2147483647 w 288"/>
              <a:gd name="T13" fmla="*/ 2147483647 h 264"/>
              <a:gd name="T14" fmla="*/ 2147483647 w 288"/>
              <a:gd name="T15" fmla="*/ 2147483647 h 264"/>
              <a:gd name="T16" fmla="*/ 2147483647 w 288"/>
              <a:gd name="T17" fmla="*/ 2147483647 h 264"/>
              <a:gd name="T18" fmla="*/ 2147483647 w 288"/>
              <a:gd name="T19" fmla="*/ 2147483647 h 264"/>
              <a:gd name="T20" fmla="*/ 2147483647 w 288"/>
              <a:gd name="T21" fmla="*/ 2147483647 h 264"/>
              <a:gd name="T22" fmla="*/ 2147483647 w 288"/>
              <a:gd name="T23" fmla="*/ 2147483647 h 264"/>
              <a:gd name="T24" fmla="*/ 2147483647 w 288"/>
              <a:gd name="T25" fmla="*/ 2147483647 h 264"/>
              <a:gd name="T26" fmla="*/ 2147483647 w 288"/>
              <a:gd name="T27" fmla="*/ 2147483647 h 264"/>
              <a:gd name="T28" fmla="*/ 2147483647 w 288"/>
              <a:gd name="T29" fmla="*/ 2147483647 h 264"/>
              <a:gd name="T30" fmla="*/ 2147483647 w 288"/>
              <a:gd name="T31" fmla="*/ 2147483647 h 264"/>
              <a:gd name="T32" fmla="*/ 2147483647 w 288"/>
              <a:gd name="T33" fmla="*/ 2147483647 h 264"/>
              <a:gd name="T34" fmla="*/ 2147483647 w 288"/>
              <a:gd name="T35" fmla="*/ 2147483647 h 264"/>
              <a:gd name="T36" fmla="*/ 2147483647 w 288"/>
              <a:gd name="T37" fmla="*/ 2147483647 h 264"/>
              <a:gd name="T38" fmla="*/ 2147483647 w 288"/>
              <a:gd name="T39" fmla="*/ 2147483647 h 264"/>
              <a:gd name="T40" fmla="*/ 2147483647 w 288"/>
              <a:gd name="T41" fmla="*/ 2147483647 h 264"/>
              <a:gd name="T42" fmla="*/ 2147483647 w 288"/>
              <a:gd name="T43" fmla="*/ 2147483647 h 264"/>
              <a:gd name="T44" fmla="*/ 2147483647 w 288"/>
              <a:gd name="T45" fmla="*/ 2147483647 h 264"/>
              <a:gd name="T46" fmla="*/ 2147483647 w 288"/>
              <a:gd name="T47" fmla="*/ 2147483647 h 264"/>
              <a:gd name="T48" fmla="*/ 2147483647 w 288"/>
              <a:gd name="T49" fmla="*/ 2147483647 h 264"/>
              <a:gd name="T50" fmla="*/ 2147483647 w 288"/>
              <a:gd name="T51" fmla="*/ 2147483647 h 264"/>
              <a:gd name="T52" fmla="*/ 2147483647 w 288"/>
              <a:gd name="T53" fmla="*/ 2147483647 h 264"/>
              <a:gd name="T54" fmla="*/ 2147483647 w 288"/>
              <a:gd name="T55" fmla="*/ 2147483647 h 264"/>
              <a:gd name="T56" fmla="*/ 2147483647 w 288"/>
              <a:gd name="T57" fmla="*/ 2147483647 h 264"/>
              <a:gd name="T58" fmla="*/ 2147483647 w 288"/>
              <a:gd name="T59" fmla="*/ 2147483647 h 264"/>
              <a:gd name="T60" fmla="*/ 2147483647 w 288"/>
              <a:gd name="T61" fmla="*/ 2147483647 h 264"/>
              <a:gd name="T62" fmla="*/ 2147483647 w 288"/>
              <a:gd name="T63" fmla="*/ 2147483647 h 264"/>
              <a:gd name="T64" fmla="*/ 2147483647 w 288"/>
              <a:gd name="T65" fmla="*/ 2147483647 h 264"/>
              <a:gd name="T66" fmla="*/ 2147483647 w 288"/>
              <a:gd name="T67" fmla="*/ 2147483647 h 264"/>
              <a:gd name="T68" fmla="*/ 0 w 288"/>
              <a:gd name="T69" fmla="*/ 2147483647 h 264"/>
              <a:gd name="T70" fmla="*/ 0 w 288"/>
              <a:gd name="T71" fmla="*/ 2147483647 h 264"/>
              <a:gd name="T72" fmla="*/ 2147483647 w 288"/>
              <a:gd name="T73" fmla="*/ 2147483647 h 264"/>
              <a:gd name="T74" fmla="*/ 2147483647 w 288"/>
              <a:gd name="T75" fmla="*/ 2147483647 h 264"/>
              <a:gd name="T76" fmla="*/ 2147483647 w 288"/>
              <a:gd name="T77" fmla="*/ 2147483647 h 264"/>
              <a:gd name="T78" fmla="*/ 2147483647 w 288"/>
              <a:gd name="T79" fmla="*/ 2147483647 h 264"/>
              <a:gd name="T80" fmla="*/ 2147483647 w 288"/>
              <a:gd name="T81" fmla="*/ 2147483647 h 264"/>
              <a:gd name="T82" fmla="*/ 2147483647 w 288"/>
              <a:gd name="T83" fmla="*/ 0 h 264"/>
              <a:gd name="T84" fmla="*/ 2147483647 w 288"/>
              <a:gd name="T85" fmla="*/ 2147483647 h 264"/>
              <a:gd name="T86" fmla="*/ 2147483647 w 288"/>
              <a:gd name="T87" fmla="*/ 2147483647 h 264"/>
              <a:gd name="T88" fmla="*/ 2147483647 w 288"/>
              <a:gd name="T89" fmla="*/ 2147483647 h 264"/>
              <a:gd name="T90" fmla="*/ 2147483647 w 288"/>
              <a:gd name="T91" fmla="*/ 2147483647 h 264"/>
              <a:gd name="T92" fmla="*/ 2147483647 w 288"/>
              <a:gd name="T93" fmla="*/ 2147483647 h 26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88" h="264">
                <a:moveTo>
                  <a:pt x="128" y="48"/>
                </a:moveTo>
                <a:lnTo>
                  <a:pt x="136" y="48"/>
                </a:lnTo>
                <a:lnTo>
                  <a:pt x="152" y="48"/>
                </a:lnTo>
                <a:lnTo>
                  <a:pt x="176" y="56"/>
                </a:lnTo>
                <a:lnTo>
                  <a:pt x="200" y="80"/>
                </a:lnTo>
                <a:lnTo>
                  <a:pt x="208" y="104"/>
                </a:lnTo>
                <a:lnTo>
                  <a:pt x="216" y="120"/>
                </a:lnTo>
                <a:lnTo>
                  <a:pt x="216" y="128"/>
                </a:lnTo>
                <a:lnTo>
                  <a:pt x="216" y="136"/>
                </a:lnTo>
                <a:lnTo>
                  <a:pt x="224" y="136"/>
                </a:lnTo>
                <a:lnTo>
                  <a:pt x="232" y="136"/>
                </a:lnTo>
                <a:lnTo>
                  <a:pt x="240" y="136"/>
                </a:lnTo>
                <a:lnTo>
                  <a:pt x="248" y="136"/>
                </a:lnTo>
                <a:lnTo>
                  <a:pt x="256" y="136"/>
                </a:lnTo>
                <a:lnTo>
                  <a:pt x="264" y="136"/>
                </a:lnTo>
                <a:lnTo>
                  <a:pt x="264" y="128"/>
                </a:lnTo>
                <a:lnTo>
                  <a:pt x="272" y="128"/>
                </a:lnTo>
                <a:lnTo>
                  <a:pt x="280" y="136"/>
                </a:lnTo>
                <a:lnTo>
                  <a:pt x="288" y="144"/>
                </a:lnTo>
                <a:lnTo>
                  <a:pt x="288" y="160"/>
                </a:lnTo>
                <a:lnTo>
                  <a:pt x="272" y="192"/>
                </a:lnTo>
                <a:lnTo>
                  <a:pt x="240" y="216"/>
                </a:lnTo>
                <a:lnTo>
                  <a:pt x="200" y="224"/>
                </a:lnTo>
                <a:lnTo>
                  <a:pt x="152" y="264"/>
                </a:lnTo>
                <a:lnTo>
                  <a:pt x="128" y="232"/>
                </a:lnTo>
                <a:lnTo>
                  <a:pt x="112" y="240"/>
                </a:lnTo>
                <a:lnTo>
                  <a:pt x="112" y="232"/>
                </a:lnTo>
                <a:lnTo>
                  <a:pt x="88" y="192"/>
                </a:lnTo>
                <a:lnTo>
                  <a:pt x="72" y="184"/>
                </a:lnTo>
                <a:lnTo>
                  <a:pt x="64" y="168"/>
                </a:lnTo>
                <a:lnTo>
                  <a:pt x="64" y="144"/>
                </a:lnTo>
                <a:lnTo>
                  <a:pt x="56" y="128"/>
                </a:lnTo>
                <a:lnTo>
                  <a:pt x="40" y="120"/>
                </a:lnTo>
                <a:lnTo>
                  <a:pt x="8" y="64"/>
                </a:lnTo>
                <a:lnTo>
                  <a:pt x="0" y="64"/>
                </a:lnTo>
                <a:lnTo>
                  <a:pt x="0" y="40"/>
                </a:lnTo>
                <a:lnTo>
                  <a:pt x="16" y="40"/>
                </a:lnTo>
                <a:lnTo>
                  <a:pt x="24" y="32"/>
                </a:lnTo>
                <a:lnTo>
                  <a:pt x="32" y="32"/>
                </a:lnTo>
                <a:lnTo>
                  <a:pt x="40" y="24"/>
                </a:lnTo>
                <a:lnTo>
                  <a:pt x="24" y="8"/>
                </a:lnTo>
                <a:lnTo>
                  <a:pt x="56" y="0"/>
                </a:lnTo>
                <a:lnTo>
                  <a:pt x="72" y="8"/>
                </a:lnTo>
                <a:lnTo>
                  <a:pt x="104" y="24"/>
                </a:lnTo>
                <a:lnTo>
                  <a:pt x="112" y="24"/>
                </a:lnTo>
                <a:lnTo>
                  <a:pt x="112" y="40"/>
                </a:lnTo>
                <a:lnTo>
                  <a:pt x="128" y="4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6" name="Freeform 33"/>
          <p:cNvSpPr>
            <a:spLocks noChangeAspect="1"/>
          </p:cNvSpPr>
          <p:nvPr/>
        </p:nvSpPr>
        <p:spPr bwMode="auto">
          <a:xfrm>
            <a:off x="3095054" y="2959854"/>
            <a:ext cx="33338" cy="50800"/>
          </a:xfrm>
          <a:custGeom>
            <a:avLst/>
            <a:gdLst>
              <a:gd name="T0" fmla="*/ 0 w 16"/>
              <a:gd name="T1" fmla="*/ 2147483647 h 24"/>
              <a:gd name="T2" fmla="*/ 2147483647 w 16"/>
              <a:gd name="T3" fmla="*/ 0 h 24"/>
              <a:gd name="T4" fmla="*/ 2147483647 w 16"/>
              <a:gd name="T5" fmla="*/ 0 h 24"/>
              <a:gd name="T6" fmla="*/ 2147483647 w 16"/>
              <a:gd name="T7" fmla="*/ 2147483647 h 24"/>
              <a:gd name="T8" fmla="*/ 2147483647 w 16"/>
              <a:gd name="T9" fmla="*/ 2147483647 h 24"/>
              <a:gd name="T10" fmla="*/ 0 w 16"/>
              <a:gd name="T11" fmla="*/ 2147483647 h 2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6" h="24">
                <a:moveTo>
                  <a:pt x="0" y="8"/>
                </a:moveTo>
                <a:lnTo>
                  <a:pt x="8" y="0"/>
                </a:lnTo>
                <a:lnTo>
                  <a:pt x="16" y="0"/>
                </a:lnTo>
                <a:lnTo>
                  <a:pt x="16" y="16"/>
                </a:lnTo>
                <a:lnTo>
                  <a:pt x="8" y="24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7" name="Freeform 34"/>
          <p:cNvSpPr>
            <a:spLocks noChangeAspect="1"/>
          </p:cNvSpPr>
          <p:nvPr/>
        </p:nvSpPr>
        <p:spPr bwMode="auto">
          <a:xfrm>
            <a:off x="3112517" y="2959854"/>
            <a:ext cx="158750" cy="84137"/>
          </a:xfrm>
          <a:custGeom>
            <a:avLst/>
            <a:gdLst>
              <a:gd name="T0" fmla="*/ 2147483647 w 72"/>
              <a:gd name="T1" fmla="*/ 2147483647 h 40"/>
              <a:gd name="T2" fmla="*/ 2147483647 w 72"/>
              <a:gd name="T3" fmla="*/ 2147483647 h 40"/>
              <a:gd name="T4" fmla="*/ 2147483647 w 72"/>
              <a:gd name="T5" fmla="*/ 2147483647 h 40"/>
              <a:gd name="T6" fmla="*/ 2147483647 w 72"/>
              <a:gd name="T7" fmla="*/ 2147483647 h 40"/>
              <a:gd name="T8" fmla="*/ 2147483647 w 72"/>
              <a:gd name="T9" fmla="*/ 2147483647 h 40"/>
              <a:gd name="T10" fmla="*/ 2147483647 w 72"/>
              <a:gd name="T11" fmla="*/ 2147483647 h 40"/>
              <a:gd name="T12" fmla="*/ 2147483647 w 72"/>
              <a:gd name="T13" fmla="*/ 2147483647 h 40"/>
              <a:gd name="T14" fmla="*/ 2147483647 w 72"/>
              <a:gd name="T15" fmla="*/ 2147483647 h 40"/>
              <a:gd name="T16" fmla="*/ 2147483647 w 72"/>
              <a:gd name="T17" fmla="*/ 2147483647 h 40"/>
              <a:gd name="T18" fmla="*/ 2147483647 w 72"/>
              <a:gd name="T19" fmla="*/ 2147483647 h 40"/>
              <a:gd name="T20" fmla="*/ 2147483647 w 72"/>
              <a:gd name="T21" fmla="*/ 2147483647 h 40"/>
              <a:gd name="T22" fmla="*/ 2147483647 w 72"/>
              <a:gd name="T23" fmla="*/ 2147483647 h 40"/>
              <a:gd name="T24" fmla="*/ 0 w 72"/>
              <a:gd name="T25" fmla="*/ 2147483647 h 40"/>
              <a:gd name="T26" fmla="*/ 0 w 72"/>
              <a:gd name="T27" fmla="*/ 2147483647 h 40"/>
              <a:gd name="T28" fmla="*/ 0 w 72"/>
              <a:gd name="T29" fmla="*/ 2147483647 h 40"/>
              <a:gd name="T30" fmla="*/ 2147483647 w 72"/>
              <a:gd name="T31" fmla="*/ 2147483647 h 40"/>
              <a:gd name="T32" fmla="*/ 2147483647 w 72"/>
              <a:gd name="T33" fmla="*/ 2147483647 h 40"/>
              <a:gd name="T34" fmla="*/ 2147483647 w 72"/>
              <a:gd name="T35" fmla="*/ 2147483647 h 40"/>
              <a:gd name="T36" fmla="*/ 2147483647 w 72"/>
              <a:gd name="T37" fmla="*/ 0 h 40"/>
              <a:gd name="T38" fmla="*/ 2147483647 w 72"/>
              <a:gd name="T39" fmla="*/ 2147483647 h 4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72" h="40">
                <a:moveTo>
                  <a:pt x="72" y="8"/>
                </a:moveTo>
                <a:lnTo>
                  <a:pt x="72" y="16"/>
                </a:lnTo>
                <a:lnTo>
                  <a:pt x="64" y="24"/>
                </a:lnTo>
                <a:lnTo>
                  <a:pt x="64" y="32"/>
                </a:lnTo>
                <a:lnTo>
                  <a:pt x="56" y="32"/>
                </a:lnTo>
                <a:lnTo>
                  <a:pt x="48" y="32"/>
                </a:lnTo>
                <a:lnTo>
                  <a:pt x="48" y="40"/>
                </a:lnTo>
                <a:lnTo>
                  <a:pt x="40" y="40"/>
                </a:lnTo>
                <a:lnTo>
                  <a:pt x="32" y="40"/>
                </a:lnTo>
                <a:lnTo>
                  <a:pt x="24" y="40"/>
                </a:lnTo>
                <a:lnTo>
                  <a:pt x="16" y="40"/>
                </a:lnTo>
                <a:lnTo>
                  <a:pt x="8" y="40"/>
                </a:lnTo>
                <a:lnTo>
                  <a:pt x="0" y="40"/>
                </a:lnTo>
                <a:lnTo>
                  <a:pt x="0" y="32"/>
                </a:lnTo>
                <a:lnTo>
                  <a:pt x="0" y="24"/>
                </a:lnTo>
                <a:lnTo>
                  <a:pt x="16" y="32"/>
                </a:lnTo>
                <a:lnTo>
                  <a:pt x="24" y="24"/>
                </a:lnTo>
                <a:lnTo>
                  <a:pt x="40" y="24"/>
                </a:lnTo>
                <a:lnTo>
                  <a:pt x="64" y="0"/>
                </a:lnTo>
                <a:lnTo>
                  <a:pt x="72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8" name="Freeform 35"/>
          <p:cNvSpPr>
            <a:spLocks noChangeAspect="1"/>
          </p:cNvSpPr>
          <p:nvPr/>
        </p:nvSpPr>
        <p:spPr bwMode="auto">
          <a:xfrm>
            <a:off x="3255392" y="2942391"/>
            <a:ext cx="15875" cy="33338"/>
          </a:xfrm>
          <a:custGeom>
            <a:avLst/>
            <a:gdLst>
              <a:gd name="T0" fmla="*/ 2147483647 w 8"/>
              <a:gd name="T1" fmla="*/ 2147483647 h 16"/>
              <a:gd name="T2" fmla="*/ 2147483647 w 8"/>
              <a:gd name="T3" fmla="*/ 0 h 16"/>
              <a:gd name="T4" fmla="*/ 0 w 8"/>
              <a:gd name="T5" fmla="*/ 0 h 16"/>
              <a:gd name="T6" fmla="*/ 0 w 8"/>
              <a:gd name="T7" fmla="*/ 2147483647 h 16"/>
              <a:gd name="T8" fmla="*/ 2147483647 w 8"/>
              <a:gd name="T9" fmla="*/ 2147483647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8" h="16">
                <a:moveTo>
                  <a:pt x="8" y="16"/>
                </a:moveTo>
                <a:lnTo>
                  <a:pt x="8" y="0"/>
                </a:lnTo>
                <a:lnTo>
                  <a:pt x="0" y="0"/>
                </a:lnTo>
                <a:lnTo>
                  <a:pt x="0" y="8"/>
                </a:lnTo>
                <a:lnTo>
                  <a:pt x="8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9" name="Freeform 36"/>
          <p:cNvSpPr>
            <a:spLocks noChangeAspect="1"/>
          </p:cNvSpPr>
          <p:nvPr/>
        </p:nvSpPr>
        <p:spPr bwMode="auto">
          <a:xfrm>
            <a:off x="5511229" y="3782179"/>
            <a:ext cx="303213" cy="284162"/>
          </a:xfrm>
          <a:custGeom>
            <a:avLst/>
            <a:gdLst>
              <a:gd name="T0" fmla="*/ 2147483647 w 136"/>
              <a:gd name="T1" fmla="*/ 2147483647 h 136"/>
              <a:gd name="T2" fmla="*/ 2147483647 w 136"/>
              <a:gd name="T3" fmla="*/ 2147483647 h 136"/>
              <a:gd name="T4" fmla="*/ 2147483647 w 136"/>
              <a:gd name="T5" fmla="*/ 2147483647 h 136"/>
              <a:gd name="T6" fmla="*/ 2147483647 w 136"/>
              <a:gd name="T7" fmla="*/ 2147483647 h 136"/>
              <a:gd name="T8" fmla="*/ 2147483647 w 136"/>
              <a:gd name="T9" fmla="*/ 2147483647 h 136"/>
              <a:gd name="T10" fmla="*/ 2147483647 w 136"/>
              <a:gd name="T11" fmla="*/ 2147483647 h 136"/>
              <a:gd name="T12" fmla="*/ 2147483647 w 136"/>
              <a:gd name="T13" fmla="*/ 2147483647 h 136"/>
              <a:gd name="T14" fmla="*/ 2147483647 w 136"/>
              <a:gd name="T15" fmla="*/ 2147483647 h 136"/>
              <a:gd name="T16" fmla="*/ 2147483647 w 136"/>
              <a:gd name="T17" fmla="*/ 2147483647 h 136"/>
              <a:gd name="T18" fmla="*/ 2147483647 w 136"/>
              <a:gd name="T19" fmla="*/ 2147483647 h 136"/>
              <a:gd name="T20" fmla="*/ 2147483647 w 136"/>
              <a:gd name="T21" fmla="*/ 2147483647 h 136"/>
              <a:gd name="T22" fmla="*/ 2147483647 w 136"/>
              <a:gd name="T23" fmla="*/ 2147483647 h 136"/>
              <a:gd name="T24" fmla="*/ 2147483647 w 136"/>
              <a:gd name="T25" fmla="*/ 2147483647 h 136"/>
              <a:gd name="T26" fmla="*/ 2147483647 w 136"/>
              <a:gd name="T27" fmla="*/ 2147483647 h 136"/>
              <a:gd name="T28" fmla="*/ 2147483647 w 136"/>
              <a:gd name="T29" fmla="*/ 2147483647 h 136"/>
              <a:gd name="T30" fmla="*/ 2147483647 w 136"/>
              <a:gd name="T31" fmla="*/ 2147483647 h 136"/>
              <a:gd name="T32" fmla="*/ 2147483647 w 136"/>
              <a:gd name="T33" fmla="*/ 2147483647 h 136"/>
              <a:gd name="T34" fmla="*/ 0 w 136"/>
              <a:gd name="T35" fmla="*/ 2147483647 h 136"/>
              <a:gd name="T36" fmla="*/ 2147483647 w 136"/>
              <a:gd name="T37" fmla="*/ 0 h 136"/>
              <a:gd name="T38" fmla="*/ 2147483647 w 136"/>
              <a:gd name="T39" fmla="*/ 0 h 136"/>
              <a:gd name="T40" fmla="*/ 2147483647 w 136"/>
              <a:gd name="T41" fmla="*/ 2147483647 h 136"/>
              <a:gd name="T42" fmla="*/ 2147483647 w 136"/>
              <a:gd name="T43" fmla="*/ 2147483647 h 136"/>
              <a:gd name="T44" fmla="*/ 2147483647 w 136"/>
              <a:gd name="T45" fmla="*/ 2147483647 h 136"/>
              <a:gd name="T46" fmla="*/ 2147483647 w 136"/>
              <a:gd name="T47" fmla="*/ 2147483647 h 136"/>
              <a:gd name="T48" fmla="*/ 2147483647 w 136"/>
              <a:gd name="T49" fmla="*/ 2147483647 h 136"/>
              <a:gd name="T50" fmla="*/ 2147483647 w 136"/>
              <a:gd name="T51" fmla="*/ 2147483647 h 136"/>
              <a:gd name="T52" fmla="*/ 2147483647 w 136"/>
              <a:gd name="T53" fmla="*/ 2147483647 h 136"/>
              <a:gd name="T54" fmla="*/ 2147483647 w 136"/>
              <a:gd name="T55" fmla="*/ 2147483647 h 136"/>
              <a:gd name="T56" fmla="*/ 2147483647 w 136"/>
              <a:gd name="T57" fmla="*/ 2147483647 h 1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136" h="136">
                <a:moveTo>
                  <a:pt x="136" y="136"/>
                </a:moveTo>
                <a:lnTo>
                  <a:pt x="120" y="120"/>
                </a:lnTo>
                <a:lnTo>
                  <a:pt x="88" y="128"/>
                </a:lnTo>
                <a:lnTo>
                  <a:pt x="96" y="112"/>
                </a:lnTo>
                <a:lnTo>
                  <a:pt x="104" y="112"/>
                </a:lnTo>
                <a:lnTo>
                  <a:pt x="96" y="80"/>
                </a:lnTo>
                <a:lnTo>
                  <a:pt x="88" y="72"/>
                </a:lnTo>
                <a:lnTo>
                  <a:pt x="56" y="64"/>
                </a:lnTo>
                <a:lnTo>
                  <a:pt x="40" y="48"/>
                </a:lnTo>
                <a:lnTo>
                  <a:pt x="32" y="56"/>
                </a:lnTo>
                <a:lnTo>
                  <a:pt x="24" y="56"/>
                </a:lnTo>
                <a:lnTo>
                  <a:pt x="24" y="48"/>
                </a:lnTo>
                <a:lnTo>
                  <a:pt x="16" y="40"/>
                </a:lnTo>
                <a:lnTo>
                  <a:pt x="40" y="40"/>
                </a:lnTo>
                <a:lnTo>
                  <a:pt x="40" y="32"/>
                </a:lnTo>
                <a:lnTo>
                  <a:pt x="16" y="32"/>
                </a:lnTo>
                <a:lnTo>
                  <a:pt x="16" y="24"/>
                </a:lnTo>
                <a:lnTo>
                  <a:pt x="0" y="16"/>
                </a:lnTo>
                <a:lnTo>
                  <a:pt x="16" y="0"/>
                </a:lnTo>
                <a:lnTo>
                  <a:pt x="32" y="0"/>
                </a:lnTo>
                <a:lnTo>
                  <a:pt x="32" y="8"/>
                </a:lnTo>
                <a:lnTo>
                  <a:pt x="40" y="8"/>
                </a:lnTo>
                <a:lnTo>
                  <a:pt x="48" y="32"/>
                </a:lnTo>
                <a:lnTo>
                  <a:pt x="56" y="48"/>
                </a:lnTo>
                <a:lnTo>
                  <a:pt x="64" y="48"/>
                </a:lnTo>
                <a:lnTo>
                  <a:pt x="80" y="32"/>
                </a:lnTo>
                <a:lnTo>
                  <a:pt x="96" y="24"/>
                </a:lnTo>
                <a:lnTo>
                  <a:pt x="136" y="40"/>
                </a:lnTo>
                <a:lnTo>
                  <a:pt x="136" y="13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0" name="Freeform 37"/>
          <p:cNvSpPr>
            <a:spLocks noChangeAspect="1"/>
          </p:cNvSpPr>
          <p:nvPr/>
        </p:nvSpPr>
        <p:spPr bwMode="auto">
          <a:xfrm>
            <a:off x="5814442" y="3864729"/>
            <a:ext cx="268287" cy="250825"/>
          </a:xfrm>
          <a:custGeom>
            <a:avLst/>
            <a:gdLst>
              <a:gd name="T0" fmla="*/ 0 w 120"/>
              <a:gd name="T1" fmla="*/ 0 h 120"/>
              <a:gd name="T2" fmla="*/ 2147483647 w 120"/>
              <a:gd name="T3" fmla="*/ 2147483647 h 120"/>
              <a:gd name="T4" fmla="*/ 2147483647 w 120"/>
              <a:gd name="T5" fmla="*/ 2147483647 h 120"/>
              <a:gd name="T6" fmla="*/ 2147483647 w 120"/>
              <a:gd name="T7" fmla="*/ 2147483647 h 120"/>
              <a:gd name="T8" fmla="*/ 2147483647 w 120"/>
              <a:gd name="T9" fmla="*/ 2147483647 h 120"/>
              <a:gd name="T10" fmla="*/ 2147483647 w 120"/>
              <a:gd name="T11" fmla="*/ 2147483647 h 120"/>
              <a:gd name="T12" fmla="*/ 2147483647 w 120"/>
              <a:gd name="T13" fmla="*/ 2147483647 h 120"/>
              <a:gd name="T14" fmla="*/ 2147483647 w 120"/>
              <a:gd name="T15" fmla="*/ 2147483647 h 120"/>
              <a:gd name="T16" fmla="*/ 2147483647 w 120"/>
              <a:gd name="T17" fmla="*/ 2147483647 h 120"/>
              <a:gd name="T18" fmla="*/ 2147483647 w 120"/>
              <a:gd name="T19" fmla="*/ 2147483647 h 120"/>
              <a:gd name="T20" fmla="*/ 2147483647 w 120"/>
              <a:gd name="T21" fmla="*/ 2147483647 h 120"/>
              <a:gd name="T22" fmla="*/ 2147483647 w 120"/>
              <a:gd name="T23" fmla="*/ 2147483647 h 120"/>
              <a:gd name="T24" fmla="*/ 2147483647 w 120"/>
              <a:gd name="T25" fmla="*/ 2147483647 h 120"/>
              <a:gd name="T26" fmla="*/ 2147483647 w 120"/>
              <a:gd name="T27" fmla="*/ 2147483647 h 120"/>
              <a:gd name="T28" fmla="*/ 2147483647 w 120"/>
              <a:gd name="T29" fmla="*/ 2147483647 h 120"/>
              <a:gd name="T30" fmla="*/ 2147483647 w 120"/>
              <a:gd name="T31" fmla="*/ 2147483647 h 120"/>
              <a:gd name="T32" fmla="*/ 2147483647 w 120"/>
              <a:gd name="T33" fmla="*/ 2147483647 h 120"/>
              <a:gd name="T34" fmla="*/ 2147483647 w 120"/>
              <a:gd name="T35" fmla="*/ 2147483647 h 120"/>
              <a:gd name="T36" fmla="*/ 2147483647 w 120"/>
              <a:gd name="T37" fmla="*/ 2147483647 h 120"/>
              <a:gd name="T38" fmla="*/ 2147483647 w 120"/>
              <a:gd name="T39" fmla="*/ 2147483647 h 120"/>
              <a:gd name="T40" fmla="*/ 2147483647 w 120"/>
              <a:gd name="T41" fmla="*/ 2147483647 h 120"/>
              <a:gd name="T42" fmla="*/ 2147483647 w 120"/>
              <a:gd name="T43" fmla="*/ 2147483647 h 120"/>
              <a:gd name="T44" fmla="*/ 2147483647 w 120"/>
              <a:gd name="T45" fmla="*/ 2147483647 h 120"/>
              <a:gd name="T46" fmla="*/ 2147483647 w 120"/>
              <a:gd name="T47" fmla="*/ 2147483647 h 120"/>
              <a:gd name="T48" fmla="*/ 2147483647 w 120"/>
              <a:gd name="T49" fmla="*/ 2147483647 h 120"/>
              <a:gd name="T50" fmla="*/ 0 w 120"/>
              <a:gd name="T51" fmla="*/ 2147483647 h 120"/>
              <a:gd name="T52" fmla="*/ 0 w 120"/>
              <a:gd name="T53" fmla="*/ 0 h 12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20" h="120">
                <a:moveTo>
                  <a:pt x="0" y="0"/>
                </a:moveTo>
                <a:lnTo>
                  <a:pt x="32" y="8"/>
                </a:lnTo>
                <a:lnTo>
                  <a:pt x="56" y="24"/>
                </a:lnTo>
                <a:lnTo>
                  <a:pt x="64" y="40"/>
                </a:lnTo>
                <a:lnTo>
                  <a:pt x="80" y="48"/>
                </a:lnTo>
                <a:lnTo>
                  <a:pt x="88" y="48"/>
                </a:lnTo>
                <a:lnTo>
                  <a:pt x="88" y="56"/>
                </a:lnTo>
                <a:lnTo>
                  <a:pt x="80" y="64"/>
                </a:lnTo>
                <a:lnTo>
                  <a:pt x="80" y="72"/>
                </a:lnTo>
                <a:lnTo>
                  <a:pt x="88" y="80"/>
                </a:lnTo>
                <a:lnTo>
                  <a:pt x="96" y="96"/>
                </a:lnTo>
                <a:lnTo>
                  <a:pt x="104" y="96"/>
                </a:lnTo>
                <a:lnTo>
                  <a:pt x="104" y="104"/>
                </a:lnTo>
                <a:lnTo>
                  <a:pt x="112" y="104"/>
                </a:lnTo>
                <a:lnTo>
                  <a:pt x="112" y="112"/>
                </a:lnTo>
                <a:lnTo>
                  <a:pt x="120" y="112"/>
                </a:lnTo>
                <a:lnTo>
                  <a:pt x="120" y="120"/>
                </a:lnTo>
                <a:lnTo>
                  <a:pt x="112" y="120"/>
                </a:lnTo>
                <a:lnTo>
                  <a:pt x="112" y="112"/>
                </a:lnTo>
                <a:lnTo>
                  <a:pt x="80" y="112"/>
                </a:lnTo>
                <a:lnTo>
                  <a:pt x="64" y="80"/>
                </a:lnTo>
                <a:lnTo>
                  <a:pt x="48" y="72"/>
                </a:lnTo>
                <a:lnTo>
                  <a:pt x="40" y="72"/>
                </a:lnTo>
                <a:lnTo>
                  <a:pt x="24" y="88"/>
                </a:lnTo>
                <a:lnTo>
                  <a:pt x="16" y="96"/>
                </a:lnTo>
                <a:lnTo>
                  <a:pt x="0" y="96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1" name="Freeform 38"/>
          <p:cNvSpPr>
            <a:spLocks noChangeAspect="1"/>
          </p:cNvSpPr>
          <p:nvPr/>
        </p:nvSpPr>
        <p:spPr bwMode="auto">
          <a:xfrm>
            <a:off x="4873054" y="3647241"/>
            <a:ext cx="282575" cy="268288"/>
          </a:xfrm>
          <a:custGeom>
            <a:avLst/>
            <a:gdLst>
              <a:gd name="T0" fmla="*/ 2147483647 w 128"/>
              <a:gd name="T1" fmla="*/ 0 h 128"/>
              <a:gd name="T2" fmla="*/ 2147483647 w 128"/>
              <a:gd name="T3" fmla="*/ 0 h 128"/>
              <a:gd name="T4" fmla="*/ 2147483647 w 128"/>
              <a:gd name="T5" fmla="*/ 2147483647 h 128"/>
              <a:gd name="T6" fmla="*/ 2147483647 w 128"/>
              <a:gd name="T7" fmla="*/ 2147483647 h 128"/>
              <a:gd name="T8" fmla="*/ 2147483647 w 128"/>
              <a:gd name="T9" fmla="*/ 2147483647 h 128"/>
              <a:gd name="T10" fmla="*/ 2147483647 w 128"/>
              <a:gd name="T11" fmla="*/ 2147483647 h 128"/>
              <a:gd name="T12" fmla="*/ 2147483647 w 128"/>
              <a:gd name="T13" fmla="*/ 2147483647 h 128"/>
              <a:gd name="T14" fmla="*/ 2147483647 w 128"/>
              <a:gd name="T15" fmla="*/ 2147483647 h 128"/>
              <a:gd name="T16" fmla="*/ 0 w 128"/>
              <a:gd name="T17" fmla="*/ 2147483647 h 128"/>
              <a:gd name="T18" fmla="*/ 0 w 128"/>
              <a:gd name="T19" fmla="*/ 2147483647 h 128"/>
              <a:gd name="T20" fmla="*/ 2147483647 w 128"/>
              <a:gd name="T21" fmla="*/ 2147483647 h 128"/>
              <a:gd name="T22" fmla="*/ 2147483647 w 128"/>
              <a:gd name="T23" fmla="*/ 2147483647 h 128"/>
              <a:gd name="T24" fmla="*/ 2147483647 w 128"/>
              <a:gd name="T25" fmla="*/ 2147483647 h 128"/>
              <a:gd name="T26" fmla="*/ 2147483647 w 128"/>
              <a:gd name="T27" fmla="*/ 2147483647 h 128"/>
              <a:gd name="T28" fmla="*/ 2147483647 w 128"/>
              <a:gd name="T29" fmla="*/ 2147483647 h 128"/>
              <a:gd name="T30" fmla="*/ 2147483647 w 128"/>
              <a:gd name="T31" fmla="*/ 2147483647 h 128"/>
              <a:gd name="T32" fmla="*/ 2147483647 w 128"/>
              <a:gd name="T33" fmla="*/ 2147483647 h 128"/>
              <a:gd name="T34" fmla="*/ 2147483647 w 128"/>
              <a:gd name="T35" fmla="*/ 2147483647 h 128"/>
              <a:gd name="T36" fmla="*/ 2147483647 w 128"/>
              <a:gd name="T37" fmla="*/ 2147483647 h 128"/>
              <a:gd name="T38" fmla="*/ 2147483647 w 128"/>
              <a:gd name="T39" fmla="*/ 2147483647 h 128"/>
              <a:gd name="T40" fmla="*/ 2147483647 w 128"/>
              <a:gd name="T41" fmla="*/ 2147483647 h 128"/>
              <a:gd name="T42" fmla="*/ 2147483647 w 128"/>
              <a:gd name="T43" fmla="*/ 2147483647 h 128"/>
              <a:gd name="T44" fmla="*/ 2147483647 w 128"/>
              <a:gd name="T45" fmla="*/ 2147483647 h 128"/>
              <a:gd name="T46" fmla="*/ 2147483647 w 128"/>
              <a:gd name="T47" fmla="*/ 2147483647 h 128"/>
              <a:gd name="T48" fmla="*/ 2147483647 w 128"/>
              <a:gd name="T49" fmla="*/ 2147483647 h 128"/>
              <a:gd name="T50" fmla="*/ 2147483647 w 128"/>
              <a:gd name="T51" fmla="*/ 2147483647 h 128"/>
              <a:gd name="T52" fmla="*/ 2147483647 w 128"/>
              <a:gd name="T53" fmla="*/ 2147483647 h 128"/>
              <a:gd name="T54" fmla="*/ 2147483647 w 128"/>
              <a:gd name="T55" fmla="*/ 0 h 128"/>
              <a:gd name="T56" fmla="*/ 2147483647 w 128"/>
              <a:gd name="T57" fmla="*/ 0 h 128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128" h="128">
                <a:moveTo>
                  <a:pt x="96" y="0"/>
                </a:moveTo>
                <a:lnTo>
                  <a:pt x="88" y="0"/>
                </a:lnTo>
                <a:lnTo>
                  <a:pt x="72" y="40"/>
                </a:lnTo>
                <a:lnTo>
                  <a:pt x="56" y="48"/>
                </a:lnTo>
                <a:lnTo>
                  <a:pt x="40" y="40"/>
                </a:lnTo>
                <a:lnTo>
                  <a:pt x="32" y="48"/>
                </a:lnTo>
                <a:lnTo>
                  <a:pt x="16" y="48"/>
                </a:lnTo>
                <a:lnTo>
                  <a:pt x="8" y="32"/>
                </a:lnTo>
                <a:lnTo>
                  <a:pt x="0" y="48"/>
                </a:lnTo>
                <a:lnTo>
                  <a:pt x="0" y="72"/>
                </a:lnTo>
                <a:lnTo>
                  <a:pt x="8" y="80"/>
                </a:lnTo>
                <a:lnTo>
                  <a:pt x="16" y="104"/>
                </a:lnTo>
                <a:lnTo>
                  <a:pt x="32" y="104"/>
                </a:lnTo>
                <a:lnTo>
                  <a:pt x="32" y="112"/>
                </a:lnTo>
                <a:lnTo>
                  <a:pt x="56" y="112"/>
                </a:lnTo>
                <a:lnTo>
                  <a:pt x="64" y="112"/>
                </a:lnTo>
                <a:lnTo>
                  <a:pt x="72" y="128"/>
                </a:lnTo>
                <a:lnTo>
                  <a:pt x="80" y="120"/>
                </a:lnTo>
                <a:lnTo>
                  <a:pt x="96" y="112"/>
                </a:lnTo>
                <a:lnTo>
                  <a:pt x="96" y="96"/>
                </a:lnTo>
                <a:lnTo>
                  <a:pt x="96" y="88"/>
                </a:lnTo>
                <a:lnTo>
                  <a:pt x="104" y="80"/>
                </a:lnTo>
                <a:lnTo>
                  <a:pt x="120" y="48"/>
                </a:lnTo>
                <a:lnTo>
                  <a:pt x="128" y="48"/>
                </a:lnTo>
                <a:lnTo>
                  <a:pt x="112" y="32"/>
                </a:lnTo>
                <a:lnTo>
                  <a:pt x="120" y="24"/>
                </a:lnTo>
                <a:lnTo>
                  <a:pt x="112" y="16"/>
                </a:lnTo>
                <a:lnTo>
                  <a:pt x="112" y="0"/>
                </a:lnTo>
                <a:lnTo>
                  <a:pt x="96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2" name="Freeform 39"/>
          <p:cNvSpPr>
            <a:spLocks noChangeAspect="1"/>
          </p:cNvSpPr>
          <p:nvPr/>
        </p:nvSpPr>
        <p:spPr bwMode="auto">
          <a:xfrm>
            <a:off x="4890517" y="3563104"/>
            <a:ext cx="282575" cy="185737"/>
          </a:xfrm>
          <a:custGeom>
            <a:avLst/>
            <a:gdLst>
              <a:gd name="T0" fmla="*/ 2147483647 w 128"/>
              <a:gd name="T1" fmla="*/ 2147483647 h 88"/>
              <a:gd name="T2" fmla="*/ 2147483647 w 128"/>
              <a:gd name="T3" fmla="*/ 2147483647 h 88"/>
              <a:gd name="T4" fmla="*/ 2147483647 w 128"/>
              <a:gd name="T5" fmla="*/ 2147483647 h 88"/>
              <a:gd name="T6" fmla="*/ 2147483647 w 128"/>
              <a:gd name="T7" fmla="*/ 2147483647 h 88"/>
              <a:gd name="T8" fmla="*/ 2147483647 w 128"/>
              <a:gd name="T9" fmla="*/ 2147483647 h 88"/>
              <a:gd name="T10" fmla="*/ 2147483647 w 128"/>
              <a:gd name="T11" fmla="*/ 0 h 88"/>
              <a:gd name="T12" fmla="*/ 2147483647 w 128"/>
              <a:gd name="T13" fmla="*/ 2147483647 h 88"/>
              <a:gd name="T14" fmla="*/ 2147483647 w 128"/>
              <a:gd name="T15" fmla="*/ 2147483647 h 88"/>
              <a:gd name="T16" fmla="*/ 2147483647 w 128"/>
              <a:gd name="T17" fmla="*/ 2147483647 h 88"/>
              <a:gd name="T18" fmla="*/ 2147483647 w 128"/>
              <a:gd name="T19" fmla="*/ 2147483647 h 88"/>
              <a:gd name="T20" fmla="*/ 2147483647 w 128"/>
              <a:gd name="T21" fmla="*/ 2147483647 h 88"/>
              <a:gd name="T22" fmla="*/ 2147483647 w 128"/>
              <a:gd name="T23" fmla="*/ 2147483647 h 88"/>
              <a:gd name="T24" fmla="*/ 2147483647 w 128"/>
              <a:gd name="T25" fmla="*/ 2147483647 h 88"/>
              <a:gd name="T26" fmla="*/ 2147483647 w 128"/>
              <a:gd name="T27" fmla="*/ 2147483647 h 88"/>
              <a:gd name="T28" fmla="*/ 0 w 128"/>
              <a:gd name="T29" fmla="*/ 2147483647 h 88"/>
              <a:gd name="T30" fmla="*/ 2147483647 w 128"/>
              <a:gd name="T31" fmla="*/ 2147483647 h 88"/>
              <a:gd name="T32" fmla="*/ 2147483647 w 128"/>
              <a:gd name="T33" fmla="*/ 2147483647 h 88"/>
              <a:gd name="T34" fmla="*/ 2147483647 w 128"/>
              <a:gd name="T35" fmla="*/ 2147483647 h 88"/>
              <a:gd name="T36" fmla="*/ 2147483647 w 128"/>
              <a:gd name="T37" fmla="*/ 2147483647 h 88"/>
              <a:gd name="T38" fmla="*/ 2147483647 w 128"/>
              <a:gd name="T39" fmla="*/ 2147483647 h 88"/>
              <a:gd name="T40" fmla="*/ 2147483647 w 128"/>
              <a:gd name="T41" fmla="*/ 2147483647 h 88"/>
              <a:gd name="T42" fmla="*/ 2147483647 w 128"/>
              <a:gd name="T43" fmla="*/ 2147483647 h 88"/>
              <a:gd name="T44" fmla="*/ 2147483647 w 128"/>
              <a:gd name="T45" fmla="*/ 2147483647 h 88"/>
              <a:gd name="T46" fmla="*/ 2147483647 w 128"/>
              <a:gd name="T47" fmla="*/ 2147483647 h 8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28" h="88">
                <a:moveTo>
                  <a:pt x="120" y="32"/>
                </a:moveTo>
                <a:lnTo>
                  <a:pt x="112" y="32"/>
                </a:lnTo>
                <a:lnTo>
                  <a:pt x="128" y="24"/>
                </a:lnTo>
                <a:lnTo>
                  <a:pt x="104" y="16"/>
                </a:lnTo>
                <a:lnTo>
                  <a:pt x="104" y="8"/>
                </a:lnTo>
                <a:lnTo>
                  <a:pt x="96" y="0"/>
                </a:lnTo>
                <a:lnTo>
                  <a:pt x="72" y="24"/>
                </a:lnTo>
                <a:lnTo>
                  <a:pt x="72" y="32"/>
                </a:lnTo>
                <a:lnTo>
                  <a:pt x="64" y="32"/>
                </a:lnTo>
                <a:lnTo>
                  <a:pt x="64" y="40"/>
                </a:lnTo>
                <a:lnTo>
                  <a:pt x="56" y="32"/>
                </a:lnTo>
                <a:lnTo>
                  <a:pt x="40" y="56"/>
                </a:lnTo>
                <a:lnTo>
                  <a:pt x="24" y="56"/>
                </a:lnTo>
                <a:lnTo>
                  <a:pt x="16" y="80"/>
                </a:lnTo>
                <a:lnTo>
                  <a:pt x="0" y="72"/>
                </a:lnTo>
                <a:lnTo>
                  <a:pt x="8" y="88"/>
                </a:lnTo>
                <a:lnTo>
                  <a:pt x="24" y="88"/>
                </a:lnTo>
                <a:lnTo>
                  <a:pt x="32" y="80"/>
                </a:lnTo>
                <a:lnTo>
                  <a:pt x="48" y="88"/>
                </a:lnTo>
                <a:lnTo>
                  <a:pt x="64" y="80"/>
                </a:lnTo>
                <a:lnTo>
                  <a:pt x="80" y="40"/>
                </a:lnTo>
                <a:lnTo>
                  <a:pt x="88" y="40"/>
                </a:lnTo>
                <a:lnTo>
                  <a:pt x="104" y="40"/>
                </a:lnTo>
                <a:lnTo>
                  <a:pt x="120" y="3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3" name="Freeform 40"/>
          <p:cNvSpPr>
            <a:spLocks noChangeAspect="1"/>
          </p:cNvSpPr>
          <p:nvPr/>
        </p:nvSpPr>
        <p:spPr bwMode="auto">
          <a:xfrm>
            <a:off x="5015929" y="3629779"/>
            <a:ext cx="34925" cy="17462"/>
          </a:xfrm>
          <a:custGeom>
            <a:avLst/>
            <a:gdLst>
              <a:gd name="T0" fmla="*/ 2147483647 w 16"/>
              <a:gd name="T1" fmla="*/ 0 h 8"/>
              <a:gd name="T2" fmla="*/ 2147483647 w 16"/>
              <a:gd name="T3" fmla="*/ 0 h 8"/>
              <a:gd name="T4" fmla="*/ 2147483647 w 16"/>
              <a:gd name="T5" fmla="*/ 2147483647 h 8"/>
              <a:gd name="T6" fmla="*/ 0 w 16"/>
              <a:gd name="T7" fmla="*/ 0 h 8"/>
              <a:gd name="T8" fmla="*/ 2147483647 w 16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" h="8">
                <a:moveTo>
                  <a:pt x="16" y="0"/>
                </a:moveTo>
                <a:lnTo>
                  <a:pt x="8" y="0"/>
                </a:lnTo>
                <a:lnTo>
                  <a:pt x="8" y="8"/>
                </a:ln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4" name="Freeform 41"/>
          <p:cNvSpPr>
            <a:spLocks noChangeAspect="1"/>
          </p:cNvSpPr>
          <p:nvPr/>
        </p:nvSpPr>
        <p:spPr bwMode="auto">
          <a:xfrm>
            <a:off x="4320604" y="2893179"/>
            <a:ext cx="266700" cy="587375"/>
          </a:xfrm>
          <a:custGeom>
            <a:avLst/>
            <a:gdLst>
              <a:gd name="T0" fmla="*/ 2147483647 w 120"/>
              <a:gd name="T1" fmla="*/ 2147483647 h 280"/>
              <a:gd name="T2" fmla="*/ 2147483647 w 120"/>
              <a:gd name="T3" fmla="*/ 2147483647 h 280"/>
              <a:gd name="T4" fmla="*/ 2147483647 w 120"/>
              <a:gd name="T5" fmla="*/ 2147483647 h 280"/>
              <a:gd name="T6" fmla="*/ 2147483647 w 120"/>
              <a:gd name="T7" fmla="*/ 2147483647 h 280"/>
              <a:gd name="T8" fmla="*/ 2147483647 w 120"/>
              <a:gd name="T9" fmla="*/ 2147483647 h 280"/>
              <a:gd name="T10" fmla="*/ 2147483647 w 120"/>
              <a:gd name="T11" fmla="*/ 2147483647 h 280"/>
              <a:gd name="T12" fmla="*/ 2147483647 w 120"/>
              <a:gd name="T13" fmla="*/ 2147483647 h 280"/>
              <a:gd name="T14" fmla="*/ 2147483647 w 120"/>
              <a:gd name="T15" fmla="*/ 2147483647 h 280"/>
              <a:gd name="T16" fmla="*/ 2147483647 w 120"/>
              <a:gd name="T17" fmla="*/ 2147483647 h 280"/>
              <a:gd name="T18" fmla="*/ 2147483647 w 120"/>
              <a:gd name="T19" fmla="*/ 2147483647 h 280"/>
              <a:gd name="T20" fmla="*/ 2147483647 w 120"/>
              <a:gd name="T21" fmla="*/ 2147483647 h 280"/>
              <a:gd name="T22" fmla="*/ 2147483647 w 120"/>
              <a:gd name="T23" fmla="*/ 2147483647 h 280"/>
              <a:gd name="T24" fmla="*/ 2147483647 w 120"/>
              <a:gd name="T25" fmla="*/ 2147483647 h 280"/>
              <a:gd name="T26" fmla="*/ 2147483647 w 120"/>
              <a:gd name="T27" fmla="*/ 2147483647 h 280"/>
              <a:gd name="T28" fmla="*/ 2147483647 w 120"/>
              <a:gd name="T29" fmla="*/ 2147483647 h 280"/>
              <a:gd name="T30" fmla="*/ 2147483647 w 120"/>
              <a:gd name="T31" fmla="*/ 0 h 280"/>
              <a:gd name="T32" fmla="*/ 2147483647 w 120"/>
              <a:gd name="T33" fmla="*/ 0 h 280"/>
              <a:gd name="T34" fmla="*/ 2147483647 w 120"/>
              <a:gd name="T35" fmla="*/ 2147483647 h 280"/>
              <a:gd name="T36" fmla="*/ 2147483647 w 120"/>
              <a:gd name="T37" fmla="*/ 2147483647 h 280"/>
              <a:gd name="T38" fmla="*/ 2147483647 w 120"/>
              <a:gd name="T39" fmla="*/ 2147483647 h 280"/>
              <a:gd name="T40" fmla="*/ 2147483647 w 120"/>
              <a:gd name="T41" fmla="*/ 2147483647 h 280"/>
              <a:gd name="T42" fmla="*/ 2147483647 w 120"/>
              <a:gd name="T43" fmla="*/ 2147483647 h 280"/>
              <a:gd name="T44" fmla="*/ 2147483647 w 120"/>
              <a:gd name="T45" fmla="*/ 2147483647 h 280"/>
              <a:gd name="T46" fmla="*/ 0 w 120"/>
              <a:gd name="T47" fmla="*/ 2147483647 h 280"/>
              <a:gd name="T48" fmla="*/ 0 w 120"/>
              <a:gd name="T49" fmla="*/ 2147483647 h 280"/>
              <a:gd name="T50" fmla="*/ 2147483647 w 120"/>
              <a:gd name="T51" fmla="*/ 2147483647 h 280"/>
              <a:gd name="T52" fmla="*/ 2147483647 w 120"/>
              <a:gd name="T53" fmla="*/ 2147483647 h 280"/>
              <a:gd name="T54" fmla="*/ 2147483647 w 120"/>
              <a:gd name="T55" fmla="*/ 2147483647 h 280"/>
              <a:gd name="T56" fmla="*/ 2147483647 w 120"/>
              <a:gd name="T57" fmla="*/ 2147483647 h 280"/>
              <a:gd name="T58" fmla="*/ 2147483647 w 120"/>
              <a:gd name="T59" fmla="*/ 2147483647 h 280"/>
              <a:gd name="T60" fmla="*/ 2147483647 w 120"/>
              <a:gd name="T61" fmla="*/ 2147483647 h 280"/>
              <a:gd name="T62" fmla="*/ 2147483647 w 120"/>
              <a:gd name="T63" fmla="*/ 2147483647 h 280"/>
              <a:gd name="T64" fmla="*/ 2147483647 w 120"/>
              <a:gd name="T65" fmla="*/ 2147483647 h 280"/>
              <a:gd name="T66" fmla="*/ 2147483647 w 120"/>
              <a:gd name="T67" fmla="*/ 2147483647 h 280"/>
              <a:gd name="T68" fmla="*/ 2147483647 w 120"/>
              <a:gd name="T69" fmla="*/ 2147483647 h 280"/>
              <a:gd name="T70" fmla="*/ 2147483647 w 120"/>
              <a:gd name="T71" fmla="*/ 2147483647 h 280"/>
              <a:gd name="T72" fmla="*/ 2147483647 w 120"/>
              <a:gd name="T73" fmla="*/ 2147483647 h 280"/>
              <a:gd name="T74" fmla="*/ 2147483647 w 120"/>
              <a:gd name="T75" fmla="*/ 2147483647 h 28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20" h="280">
                <a:moveTo>
                  <a:pt x="112" y="240"/>
                </a:moveTo>
                <a:lnTo>
                  <a:pt x="104" y="208"/>
                </a:lnTo>
                <a:lnTo>
                  <a:pt x="88" y="200"/>
                </a:lnTo>
                <a:lnTo>
                  <a:pt x="96" y="176"/>
                </a:lnTo>
                <a:lnTo>
                  <a:pt x="80" y="144"/>
                </a:lnTo>
                <a:lnTo>
                  <a:pt x="80" y="128"/>
                </a:lnTo>
                <a:lnTo>
                  <a:pt x="104" y="112"/>
                </a:lnTo>
                <a:lnTo>
                  <a:pt x="120" y="96"/>
                </a:lnTo>
                <a:lnTo>
                  <a:pt x="104" y="96"/>
                </a:lnTo>
                <a:lnTo>
                  <a:pt x="88" y="88"/>
                </a:lnTo>
                <a:lnTo>
                  <a:pt x="88" y="72"/>
                </a:lnTo>
                <a:lnTo>
                  <a:pt x="80" y="72"/>
                </a:lnTo>
                <a:lnTo>
                  <a:pt x="80" y="56"/>
                </a:lnTo>
                <a:lnTo>
                  <a:pt x="64" y="64"/>
                </a:lnTo>
                <a:lnTo>
                  <a:pt x="72" y="16"/>
                </a:lnTo>
                <a:lnTo>
                  <a:pt x="64" y="0"/>
                </a:lnTo>
                <a:lnTo>
                  <a:pt x="48" y="0"/>
                </a:lnTo>
                <a:lnTo>
                  <a:pt x="48" y="8"/>
                </a:lnTo>
                <a:lnTo>
                  <a:pt x="40" y="8"/>
                </a:lnTo>
                <a:lnTo>
                  <a:pt x="24" y="24"/>
                </a:lnTo>
                <a:lnTo>
                  <a:pt x="16" y="64"/>
                </a:lnTo>
                <a:lnTo>
                  <a:pt x="8" y="64"/>
                </a:lnTo>
                <a:lnTo>
                  <a:pt x="8" y="88"/>
                </a:lnTo>
                <a:lnTo>
                  <a:pt x="0" y="88"/>
                </a:lnTo>
                <a:lnTo>
                  <a:pt x="0" y="104"/>
                </a:lnTo>
                <a:lnTo>
                  <a:pt x="16" y="120"/>
                </a:lnTo>
                <a:lnTo>
                  <a:pt x="24" y="136"/>
                </a:lnTo>
                <a:lnTo>
                  <a:pt x="32" y="136"/>
                </a:lnTo>
                <a:lnTo>
                  <a:pt x="40" y="160"/>
                </a:lnTo>
                <a:lnTo>
                  <a:pt x="32" y="176"/>
                </a:lnTo>
                <a:lnTo>
                  <a:pt x="56" y="184"/>
                </a:lnTo>
                <a:lnTo>
                  <a:pt x="72" y="168"/>
                </a:lnTo>
                <a:lnTo>
                  <a:pt x="80" y="176"/>
                </a:lnTo>
                <a:lnTo>
                  <a:pt x="104" y="232"/>
                </a:lnTo>
                <a:lnTo>
                  <a:pt x="96" y="240"/>
                </a:lnTo>
                <a:lnTo>
                  <a:pt x="104" y="256"/>
                </a:lnTo>
                <a:lnTo>
                  <a:pt x="96" y="280"/>
                </a:lnTo>
                <a:lnTo>
                  <a:pt x="112" y="24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5" name="Freeform 42"/>
          <p:cNvSpPr>
            <a:spLocks noChangeAspect="1"/>
          </p:cNvSpPr>
          <p:nvPr/>
        </p:nvSpPr>
        <p:spPr bwMode="auto">
          <a:xfrm>
            <a:off x="4498404" y="3128129"/>
            <a:ext cx="231775" cy="468312"/>
          </a:xfrm>
          <a:custGeom>
            <a:avLst/>
            <a:gdLst>
              <a:gd name="T0" fmla="*/ 2147483647 w 104"/>
              <a:gd name="T1" fmla="*/ 2147483647 h 224"/>
              <a:gd name="T2" fmla="*/ 2147483647 w 104"/>
              <a:gd name="T3" fmla="*/ 2147483647 h 224"/>
              <a:gd name="T4" fmla="*/ 2147483647 w 104"/>
              <a:gd name="T5" fmla="*/ 2147483647 h 224"/>
              <a:gd name="T6" fmla="*/ 2147483647 w 104"/>
              <a:gd name="T7" fmla="*/ 2147483647 h 224"/>
              <a:gd name="T8" fmla="*/ 2147483647 w 104"/>
              <a:gd name="T9" fmla="*/ 2147483647 h 224"/>
              <a:gd name="T10" fmla="*/ 2147483647 w 104"/>
              <a:gd name="T11" fmla="*/ 2147483647 h 224"/>
              <a:gd name="T12" fmla="*/ 2147483647 w 104"/>
              <a:gd name="T13" fmla="*/ 2147483647 h 224"/>
              <a:gd name="T14" fmla="*/ 2147483647 w 104"/>
              <a:gd name="T15" fmla="*/ 2147483647 h 224"/>
              <a:gd name="T16" fmla="*/ 2147483647 w 104"/>
              <a:gd name="T17" fmla="*/ 2147483647 h 224"/>
              <a:gd name="T18" fmla="*/ 2147483647 w 104"/>
              <a:gd name="T19" fmla="*/ 2147483647 h 224"/>
              <a:gd name="T20" fmla="*/ 2147483647 w 104"/>
              <a:gd name="T21" fmla="*/ 2147483647 h 224"/>
              <a:gd name="T22" fmla="*/ 2147483647 w 104"/>
              <a:gd name="T23" fmla="*/ 2147483647 h 224"/>
              <a:gd name="T24" fmla="*/ 2147483647 w 104"/>
              <a:gd name="T25" fmla="*/ 2147483647 h 224"/>
              <a:gd name="T26" fmla="*/ 2147483647 w 104"/>
              <a:gd name="T27" fmla="*/ 2147483647 h 224"/>
              <a:gd name="T28" fmla="*/ 2147483647 w 104"/>
              <a:gd name="T29" fmla="*/ 2147483647 h 224"/>
              <a:gd name="T30" fmla="*/ 2147483647 w 104"/>
              <a:gd name="T31" fmla="*/ 2147483647 h 224"/>
              <a:gd name="T32" fmla="*/ 2147483647 w 104"/>
              <a:gd name="T33" fmla="*/ 2147483647 h 224"/>
              <a:gd name="T34" fmla="*/ 2147483647 w 104"/>
              <a:gd name="T35" fmla="*/ 2147483647 h 224"/>
              <a:gd name="T36" fmla="*/ 2147483647 w 104"/>
              <a:gd name="T37" fmla="*/ 2147483647 h 224"/>
              <a:gd name="T38" fmla="*/ 2147483647 w 104"/>
              <a:gd name="T39" fmla="*/ 2147483647 h 224"/>
              <a:gd name="T40" fmla="*/ 2147483647 w 104"/>
              <a:gd name="T41" fmla="*/ 2147483647 h 224"/>
              <a:gd name="T42" fmla="*/ 2147483647 w 104"/>
              <a:gd name="T43" fmla="*/ 2147483647 h 224"/>
              <a:gd name="T44" fmla="*/ 2147483647 w 104"/>
              <a:gd name="T45" fmla="*/ 2147483647 h 224"/>
              <a:gd name="T46" fmla="*/ 2147483647 w 104"/>
              <a:gd name="T47" fmla="*/ 2147483647 h 224"/>
              <a:gd name="T48" fmla="*/ 2147483647 w 104"/>
              <a:gd name="T49" fmla="*/ 2147483647 h 224"/>
              <a:gd name="T50" fmla="*/ 2147483647 w 104"/>
              <a:gd name="T51" fmla="*/ 2147483647 h 224"/>
              <a:gd name="T52" fmla="*/ 2147483647 w 104"/>
              <a:gd name="T53" fmla="*/ 2147483647 h 224"/>
              <a:gd name="T54" fmla="*/ 2147483647 w 104"/>
              <a:gd name="T55" fmla="*/ 2147483647 h 224"/>
              <a:gd name="T56" fmla="*/ 2147483647 w 104"/>
              <a:gd name="T57" fmla="*/ 0 h 224"/>
              <a:gd name="T58" fmla="*/ 0 w 104"/>
              <a:gd name="T59" fmla="*/ 2147483647 h 224"/>
              <a:gd name="T60" fmla="*/ 0 w 104"/>
              <a:gd name="T61" fmla="*/ 2147483647 h 224"/>
              <a:gd name="T62" fmla="*/ 2147483647 w 104"/>
              <a:gd name="T63" fmla="*/ 2147483647 h 224"/>
              <a:gd name="T64" fmla="*/ 2147483647 w 104"/>
              <a:gd name="T65" fmla="*/ 2147483647 h 224"/>
              <a:gd name="T66" fmla="*/ 2147483647 w 104"/>
              <a:gd name="T67" fmla="*/ 2147483647 h 224"/>
              <a:gd name="T68" fmla="*/ 2147483647 w 104"/>
              <a:gd name="T69" fmla="*/ 2147483647 h 224"/>
              <a:gd name="T70" fmla="*/ 2147483647 w 104"/>
              <a:gd name="T71" fmla="*/ 2147483647 h 224"/>
              <a:gd name="T72" fmla="*/ 2147483647 w 104"/>
              <a:gd name="T73" fmla="*/ 2147483647 h 224"/>
              <a:gd name="T74" fmla="*/ 2147483647 w 104"/>
              <a:gd name="T75" fmla="*/ 2147483647 h 224"/>
              <a:gd name="T76" fmla="*/ 2147483647 w 104"/>
              <a:gd name="T77" fmla="*/ 2147483647 h 224"/>
              <a:gd name="T78" fmla="*/ 2147483647 w 104"/>
              <a:gd name="T79" fmla="*/ 2147483647 h 224"/>
              <a:gd name="T80" fmla="*/ 2147483647 w 104"/>
              <a:gd name="T81" fmla="*/ 2147483647 h 22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04" h="224">
                <a:moveTo>
                  <a:pt x="48" y="208"/>
                </a:moveTo>
                <a:lnTo>
                  <a:pt x="56" y="216"/>
                </a:lnTo>
                <a:lnTo>
                  <a:pt x="56" y="224"/>
                </a:lnTo>
                <a:lnTo>
                  <a:pt x="64" y="224"/>
                </a:lnTo>
                <a:lnTo>
                  <a:pt x="72" y="216"/>
                </a:lnTo>
                <a:lnTo>
                  <a:pt x="64" y="208"/>
                </a:lnTo>
                <a:lnTo>
                  <a:pt x="48" y="200"/>
                </a:lnTo>
                <a:lnTo>
                  <a:pt x="40" y="168"/>
                </a:lnTo>
                <a:lnTo>
                  <a:pt x="32" y="168"/>
                </a:lnTo>
                <a:lnTo>
                  <a:pt x="32" y="152"/>
                </a:lnTo>
                <a:lnTo>
                  <a:pt x="40" y="128"/>
                </a:lnTo>
                <a:lnTo>
                  <a:pt x="32" y="112"/>
                </a:lnTo>
                <a:lnTo>
                  <a:pt x="48" y="112"/>
                </a:lnTo>
                <a:lnTo>
                  <a:pt x="48" y="120"/>
                </a:lnTo>
                <a:lnTo>
                  <a:pt x="64" y="120"/>
                </a:lnTo>
                <a:lnTo>
                  <a:pt x="72" y="128"/>
                </a:lnTo>
                <a:lnTo>
                  <a:pt x="64" y="112"/>
                </a:lnTo>
                <a:lnTo>
                  <a:pt x="72" y="96"/>
                </a:lnTo>
                <a:lnTo>
                  <a:pt x="104" y="96"/>
                </a:lnTo>
                <a:lnTo>
                  <a:pt x="104" y="80"/>
                </a:lnTo>
                <a:lnTo>
                  <a:pt x="96" y="64"/>
                </a:lnTo>
                <a:lnTo>
                  <a:pt x="88" y="48"/>
                </a:lnTo>
                <a:lnTo>
                  <a:pt x="72" y="32"/>
                </a:lnTo>
                <a:lnTo>
                  <a:pt x="64" y="40"/>
                </a:lnTo>
                <a:lnTo>
                  <a:pt x="56" y="32"/>
                </a:lnTo>
                <a:lnTo>
                  <a:pt x="40" y="40"/>
                </a:lnTo>
                <a:lnTo>
                  <a:pt x="40" y="16"/>
                </a:lnTo>
                <a:lnTo>
                  <a:pt x="32" y="8"/>
                </a:lnTo>
                <a:lnTo>
                  <a:pt x="24" y="0"/>
                </a:lnTo>
                <a:lnTo>
                  <a:pt x="0" y="16"/>
                </a:lnTo>
                <a:lnTo>
                  <a:pt x="0" y="32"/>
                </a:lnTo>
                <a:lnTo>
                  <a:pt x="16" y="64"/>
                </a:lnTo>
                <a:lnTo>
                  <a:pt x="8" y="88"/>
                </a:lnTo>
                <a:lnTo>
                  <a:pt x="24" y="96"/>
                </a:lnTo>
                <a:lnTo>
                  <a:pt x="32" y="128"/>
                </a:lnTo>
                <a:lnTo>
                  <a:pt x="16" y="168"/>
                </a:lnTo>
                <a:lnTo>
                  <a:pt x="16" y="176"/>
                </a:lnTo>
                <a:lnTo>
                  <a:pt x="24" y="192"/>
                </a:lnTo>
                <a:lnTo>
                  <a:pt x="24" y="184"/>
                </a:lnTo>
                <a:lnTo>
                  <a:pt x="48" y="216"/>
                </a:lnTo>
                <a:lnTo>
                  <a:pt x="48" y="20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6" name="Freeform 43"/>
          <p:cNvSpPr>
            <a:spLocks noChangeAspect="1"/>
          </p:cNvSpPr>
          <p:nvPr/>
        </p:nvSpPr>
        <p:spPr bwMode="auto">
          <a:xfrm>
            <a:off x="4606354" y="3563104"/>
            <a:ext cx="123825" cy="168275"/>
          </a:xfrm>
          <a:custGeom>
            <a:avLst/>
            <a:gdLst>
              <a:gd name="T0" fmla="*/ 0 w 56"/>
              <a:gd name="T1" fmla="*/ 2147483647 h 80"/>
              <a:gd name="T2" fmla="*/ 0 w 56"/>
              <a:gd name="T3" fmla="*/ 0 h 80"/>
              <a:gd name="T4" fmla="*/ 2147483647 w 56"/>
              <a:gd name="T5" fmla="*/ 2147483647 h 80"/>
              <a:gd name="T6" fmla="*/ 2147483647 w 56"/>
              <a:gd name="T7" fmla="*/ 2147483647 h 80"/>
              <a:gd name="T8" fmla="*/ 2147483647 w 56"/>
              <a:gd name="T9" fmla="*/ 2147483647 h 80"/>
              <a:gd name="T10" fmla="*/ 2147483647 w 56"/>
              <a:gd name="T11" fmla="*/ 2147483647 h 80"/>
              <a:gd name="T12" fmla="*/ 2147483647 w 56"/>
              <a:gd name="T13" fmla="*/ 2147483647 h 80"/>
              <a:gd name="T14" fmla="*/ 2147483647 w 56"/>
              <a:gd name="T15" fmla="*/ 2147483647 h 80"/>
              <a:gd name="T16" fmla="*/ 2147483647 w 56"/>
              <a:gd name="T17" fmla="*/ 2147483647 h 80"/>
              <a:gd name="T18" fmla="*/ 2147483647 w 56"/>
              <a:gd name="T19" fmla="*/ 2147483647 h 80"/>
              <a:gd name="T20" fmla="*/ 2147483647 w 56"/>
              <a:gd name="T21" fmla="*/ 2147483647 h 80"/>
              <a:gd name="T22" fmla="*/ 0 w 56"/>
              <a:gd name="T23" fmla="*/ 2147483647 h 80"/>
              <a:gd name="T24" fmla="*/ 0 w 56"/>
              <a:gd name="T25" fmla="*/ 2147483647 h 8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6" h="80">
                <a:moveTo>
                  <a:pt x="0" y="8"/>
                </a:moveTo>
                <a:lnTo>
                  <a:pt x="0" y="0"/>
                </a:lnTo>
                <a:lnTo>
                  <a:pt x="8" y="8"/>
                </a:lnTo>
                <a:lnTo>
                  <a:pt x="8" y="16"/>
                </a:lnTo>
                <a:lnTo>
                  <a:pt x="16" y="16"/>
                </a:lnTo>
                <a:lnTo>
                  <a:pt x="24" y="8"/>
                </a:lnTo>
                <a:lnTo>
                  <a:pt x="40" y="32"/>
                </a:lnTo>
                <a:lnTo>
                  <a:pt x="40" y="56"/>
                </a:lnTo>
                <a:lnTo>
                  <a:pt x="56" y="80"/>
                </a:lnTo>
                <a:lnTo>
                  <a:pt x="40" y="80"/>
                </a:lnTo>
                <a:lnTo>
                  <a:pt x="16" y="56"/>
                </a:lnTo>
                <a:lnTo>
                  <a:pt x="0" y="4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7" name="Freeform 44"/>
          <p:cNvSpPr>
            <a:spLocks noChangeAspect="1"/>
          </p:cNvSpPr>
          <p:nvPr/>
        </p:nvSpPr>
        <p:spPr bwMode="auto">
          <a:xfrm>
            <a:off x="4606354" y="3043991"/>
            <a:ext cx="247650" cy="450850"/>
          </a:xfrm>
          <a:custGeom>
            <a:avLst/>
            <a:gdLst>
              <a:gd name="T0" fmla="*/ 0 w 112"/>
              <a:gd name="T1" fmla="*/ 2147483647 h 216"/>
              <a:gd name="T2" fmla="*/ 2147483647 w 112"/>
              <a:gd name="T3" fmla="*/ 2147483647 h 216"/>
              <a:gd name="T4" fmla="*/ 2147483647 w 112"/>
              <a:gd name="T5" fmla="*/ 2147483647 h 216"/>
              <a:gd name="T6" fmla="*/ 2147483647 w 112"/>
              <a:gd name="T7" fmla="*/ 2147483647 h 216"/>
              <a:gd name="T8" fmla="*/ 2147483647 w 112"/>
              <a:gd name="T9" fmla="*/ 2147483647 h 216"/>
              <a:gd name="T10" fmla="*/ 2147483647 w 112"/>
              <a:gd name="T11" fmla="*/ 2147483647 h 216"/>
              <a:gd name="T12" fmla="*/ 2147483647 w 112"/>
              <a:gd name="T13" fmla="*/ 2147483647 h 216"/>
              <a:gd name="T14" fmla="*/ 2147483647 w 112"/>
              <a:gd name="T15" fmla="*/ 2147483647 h 216"/>
              <a:gd name="T16" fmla="*/ 2147483647 w 112"/>
              <a:gd name="T17" fmla="*/ 2147483647 h 216"/>
              <a:gd name="T18" fmla="*/ 2147483647 w 112"/>
              <a:gd name="T19" fmla="*/ 2147483647 h 216"/>
              <a:gd name="T20" fmla="*/ 2147483647 w 112"/>
              <a:gd name="T21" fmla="*/ 2147483647 h 216"/>
              <a:gd name="T22" fmla="*/ 2147483647 w 112"/>
              <a:gd name="T23" fmla="*/ 2147483647 h 216"/>
              <a:gd name="T24" fmla="*/ 2147483647 w 112"/>
              <a:gd name="T25" fmla="*/ 2147483647 h 216"/>
              <a:gd name="T26" fmla="*/ 2147483647 w 112"/>
              <a:gd name="T27" fmla="*/ 2147483647 h 216"/>
              <a:gd name="T28" fmla="*/ 2147483647 w 112"/>
              <a:gd name="T29" fmla="*/ 2147483647 h 216"/>
              <a:gd name="T30" fmla="*/ 2147483647 w 112"/>
              <a:gd name="T31" fmla="*/ 2147483647 h 216"/>
              <a:gd name="T32" fmla="*/ 2147483647 w 112"/>
              <a:gd name="T33" fmla="*/ 2147483647 h 216"/>
              <a:gd name="T34" fmla="*/ 2147483647 w 112"/>
              <a:gd name="T35" fmla="*/ 2147483647 h 216"/>
              <a:gd name="T36" fmla="*/ 2147483647 w 112"/>
              <a:gd name="T37" fmla="*/ 2147483647 h 216"/>
              <a:gd name="T38" fmla="*/ 2147483647 w 112"/>
              <a:gd name="T39" fmla="*/ 2147483647 h 216"/>
              <a:gd name="T40" fmla="*/ 2147483647 w 112"/>
              <a:gd name="T41" fmla="*/ 2147483647 h 216"/>
              <a:gd name="T42" fmla="*/ 2147483647 w 112"/>
              <a:gd name="T43" fmla="*/ 2147483647 h 216"/>
              <a:gd name="T44" fmla="*/ 2147483647 w 112"/>
              <a:gd name="T45" fmla="*/ 2147483647 h 216"/>
              <a:gd name="T46" fmla="*/ 2147483647 w 112"/>
              <a:gd name="T47" fmla="*/ 2147483647 h 216"/>
              <a:gd name="T48" fmla="*/ 2147483647 w 112"/>
              <a:gd name="T49" fmla="*/ 2147483647 h 216"/>
              <a:gd name="T50" fmla="*/ 2147483647 w 112"/>
              <a:gd name="T51" fmla="*/ 2147483647 h 216"/>
              <a:gd name="T52" fmla="*/ 2147483647 w 112"/>
              <a:gd name="T53" fmla="*/ 2147483647 h 216"/>
              <a:gd name="T54" fmla="*/ 2147483647 w 112"/>
              <a:gd name="T55" fmla="*/ 2147483647 h 216"/>
              <a:gd name="T56" fmla="*/ 2147483647 w 112"/>
              <a:gd name="T57" fmla="*/ 0 h 216"/>
              <a:gd name="T58" fmla="*/ 2147483647 w 112"/>
              <a:gd name="T59" fmla="*/ 2147483647 h 216"/>
              <a:gd name="T60" fmla="*/ 0 w 112"/>
              <a:gd name="T61" fmla="*/ 2147483647 h 21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12" h="216">
                <a:moveTo>
                  <a:pt x="0" y="8"/>
                </a:moveTo>
                <a:lnTo>
                  <a:pt x="16" y="32"/>
                </a:lnTo>
                <a:lnTo>
                  <a:pt x="32" y="40"/>
                </a:lnTo>
                <a:lnTo>
                  <a:pt x="40" y="48"/>
                </a:lnTo>
                <a:lnTo>
                  <a:pt x="32" y="56"/>
                </a:lnTo>
                <a:lnTo>
                  <a:pt x="64" y="88"/>
                </a:lnTo>
                <a:lnTo>
                  <a:pt x="64" y="96"/>
                </a:lnTo>
                <a:lnTo>
                  <a:pt x="80" y="112"/>
                </a:lnTo>
                <a:lnTo>
                  <a:pt x="88" y="128"/>
                </a:lnTo>
                <a:lnTo>
                  <a:pt x="88" y="160"/>
                </a:lnTo>
                <a:lnTo>
                  <a:pt x="72" y="176"/>
                </a:lnTo>
                <a:lnTo>
                  <a:pt x="64" y="184"/>
                </a:lnTo>
                <a:lnTo>
                  <a:pt x="48" y="192"/>
                </a:lnTo>
                <a:lnTo>
                  <a:pt x="56" y="200"/>
                </a:lnTo>
                <a:lnTo>
                  <a:pt x="56" y="216"/>
                </a:lnTo>
                <a:lnTo>
                  <a:pt x="80" y="208"/>
                </a:lnTo>
                <a:lnTo>
                  <a:pt x="80" y="192"/>
                </a:lnTo>
                <a:lnTo>
                  <a:pt x="88" y="192"/>
                </a:lnTo>
                <a:lnTo>
                  <a:pt x="112" y="176"/>
                </a:lnTo>
                <a:lnTo>
                  <a:pt x="112" y="144"/>
                </a:lnTo>
                <a:lnTo>
                  <a:pt x="104" y="120"/>
                </a:lnTo>
                <a:lnTo>
                  <a:pt x="56" y="72"/>
                </a:lnTo>
                <a:lnTo>
                  <a:pt x="48" y="64"/>
                </a:lnTo>
                <a:lnTo>
                  <a:pt x="56" y="48"/>
                </a:lnTo>
                <a:lnTo>
                  <a:pt x="64" y="32"/>
                </a:lnTo>
                <a:lnTo>
                  <a:pt x="80" y="24"/>
                </a:lnTo>
                <a:lnTo>
                  <a:pt x="64" y="16"/>
                </a:lnTo>
                <a:lnTo>
                  <a:pt x="56" y="8"/>
                </a:lnTo>
                <a:lnTo>
                  <a:pt x="40" y="0"/>
                </a:lnTo>
                <a:lnTo>
                  <a:pt x="8" y="8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8" name="Freeform 45"/>
          <p:cNvSpPr>
            <a:spLocks noChangeAspect="1"/>
          </p:cNvSpPr>
          <p:nvPr/>
        </p:nvSpPr>
        <p:spPr bwMode="auto">
          <a:xfrm>
            <a:off x="4641279" y="3312279"/>
            <a:ext cx="158750" cy="134937"/>
          </a:xfrm>
          <a:custGeom>
            <a:avLst/>
            <a:gdLst>
              <a:gd name="T0" fmla="*/ 0 w 72"/>
              <a:gd name="T1" fmla="*/ 2147483647 h 64"/>
              <a:gd name="T2" fmla="*/ 2147483647 w 72"/>
              <a:gd name="T3" fmla="*/ 2147483647 h 64"/>
              <a:gd name="T4" fmla="*/ 2147483647 w 72"/>
              <a:gd name="T5" fmla="*/ 2147483647 h 64"/>
              <a:gd name="T6" fmla="*/ 2147483647 w 72"/>
              <a:gd name="T7" fmla="*/ 2147483647 h 64"/>
              <a:gd name="T8" fmla="*/ 2147483647 w 72"/>
              <a:gd name="T9" fmla="*/ 2147483647 h 64"/>
              <a:gd name="T10" fmla="*/ 2147483647 w 72"/>
              <a:gd name="T11" fmla="*/ 0 h 64"/>
              <a:gd name="T12" fmla="*/ 2147483647 w 72"/>
              <a:gd name="T13" fmla="*/ 2147483647 h 64"/>
              <a:gd name="T14" fmla="*/ 2147483647 w 72"/>
              <a:gd name="T15" fmla="*/ 2147483647 h 64"/>
              <a:gd name="T16" fmla="*/ 2147483647 w 72"/>
              <a:gd name="T17" fmla="*/ 2147483647 h 64"/>
              <a:gd name="T18" fmla="*/ 2147483647 w 72"/>
              <a:gd name="T19" fmla="*/ 2147483647 h 64"/>
              <a:gd name="T20" fmla="*/ 2147483647 w 72"/>
              <a:gd name="T21" fmla="*/ 2147483647 h 64"/>
              <a:gd name="T22" fmla="*/ 2147483647 w 72"/>
              <a:gd name="T23" fmla="*/ 2147483647 h 64"/>
              <a:gd name="T24" fmla="*/ 0 w 72"/>
              <a:gd name="T25" fmla="*/ 2147483647 h 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72" h="64">
                <a:moveTo>
                  <a:pt x="0" y="24"/>
                </a:moveTo>
                <a:lnTo>
                  <a:pt x="8" y="8"/>
                </a:lnTo>
                <a:lnTo>
                  <a:pt x="40" y="8"/>
                </a:lnTo>
                <a:lnTo>
                  <a:pt x="48" y="8"/>
                </a:lnTo>
                <a:lnTo>
                  <a:pt x="56" y="8"/>
                </a:lnTo>
                <a:lnTo>
                  <a:pt x="72" y="0"/>
                </a:lnTo>
                <a:lnTo>
                  <a:pt x="72" y="32"/>
                </a:lnTo>
                <a:lnTo>
                  <a:pt x="56" y="48"/>
                </a:lnTo>
                <a:lnTo>
                  <a:pt x="48" y="56"/>
                </a:lnTo>
                <a:lnTo>
                  <a:pt x="32" y="64"/>
                </a:lnTo>
                <a:lnTo>
                  <a:pt x="16" y="56"/>
                </a:lnTo>
                <a:lnTo>
                  <a:pt x="8" y="40"/>
                </a:lnTo>
                <a:lnTo>
                  <a:pt x="0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9" name="Freeform 46"/>
          <p:cNvSpPr>
            <a:spLocks noChangeAspect="1"/>
          </p:cNvSpPr>
          <p:nvPr/>
        </p:nvSpPr>
        <p:spPr bwMode="auto">
          <a:xfrm>
            <a:off x="4552379" y="3061454"/>
            <a:ext cx="247650" cy="266700"/>
          </a:xfrm>
          <a:custGeom>
            <a:avLst/>
            <a:gdLst>
              <a:gd name="T0" fmla="*/ 2147483647 w 112"/>
              <a:gd name="T1" fmla="*/ 2147483647 h 128"/>
              <a:gd name="T2" fmla="*/ 2147483647 w 112"/>
              <a:gd name="T3" fmla="*/ 2147483647 h 128"/>
              <a:gd name="T4" fmla="*/ 2147483647 w 112"/>
              <a:gd name="T5" fmla="*/ 2147483647 h 128"/>
              <a:gd name="T6" fmla="*/ 2147483647 w 112"/>
              <a:gd name="T7" fmla="*/ 2147483647 h 128"/>
              <a:gd name="T8" fmla="*/ 2147483647 w 112"/>
              <a:gd name="T9" fmla="*/ 2147483647 h 128"/>
              <a:gd name="T10" fmla="*/ 2147483647 w 112"/>
              <a:gd name="T11" fmla="*/ 2147483647 h 128"/>
              <a:gd name="T12" fmla="*/ 2147483647 w 112"/>
              <a:gd name="T13" fmla="*/ 2147483647 h 128"/>
              <a:gd name="T14" fmla="*/ 2147483647 w 112"/>
              <a:gd name="T15" fmla="*/ 2147483647 h 128"/>
              <a:gd name="T16" fmla="*/ 2147483647 w 112"/>
              <a:gd name="T17" fmla="*/ 0 h 128"/>
              <a:gd name="T18" fmla="*/ 2147483647 w 112"/>
              <a:gd name="T19" fmla="*/ 0 h 128"/>
              <a:gd name="T20" fmla="*/ 2147483647 w 112"/>
              <a:gd name="T21" fmla="*/ 2147483647 h 128"/>
              <a:gd name="T22" fmla="*/ 2147483647 w 112"/>
              <a:gd name="T23" fmla="*/ 2147483647 h 128"/>
              <a:gd name="T24" fmla="*/ 2147483647 w 112"/>
              <a:gd name="T25" fmla="*/ 2147483647 h 128"/>
              <a:gd name="T26" fmla="*/ 0 w 112"/>
              <a:gd name="T27" fmla="*/ 2147483647 h 128"/>
              <a:gd name="T28" fmla="*/ 2147483647 w 112"/>
              <a:gd name="T29" fmla="*/ 2147483647 h 128"/>
              <a:gd name="T30" fmla="*/ 2147483647 w 112"/>
              <a:gd name="T31" fmla="*/ 2147483647 h 128"/>
              <a:gd name="T32" fmla="*/ 2147483647 w 112"/>
              <a:gd name="T33" fmla="*/ 2147483647 h 128"/>
              <a:gd name="T34" fmla="*/ 2147483647 w 112"/>
              <a:gd name="T35" fmla="*/ 2147483647 h 128"/>
              <a:gd name="T36" fmla="*/ 2147483647 w 112"/>
              <a:gd name="T37" fmla="*/ 2147483647 h 128"/>
              <a:gd name="T38" fmla="*/ 2147483647 w 112"/>
              <a:gd name="T39" fmla="*/ 2147483647 h 128"/>
              <a:gd name="T40" fmla="*/ 2147483647 w 112"/>
              <a:gd name="T41" fmla="*/ 2147483647 h 128"/>
              <a:gd name="T42" fmla="*/ 2147483647 w 112"/>
              <a:gd name="T43" fmla="*/ 2147483647 h 128"/>
              <a:gd name="T44" fmla="*/ 2147483647 w 112"/>
              <a:gd name="T45" fmla="*/ 2147483647 h 128"/>
              <a:gd name="T46" fmla="*/ 2147483647 w 112"/>
              <a:gd name="T47" fmla="*/ 2147483647 h 128"/>
              <a:gd name="T48" fmla="*/ 2147483647 w 112"/>
              <a:gd name="T49" fmla="*/ 2147483647 h 128"/>
              <a:gd name="T50" fmla="*/ 2147483647 w 112"/>
              <a:gd name="T51" fmla="*/ 2147483647 h 128"/>
              <a:gd name="T52" fmla="*/ 2147483647 w 112"/>
              <a:gd name="T53" fmla="*/ 2147483647 h 12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12" h="128">
                <a:moveTo>
                  <a:pt x="112" y="120"/>
                </a:moveTo>
                <a:lnTo>
                  <a:pt x="104" y="104"/>
                </a:lnTo>
                <a:lnTo>
                  <a:pt x="88" y="88"/>
                </a:lnTo>
                <a:lnTo>
                  <a:pt x="88" y="80"/>
                </a:lnTo>
                <a:lnTo>
                  <a:pt x="56" y="48"/>
                </a:lnTo>
                <a:lnTo>
                  <a:pt x="64" y="40"/>
                </a:lnTo>
                <a:lnTo>
                  <a:pt x="56" y="32"/>
                </a:lnTo>
                <a:lnTo>
                  <a:pt x="40" y="24"/>
                </a:lnTo>
                <a:lnTo>
                  <a:pt x="24" y="0"/>
                </a:lnTo>
                <a:lnTo>
                  <a:pt x="16" y="0"/>
                </a:lnTo>
                <a:lnTo>
                  <a:pt x="16" y="16"/>
                </a:lnTo>
                <a:lnTo>
                  <a:pt x="16" y="24"/>
                </a:lnTo>
                <a:lnTo>
                  <a:pt x="16" y="16"/>
                </a:lnTo>
                <a:lnTo>
                  <a:pt x="0" y="32"/>
                </a:lnTo>
                <a:lnTo>
                  <a:pt x="8" y="40"/>
                </a:lnTo>
                <a:lnTo>
                  <a:pt x="16" y="48"/>
                </a:lnTo>
                <a:lnTo>
                  <a:pt x="16" y="72"/>
                </a:lnTo>
                <a:lnTo>
                  <a:pt x="32" y="64"/>
                </a:lnTo>
                <a:lnTo>
                  <a:pt x="40" y="72"/>
                </a:lnTo>
                <a:lnTo>
                  <a:pt x="48" y="64"/>
                </a:lnTo>
                <a:lnTo>
                  <a:pt x="64" y="80"/>
                </a:lnTo>
                <a:lnTo>
                  <a:pt x="72" y="96"/>
                </a:lnTo>
                <a:lnTo>
                  <a:pt x="80" y="112"/>
                </a:lnTo>
                <a:lnTo>
                  <a:pt x="80" y="128"/>
                </a:lnTo>
                <a:lnTo>
                  <a:pt x="88" y="128"/>
                </a:lnTo>
                <a:lnTo>
                  <a:pt x="96" y="128"/>
                </a:lnTo>
                <a:lnTo>
                  <a:pt x="112" y="12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0" name="Freeform 47"/>
          <p:cNvSpPr>
            <a:spLocks noChangeAspect="1"/>
          </p:cNvSpPr>
          <p:nvPr/>
        </p:nvSpPr>
        <p:spPr bwMode="auto">
          <a:xfrm>
            <a:off x="3680842" y="2088316"/>
            <a:ext cx="1528762" cy="1039813"/>
          </a:xfrm>
          <a:custGeom>
            <a:avLst/>
            <a:gdLst>
              <a:gd name="T0" fmla="*/ 2147483647 w 688"/>
              <a:gd name="T1" fmla="*/ 2147483647 h 496"/>
              <a:gd name="T2" fmla="*/ 2147483647 w 688"/>
              <a:gd name="T3" fmla="*/ 2147483647 h 496"/>
              <a:gd name="T4" fmla="*/ 2147483647 w 688"/>
              <a:gd name="T5" fmla="*/ 2147483647 h 496"/>
              <a:gd name="T6" fmla="*/ 2147483647 w 688"/>
              <a:gd name="T7" fmla="*/ 2147483647 h 496"/>
              <a:gd name="T8" fmla="*/ 2147483647 w 688"/>
              <a:gd name="T9" fmla="*/ 2147483647 h 496"/>
              <a:gd name="T10" fmla="*/ 2147483647 w 688"/>
              <a:gd name="T11" fmla="*/ 2147483647 h 496"/>
              <a:gd name="T12" fmla="*/ 2147483647 w 688"/>
              <a:gd name="T13" fmla="*/ 2147483647 h 496"/>
              <a:gd name="T14" fmla="*/ 2147483647 w 688"/>
              <a:gd name="T15" fmla="*/ 2147483647 h 496"/>
              <a:gd name="T16" fmla="*/ 2147483647 w 688"/>
              <a:gd name="T17" fmla="*/ 2147483647 h 496"/>
              <a:gd name="T18" fmla="*/ 2147483647 w 688"/>
              <a:gd name="T19" fmla="*/ 2147483647 h 496"/>
              <a:gd name="T20" fmla="*/ 2147483647 w 688"/>
              <a:gd name="T21" fmla="*/ 0 h 496"/>
              <a:gd name="T22" fmla="*/ 2147483647 w 688"/>
              <a:gd name="T23" fmla="*/ 2147483647 h 496"/>
              <a:gd name="T24" fmla="*/ 2147483647 w 688"/>
              <a:gd name="T25" fmla="*/ 2147483647 h 496"/>
              <a:gd name="T26" fmla="*/ 2147483647 w 688"/>
              <a:gd name="T27" fmla="*/ 2147483647 h 496"/>
              <a:gd name="T28" fmla="*/ 2147483647 w 688"/>
              <a:gd name="T29" fmla="*/ 2147483647 h 496"/>
              <a:gd name="T30" fmla="*/ 2147483647 w 688"/>
              <a:gd name="T31" fmla="*/ 2147483647 h 496"/>
              <a:gd name="T32" fmla="*/ 2147483647 w 688"/>
              <a:gd name="T33" fmla="*/ 2147483647 h 496"/>
              <a:gd name="T34" fmla="*/ 2147483647 w 688"/>
              <a:gd name="T35" fmla="*/ 2147483647 h 496"/>
              <a:gd name="T36" fmla="*/ 2147483647 w 688"/>
              <a:gd name="T37" fmla="*/ 2147483647 h 496"/>
              <a:gd name="T38" fmla="*/ 2147483647 w 688"/>
              <a:gd name="T39" fmla="*/ 2147483647 h 496"/>
              <a:gd name="T40" fmla="*/ 2147483647 w 688"/>
              <a:gd name="T41" fmla="*/ 2147483647 h 496"/>
              <a:gd name="T42" fmla="*/ 2147483647 w 688"/>
              <a:gd name="T43" fmla="*/ 2147483647 h 496"/>
              <a:gd name="T44" fmla="*/ 2147483647 w 688"/>
              <a:gd name="T45" fmla="*/ 2147483647 h 496"/>
              <a:gd name="T46" fmla="*/ 2147483647 w 688"/>
              <a:gd name="T47" fmla="*/ 2147483647 h 496"/>
              <a:gd name="T48" fmla="*/ 2147483647 w 688"/>
              <a:gd name="T49" fmla="*/ 2147483647 h 496"/>
              <a:gd name="T50" fmla="*/ 2147483647 w 688"/>
              <a:gd name="T51" fmla="*/ 2147483647 h 496"/>
              <a:gd name="T52" fmla="*/ 2147483647 w 688"/>
              <a:gd name="T53" fmla="*/ 2147483647 h 496"/>
              <a:gd name="T54" fmla="*/ 2147483647 w 688"/>
              <a:gd name="T55" fmla="*/ 2147483647 h 496"/>
              <a:gd name="T56" fmla="*/ 2147483647 w 688"/>
              <a:gd name="T57" fmla="*/ 2147483647 h 496"/>
              <a:gd name="T58" fmla="*/ 2147483647 w 688"/>
              <a:gd name="T59" fmla="*/ 2147483647 h 496"/>
              <a:gd name="T60" fmla="*/ 2147483647 w 688"/>
              <a:gd name="T61" fmla="*/ 2147483647 h 496"/>
              <a:gd name="T62" fmla="*/ 2147483647 w 688"/>
              <a:gd name="T63" fmla="*/ 2147483647 h 496"/>
              <a:gd name="T64" fmla="*/ 2147483647 w 688"/>
              <a:gd name="T65" fmla="*/ 2147483647 h 496"/>
              <a:gd name="T66" fmla="*/ 2147483647 w 688"/>
              <a:gd name="T67" fmla="*/ 2147483647 h 496"/>
              <a:gd name="T68" fmla="*/ 2147483647 w 688"/>
              <a:gd name="T69" fmla="*/ 2147483647 h 496"/>
              <a:gd name="T70" fmla="*/ 2147483647 w 688"/>
              <a:gd name="T71" fmla="*/ 2147483647 h 496"/>
              <a:gd name="T72" fmla="*/ 2147483647 w 688"/>
              <a:gd name="T73" fmla="*/ 2147483647 h 496"/>
              <a:gd name="T74" fmla="*/ 2147483647 w 688"/>
              <a:gd name="T75" fmla="*/ 2147483647 h 496"/>
              <a:gd name="T76" fmla="*/ 2147483647 w 688"/>
              <a:gd name="T77" fmla="*/ 2147483647 h 496"/>
              <a:gd name="T78" fmla="*/ 2147483647 w 688"/>
              <a:gd name="T79" fmla="*/ 2147483647 h 496"/>
              <a:gd name="T80" fmla="*/ 2147483647 w 688"/>
              <a:gd name="T81" fmla="*/ 2147483647 h 496"/>
              <a:gd name="T82" fmla="*/ 2147483647 w 688"/>
              <a:gd name="T83" fmla="*/ 2147483647 h 496"/>
              <a:gd name="T84" fmla="*/ 2147483647 w 688"/>
              <a:gd name="T85" fmla="*/ 2147483647 h 496"/>
              <a:gd name="T86" fmla="*/ 2147483647 w 688"/>
              <a:gd name="T87" fmla="*/ 2147483647 h 496"/>
              <a:gd name="T88" fmla="*/ 2147483647 w 688"/>
              <a:gd name="T89" fmla="*/ 2147483647 h 496"/>
              <a:gd name="T90" fmla="*/ 2147483647 w 688"/>
              <a:gd name="T91" fmla="*/ 2147483647 h 496"/>
              <a:gd name="T92" fmla="*/ 2147483647 w 688"/>
              <a:gd name="T93" fmla="*/ 2147483647 h 496"/>
              <a:gd name="T94" fmla="*/ 2147483647 w 688"/>
              <a:gd name="T95" fmla="*/ 2147483647 h 496"/>
              <a:gd name="T96" fmla="*/ 0 w 688"/>
              <a:gd name="T97" fmla="*/ 2147483647 h 496"/>
              <a:gd name="T98" fmla="*/ 2147483647 w 688"/>
              <a:gd name="T99" fmla="*/ 2147483647 h 496"/>
              <a:gd name="T100" fmla="*/ 2147483647 w 688"/>
              <a:gd name="T101" fmla="*/ 2147483647 h 496"/>
              <a:gd name="T102" fmla="*/ 2147483647 w 688"/>
              <a:gd name="T103" fmla="*/ 2147483647 h 496"/>
              <a:gd name="T104" fmla="*/ 2147483647 w 688"/>
              <a:gd name="T105" fmla="*/ 2147483647 h 496"/>
              <a:gd name="T106" fmla="*/ 2147483647 w 688"/>
              <a:gd name="T107" fmla="*/ 2147483647 h 49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688" h="496">
                <a:moveTo>
                  <a:pt x="112" y="72"/>
                </a:moveTo>
                <a:lnTo>
                  <a:pt x="120" y="64"/>
                </a:lnTo>
                <a:lnTo>
                  <a:pt x="136" y="80"/>
                </a:lnTo>
                <a:lnTo>
                  <a:pt x="152" y="88"/>
                </a:lnTo>
                <a:lnTo>
                  <a:pt x="168" y="96"/>
                </a:lnTo>
                <a:lnTo>
                  <a:pt x="176" y="120"/>
                </a:lnTo>
                <a:lnTo>
                  <a:pt x="232" y="136"/>
                </a:lnTo>
                <a:lnTo>
                  <a:pt x="264" y="160"/>
                </a:lnTo>
                <a:lnTo>
                  <a:pt x="312" y="160"/>
                </a:lnTo>
                <a:lnTo>
                  <a:pt x="368" y="176"/>
                </a:lnTo>
                <a:lnTo>
                  <a:pt x="400" y="168"/>
                </a:lnTo>
                <a:lnTo>
                  <a:pt x="424" y="160"/>
                </a:lnTo>
                <a:lnTo>
                  <a:pt x="440" y="144"/>
                </a:lnTo>
                <a:lnTo>
                  <a:pt x="432" y="136"/>
                </a:lnTo>
                <a:lnTo>
                  <a:pt x="440" y="128"/>
                </a:lnTo>
                <a:lnTo>
                  <a:pt x="456" y="128"/>
                </a:lnTo>
                <a:lnTo>
                  <a:pt x="464" y="120"/>
                </a:lnTo>
                <a:lnTo>
                  <a:pt x="472" y="112"/>
                </a:lnTo>
                <a:lnTo>
                  <a:pt x="480" y="104"/>
                </a:lnTo>
                <a:lnTo>
                  <a:pt x="504" y="104"/>
                </a:lnTo>
                <a:lnTo>
                  <a:pt x="496" y="88"/>
                </a:lnTo>
                <a:lnTo>
                  <a:pt x="488" y="80"/>
                </a:lnTo>
                <a:lnTo>
                  <a:pt x="472" y="88"/>
                </a:lnTo>
                <a:lnTo>
                  <a:pt x="456" y="88"/>
                </a:lnTo>
                <a:lnTo>
                  <a:pt x="440" y="64"/>
                </a:lnTo>
                <a:lnTo>
                  <a:pt x="448" y="56"/>
                </a:lnTo>
                <a:lnTo>
                  <a:pt x="464" y="56"/>
                </a:lnTo>
                <a:lnTo>
                  <a:pt x="480" y="48"/>
                </a:lnTo>
                <a:lnTo>
                  <a:pt x="472" y="32"/>
                </a:lnTo>
                <a:lnTo>
                  <a:pt x="480" y="24"/>
                </a:lnTo>
                <a:lnTo>
                  <a:pt x="464" y="16"/>
                </a:lnTo>
                <a:lnTo>
                  <a:pt x="472" y="8"/>
                </a:lnTo>
                <a:lnTo>
                  <a:pt x="496" y="0"/>
                </a:lnTo>
                <a:lnTo>
                  <a:pt x="528" y="8"/>
                </a:lnTo>
                <a:lnTo>
                  <a:pt x="560" y="40"/>
                </a:lnTo>
                <a:lnTo>
                  <a:pt x="576" y="56"/>
                </a:lnTo>
                <a:lnTo>
                  <a:pt x="600" y="64"/>
                </a:lnTo>
                <a:lnTo>
                  <a:pt x="624" y="72"/>
                </a:lnTo>
                <a:lnTo>
                  <a:pt x="640" y="88"/>
                </a:lnTo>
                <a:lnTo>
                  <a:pt x="648" y="88"/>
                </a:lnTo>
                <a:lnTo>
                  <a:pt x="672" y="72"/>
                </a:lnTo>
                <a:lnTo>
                  <a:pt x="680" y="88"/>
                </a:lnTo>
                <a:lnTo>
                  <a:pt x="680" y="96"/>
                </a:lnTo>
                <a:lnTo>
                  <a:pt x="688" y="128"/>
                </a:lnTo>
                <a:lnTo>
                  <a:pt x="672" y="120"/>
                </a:lnTo>
                <a:lnTo>
                  <a:pt x="664" y="128"/>
                </a:lnTo>
                <a:lnTo>
                  <a:pt x="680" y="152"/>
                </a:lnTo>
                <a:lnTo>
                  <a:pt x="680" y="160"/>
                </a:lnTo>
                <a:lnTo>
                  <a:pt x="664" y="160"/>
                </a:lnTo>
                <a:lnTo>
                  <a:pt x="664" y="168"/>
                </a:lnTo>
                <a:lnTo>
                  <a:pt x="656" y="176"/>
                </a:lnTo>
                <a:lnTo>
                  <a:pt x="656" y="184"/>
                </a:lnTo>
                <a:lnTo>
                  <a:pt x="640" y="176"/>
                </a:lnTo>
                <a:lnTo>
                  <a:pt x="616" y="208"/>
                </a:lnTo>
                <a:lnTo>
                  <a:pt x="608" y="208"/>
                </a:lnTo>
                <a:lnTo>
                  <a:pt x="592" y="224"/>
                </a:lnTo>
                <a:lnTo>
                  <a:pt x="592" y="216"/>
                </a:lnTo>
                <a:lnTo>
                  <a:pt x="584" y="208"/>
                </a:lnTo>
                <a:lnTo>
                  <a:pt x="592" y="192"/>
                </a:lnTo>
                <a:lnTo>
                  <a:pt x="584" y="192"/>
                </a:lnTo>
                <a:lnTo>
                  <a:pt x="576" y="184"/>
                </a:lnTo>
                <a:lnTo>
                  <a:pt x="568" y="200"/>
                </a:lnTo>
                <a:lnTo>
                  <a:pt x="560" y="208"/>
                </a:lnTo>
                <a:lnTo>
                  <a:pt x="560" y="216"/>
                </a:lnTo>
                <a:lnTo>
                  <a:pt x="544" y="216"/>
                </a:lnTo>
                <a:lnTo>
                  <a:pt x="544" y="224"/>
                </a:lnTo>
                <a:lnTo>
                  <a:pt x="576" y="248"/>
                </a:lnTo>
                <a:lnTo>
                  <a:pt x="584" y="248"/>
                </a:lnTo>
                <a:lnTo>
                  <a:pt x="592" y="232"/>
                </a:lnTo>
                <a:lnTo>
                  <a:pt x="616" y="240"/>
                </a:lnTo>
                <a:lnTo>
                  <a:pt x="616" y="248"/>
                </a:lnTo>
                <a:lnTo>
                  <a:pt x="608" y="248"/>
                </a:lnTo>
                <a:lnTo>
                  <a:pt x="600" y="256"/>
                </a:lnTo>
                <a:lnTo>
                  <a:pt x="584" y="280"/>
                </a:lnTo>
                <a:lnTo>
                  <a:pt x="608" y="288"/>
                </a:lnTo>
                <a:lnTo>
                  <a:pt x="624" y="312"/>
                </a:lnTo>
                <a:lnTo>
                  <a:pt x="640" y="328"/>
                </a:lnTo>
                <a:lnTo>
                  <a:pt x="632" y="328"/>
                </a:lnTo>
                <a:lnTo>
                  <a:pt x="640" y="336"/>
                </a:lnTo>
                <a:lnTo>
                  <a:pt x="624" y="344"/>
                </a:lnTo>
                <a:lnTo>
                  <a:pt x="648" y="352"/>
                </a:lnTo>
                <a:lnTo>
                  <a:pt x="648" y="376"/>
                </a:lnTo>
                <a:lnTo>
                  <a:pt x="640" y="384"/>
                </a:lnTo>
                <a:lnTo>
                  <a:pt x="632" y="400"/>
                </a:lnTo>
                <a:lnTo>
                  <a:pt x="632" y="416"/>
                </a:lnTo>
                <a:lnTo>
                  <a:pt x="624" y="432"/>
                </a:lnTo>
                <a:lnTo>
                  <a:pt x="616" y="432"/>
                </a:lnTo>
                <a:lnTo>
                  <a:pt x="616" y="440"/>
                </a:lnTo>
                <a:lnTo>
                  <a:pt x="600" y="456"/>
                </a:lnTo>
                <a:lnTo>
                  <a:pt x="576" y="464"/>
                </a:lnTo>
                <a:lnTo>
                  <a:pt x="576" y="472"/>
                </a:lnTo>
                <a:lnTo>
                  <a:pt x="568" y="464"/>
                </a:lnTo>
                <a:lnTo>
                  <a:pt x="568" y="472"/>
                </a:lnTo>
                <a:lnTo>
                  <a:pt x="560" y="464"/>
                </a:lnTo>
                <a:lnTo>
                  <a:pt x="560" y="472"/>
                </a:lnTo>
                <a:lnTo>
                  <a:pt x="528" y="488"/>
                </a:lnTo>
                <a:lnTo>
                  <a:pt x="528" y="496"/>
                </a:lnTo>
                <a:lnTo>
                  <a:pt x="520" y="496"/>
                </a:lnTo>
                <a:lnTo>
                  <a:pt x="520" y="480"/>
                </a:lnTo>
                <a:lnTo>
                  <a:pt x="496" y="480"/>
                </a:lnTo>
                <a:lnTo>
                  <a:pt x="480" y="472"/>
                </a:lnTo>
                <a:lnTo>
                  <a:pt x="472" y="464"/>
                </a:lnTo>
                <a:lnTo>
                  <a:pt x="456" y="456"/>
                </a:lnTo>
                <a:lnTo>
                  <a:pt x="424" y="464"/>
                </a:lnTo>
                <a:lnTo>
                  <a:pt x="416" y="464"/>
                </a:lnTo>
                <a:lnTo>
                  <a:pt x="408" y="464"/>
                </a:lnTo>
                <a:lnTo>
                  <a:pt x="408" y="480"/>
                </a:lnTo>
                <a:lnTo>
                  <a:pt x="408" y="488"/>
                </a:lnTo>
                <a:lnTo>
                  <a:pt x="408" y="480"/>
                </a:lnTo>
                <a:lnTo>
                  <a:pt x="392" y="480"/>
                </a:lnTo>
                <a:lnTo>
                  <a:pt x="376" y="472"/>
                </a:lnTo>
                <a:lnTo>
                  <a:pt x="376" y="456"/>
                </a:lnTo>
                <a:lnTo>
                  <a:pt x="368" y="456"/>
                </a:lnTo>
                <a:lnTo>
                  <a:pt x="368" y="440"/>
                </a:lnTo>
                <a:lnTo>
                  <a:pt x="352" y="448"/>
                </a:lnTo>
                <a:lnTo>
                  <a:pt x="360" y="400"/>
                </a:lnTo>
                <a:lnTo>
                  <a:pt x="352" y="384"/>
                </a:lnTo>
                <a:lnTo>
                  <a:pt x="336" y="384"/>
                </a:lnTo>
                <a:lnTo>
                  <a:pt x="312" y="360"/>
                </a:lnTo>
                <a:lnTo>
                  <a:pt x="296" y="360"/>
                </a:lnTo>
                <a:lnTo>
                  <a:pt x="280" y="376"/>
                </a:lnTo>
                <a:lnTo>
                  <a:pt x="264" y="384"/>
                </a:lnTo>
                <a:lnTo>
                  <a:pt x="240" y="376"/>
                </a:lnTo>
                <a:lnTo>
                  <a:pt x="232" y="392"/>
                </a:lnTo>
                <a:lnTo>
                  <a:pt x="224" y="384"/>
                </a:lnTo>
                <a:lnTo>
                  <a:pt x="216" y="384"/>
                </a:lnTo>
                <a:lnTo>
                  <a:pt x="192" y="384"/>
                </a:lnTo>
                <a:lnTo>
                  <a:pt x="160" y="360"/>
                </a:lnTo>
                <a:lnTo>
                  <a:pt x="152" y="368"/>
                </a:lnTo>
                <a:lnTo>
                  <a:pt x="136" y="352"/>
                </a:lnTo>
                <a:lnTo>
                  <a:pt x="120" y="352"/>
                </a:lnTo>
                <a:lnTo>
                  <a:pt x="96" y="336"/>
                </a:lnTo>
                <a:lnTo>
                  <a:pt x="80" y="320"/>
                </a:lnTo>
                <a:lnTo>
                  <a:pt x="80" y="312"/>
                </a:lnTo>
                <a:lnTo>
                  <a:pt x="96" y="312"/>
                </a:lnTo>
                <a:lnTo>
                  <a:pt x="88" y="296"/>
                </a:lnTo>
                <a:lnTo>
                  <a:pt x="96" y="280"/>
                </a:lnTo>
                <a:lnTo>
                  <a:pt x="96" y="272"/>
                </a:lnTo>
                <a:lnTo>
                  <a:pt x="80" y="264"/>
                </a:lnTo>
                <a:lnTo>
                  <a:pt x="64" y="272"/>
                </a:lnTo>
                <a:lnTo>
                  <a:pt x="40" y="264"/>
                </a:lnTo>
                <a:lnTo>
                  <a:pt x="32" y="248"/>
                </a:lnTo>
                <a:lnTo>
                  <a:pt x="16" y="248"/>
                </a:lnTo>
                <a:lnTo>
                  <a:pt x="16" y="240"/>
                </a:lnTo>
                <a:lnTo>
                  <a:pt x="16" y="224"/>
                </a:lnTo>
                <a:lnTo>
                  <a:pt x="8" y="224"/>
                </a:lnTo>
                <a:lnTo>
                  <a:pt x="0" y="216"/>
                </a:lnTo>
                <a:lnTo>
                  <a:pt x="0" y="208"/>
                </a:lnTo>
                <a:lnTo>
                  <a:pt x="0" y="200"/>
                </a:lnTo>
                <a:lnTo>
                  <a:pt x="8" y="192"/>
                </a:lnTo>
                <a:lnTo>
                  <a:pt x="32" y="192"/>
                </a:lnTo>
                <a:lnTo>
                  <a:pt x="32" y="184"/>
                </a:lnTo>
                <a:lnTo>
                  <a:pt x="48" y="184"/>
                </a:lnTo>
                <a:lnTo>
                  <a:pt x="64" y="176"/>
                </a:lnTo>
                <a:lnTo>
                  <a:pt x="64" y="168"/>
                </a:lnTo>
                <a:lnTo>
                  <a:pt x="64" y="152"/>
                </a:lnTo>
                <a:lnTo>
                  <a:pt x="56" y="128"/>
                </a:lnTo>
                <a:lnTo>
                  <a:pt x="72" y="120"/>
                </a:lnTo>
                <a:lnTo>
                  <a:pt x="72" y="96"/>
                </a:lnTo>
                <a:lnTo>
                  <a:pt x="96" y="96"/>
                </a:lnTo>
                <a:lnTo>
                  <a:pt x="104" y="96"/>
                </a:lnTo>
                <a:lnTo>
                  <a:pt x="104" y="80"/>
                </a:lnTo>
                <a:lnTo>
                  <a:pt x="112" y="7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1" name="Freeform 48"/>
          <p:cNvSpPr>
            <a:spLocks noChangeAspect="1"/>
          </p:cNvSpPr>
          <p:nvPr/>
        </p:nvSpPr>
        <p:spPr bwMode="auto">
          <a:xfrm>
            <a:off x="4177729" y="2942391"/>
            <a:ext cx="142875" cy="169863"/>
          </a:xfrm>
          <a:custGeom>
            <a:avLst/>
            <a:gdLst>
              <a:gd name="T0" fmla="*/ 2147483647 w 64"/>
              <a:gd name="T1" fmla="*/ 2147483647 h 80"/>
              <a:gd name="T2" fmla="*/ 0 w 64"/>
              <a:gd name="T3" fmla="*/ 2147483647 h 80"/>
              <a:gd name="T4" fmla="*/ 2147483647 w 64"/>
              <a:gd name="T5" fmla="*/ 2147483647 h 80"/>
              <a:gd name="T6" fmla="*/ 0 w 64"/>
              <a:gd name="T7" fmla="*/ 2147483647 h 80"/>
              <a:gd name="T8" fmla="*/ 0 w 64"/>
              <a:gd name="T9" fmla="*/ 0 h 80"/>
              <a:gd name="T10" fmla="*/ 2147483647 w 64"/>
              <a:gd name="T11" fmla="*/ 0 h 80"/>
              <a:gd name="T12" fmla="*/ 2147483647 w 64"/>
              <a:gd name="T13" fmla="*/ 0 h 80"/>
              <a:gd name="T14" fmla="*/ 2147483647 w 64"/>
              <a:gd name="T15" fmla="*/ 2147483647 h 80"/>
              <a:gd name="T16" fmla="*/ 2147483647 w 64"/>
              <a:gd name="T17" fmla="*/ 2147483647 h 80"/>
              <a:gd name="T18" fmla="*/ 2147483647 w 64"/>
              <a:gd name="T19" fmla="*/ 2147483647 h 80"/>
              <a:gd name="T20" fmla="*/ 2147483647 w 64"/>
              <a:gd name="T21" fmla="*/ 2147483647 h 80"/>
              <a:gd name="T22" fmla="*/ 2147483647 w 64"/>
              <a:gd name="T23" fmla="*/ 2147483647 h 80"/>
              <a:gd name="T24" fmla="*/ 2147483647 w 64"/>
              <a:gd name="T25" fmla="*/ 2147483647 h 80"/>
              <a:gd name="T26" fmla="*/ 2147483647 w 64"/>
              <a:gd name="T27" fmla="*/ 2147483647 h 80"/>
              <a:gd name="T28" fmla="*/ 2147483647 w 64"/>
              <a:gd name="T29" fmla="*/ 2147483647 h 80"/>
              <a:gd name="T30" fmla="*/ 2147483647 w 64"/>
              <a:gd name="T31" fmla="*/ 2147483647 h 80"/>
              <a:gd name="T32" fmla="*/ 2147483647 w 64"/>
              <a:gd name="T33" fmla="*/ 2147483647 h 80"/>
              <a:gd name="T34" fmla="*/ 2147483647 w 64"/>
              <a:gd name="T35" fmla="*/ 2147483647 h 80"/>
              <a:gd name="T36" fmla="*/ 2147483647 w 64"/>
              <a:gd name="T37" fmla="*/ 2147483647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4" h="80">
                <a:moveTo>
                  <a:pt x="8" y="32"/>
                </a:moveTo>
                <a:lnTo>
                  <a:pt x="0" y="24"/>
                </a:lnTo>
                <a:lnTo>
                  <a:pt x="8" y="16"/>
                </a:lnTo>
                <a:lnTo>
                  <a:pt x="0" y="8"/>
                </a:lnTo>
                <a:lnTo>
                  <a:pt x="0" y="0"/>
                </a:lnTo>
                <a:lnTo>
                  <a:pt x="8" y="0"/>
                </a:lnTo>
                <a:lnTo>
                  <a:pt x="16" y="0"/>
                </a:lnTo>
                <a:lnTo>
                  <a:pt x="24" y="16"/>
                </a:lnTo>
                <a:lnTo>
                  <a:pt x="56" y="16"/>
                </a:lnTo>
                <a:lnTo>
                  <a:pt x="40" y="32"/>
                </a:lnTo>
                <a:lnTo>
                  <a:pt x="40" y="40"/>
                </a:lnTo>
                <a:lnTo>
                  <a:pt x="56" y="48"/>
                </a:lnTo>
                <a:lnTo>
                  <a:pt x="56" y="40"/>
                </a:lnTo>
                <a:lnTo>
                  <a:pt x="64" y="64"/>
                </a:lnTo>
                <a:lnTo>
                  <a:pt x="64" y="80"/>
                </a:lnTo>
                <a:lnTo>
                  <a:pt x="48" y="56"/>
                </a:lnTo>
                <a:lnTo>
                  <a:pt x="40" y="72"/>
                </a:lnTo>
                <a:lnTo>
                  <a:pt x="16" y="72"/>
                </a:lnTo>
                <a:lnTo>
                  <a:pt x="8" y="3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2" name="Freeform 49"/>
          <p:cNvSpPr>
            <a:spLocks noChangeAspect="1"/>
          </p:cNvSpPr>
          <p:nvPr/>
        </p:nvSpPr>
        <p:spPr bwMode="auto">
          <a:xfrm>
            <a:off x="4195192" y="2875716"/>
            <a:ext cx="90487" cy="52388"/>
          </a:xfrm>
          <a:custGeom>
            <a:avLst/>
            <a:gdLst>
              <a:gd name="T0" fmla="*/ 2147483647 w 40"/>
              <a:gd name="T1" fmla="*/ 2147483647 h 24"/>
              <a:gd name="T2" fmla="*/ 2147483647 w 40"/>
              <a:gd name="T3" fmla="*/ 0 h 24"/>
              <a:gd name="T4" fmla="*/ 0 w 40"/>
              <a:gd name="T5" fmla="*/ 2147483647 h 24"/>
              <a:gd name="T6" fmla="*/ 0 w 40"/>
              <a:gd name="T7" fmla="*/ 2147483647 h 24"/>
              <a:gd name="T8" fmla="*/ 2147483647 w 40"/>
              <a:gd name="T9" fmla="*/ 2147483647 h 24"/>
              <a:gd name="T10" fmla="*/ 2147483647 w 40"/>
              <a:gd name="T11" fmla="*/ 2147483647 h 24"/>
              <a:gd name="T12" fmla="*/ 2147483647 w 40"/>
              <a:gd name="T13" fmla="*/ 2147483647 h 24"/>
              <a:gd name="T14" fmla="*/ 2147483647 w 40"/>
              <a:gd name="T15" fmla="*/ 2147483647 h 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0" h="24">
                <a:moveTo>
                  <a:pt x="32" y="8"/>
                </a:moveTo>
                <a:lnTo>
                  <a:pt x="8" y="0"/>
                </a:lnTo>
                <a:lnTo>
                  <a:pt x="0" y="16"/>
                </a:lnTo>
                <a:lnTo>
                  <a:pt x="0" y="24"/>
                </a:lnTo>
                <a:lnTo>
                  <a:pt x="8" y="24"/>
                </a:lnTo>
                <a:lnTo>
                  <a:pt x="40" y="24"/>
                </a:lnTo>
                <a:lnTo>
                  <a:pt x="40" y="16"/>
                </a:lnTo>
                <a:lnTo>
                  <a:pt x="32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3" name="Freeform 50"/>
          <p:cNvSpPr>
            <a:spLocks noChangeAspect="1"/>
          </p:cNvSpPr>
          <p:nvPr/>
        </p:nvSpPr>
        <p:spPr bwMode="auto">
          <a:xfrm>
            <a:off x="3609404" y="2640766"/>
            <a:ext cx="819150" cy="889000"/>
          </a:xfrm>
          <a:custGeom>
            <a:avLst/>
            <a:gdLst>
              <a:gd name="T0" fmla="*/ 2147483647 w 368"/>
              <a:gd name="T1" fmla="*/ 2147483647 h 424"/>
              <a:gd name="T2" fmla="*/ 2147483647 w 368"/>
              <a:gd name="T3" fmla="*/ 2147483647 h 424"/>
              <a:gd name="T4" fmla="*/ 2147483647 w 368"/>
              <a:gd name="T5" fmla="*/ 2147483647 h 424"/>
              <a:gd name="T6" fmla="*/ 2147483647 w 368"/>
              <a:gd name="T7" fmla="*/ 2147483647 h 424"/>
              <a:gd name="T8" fmla="*/ 2147483647 w 368"/>
              <a:gd name="T9" fmla="*/ 2147483647 h 424"/>
              <a:gd name="T10" fmla="*/ 2147483647 w 368"/>
              <a:gd name="T11" fmla="*/ 2147483647 h 424"/>
              <a:gd name="T12" fmla="*/ 2147483647 w 368"/>
              <a:gd name="T13" fmla="*/ 2147483647 h 424"/>
              <a:gd name="T14" fmla="*/ 2147483647 w 368"/>
              <a:gd name="T15" fmla="*/ 2147483647 h 424"/>
              <a:gd name="T16" fmla="*/ 2147483647 w 368"/>
              <a:gd name="T17" fmla="*/ 2147483647 h 424"/>
              <a:gd name="T18" fmla="*/ 2147483647 w 368"/>
              <a:gd name="T19" fmla="*/ 2147483647 h 424"/>
              <a:gd name="T20" fmla="*/ 2147483647 w 368"/>
              <a:gd name="T21" fmla="*/ 2147483647 h 424"/>
              <a:gd name="T22" fmla="*/ 2147483647 w 368"/>
              <a:gd name="T23" fmla="*/ 2147483647 h 424"/>
              <a:gd name="T24" fmla="*/ 2147483647 w 368"/>
              <a:gd name="T25" fmla="*/ 2147483647 h 424"/>
              <a:gd name="T26" fmla="*/ 2147483647 w 368"/>
              <a:gd name="T27" fmla="*/ 2147483647 h 424"/>
              <a:gd name="T28" fmla="*/ 2147483647 w 368"/>
              <a:gd name="T29" fmla="*/ 2147483647 h 424"/>
              <a:gd name="T30" fmla="*/ 2147483647 w 368"/>
              <a:gd name="T31" fmla="*/ 2147483647 h 424"/>
              <a:gd name="T32" fmla="*/ 2147483647 w 368"/>
              <a:gd name="T33" fmla="*/ 2147483647 h 424"/>
              <a:gd name="T34" fmla="*/ 2147483647 w 368"/>
              <a:gd name="T35" fmla="*/ 2147483647 h 424"/>
              <a:gd name="T36" fmla="*/ 2147483647 w 368"/>
              <a:gd name="T37" fmla="*/ 2147483647 h 424"/>
              <a:gd name="T38" fmla="*/ 2147483647 w 368"/>
              <a:gd name="T39" fmla="*/ 2147483647 h 424"/>
              <a:gd name="T40" fmla="*/ 2147483647 w 368"/>
              <a:gd name="T41" fmla="*/ 2147483647 h 424"/>
              <a:gd name="T42" fmla="*/ 2147483647 w 368"/>
              <a:gd name="T43" fmla="*/ 2147483647 h 424"/>
              <a:gd name="T44" fmla="*/ 2147483647 w 368"/>
              <a:gd name="T45" fmla="*/ 2147483647 h 424"/>
              <a:gd name="T46" fmla="*/ 2147483647 w 368"/>
              <a:gd name="T47" fmla="*/ 2147483647 h 424"/>
              <a:gd name="T48" fmla="*/ 2147483647 w 368"/>
              <a:gd name="T49" fmla="*/ 2147483647 h 424"/>
              <a:gd name="T50" fmla="*/ 2147483647 w 368"/>
              <a:gd name="T51" fmla="*/ 2147483647 h 424"/>
              <a:gd name="T52" fmla="*/ 2147483647 w 368"/>
              <a:gd name="T53" fmla="*/ 2147483647 h 424"/>
              <a:gd name="T54" fmla="*/ 2147483647 w 368"/>
              <a:gd name="T55" fmla="*/ 2147483647 h 424"/>
              <a:gd name="T56" fmla="*/ 2147483647 w 368"/>
              <a:gd name="T57" fmla="*/ 2147483647 h 424"/>
              <a:gd name="T58" fmla="*/ 2147483647 w 368"/>
              <a:gd name="T59" fmla="*/ 2147483647 h 424"/>
              <a:gd name="T60" fmla="*/ 2147483647 w 368"/>
              <a:gd name="T61" fmla="*/ 2147483647 h 424"/>
              <a:gd name="T62" fmla="*/ 2147483647 w 368"/>
              <a:gd name="T63" fmla="*/ 2147483647 h 424"/>
              <a:gd name="T64" fmla="*/ 2147483647 w 368"/>
              <a:gd name="T65" fmla="*/ 2147483647 h 424"/>
              <a:gd name="T66" fmla="*/ 2147483647 w 368"/>
              <a:gd name="T67" fmla="*/ 2147483647 h 424"/>
              <a:gd name="T68" fmla="*/ 2147483647 w 368"/>
              <a:gd name="T69" fmla="*/ 2147483647 h 424"/>
              <a:gd name="T70" fmla="*/ 2147483647 w 368"/>
              <a:gd name="T71" fmla="*/ 2147483647 h 424"/>
              <a:gd name="T72" fmla="*/ 2147483647 w 368"/>
              <a:gd name="T73" fmla="*/ 2147483647 h 424"/>
              <a:gd name="T74" fmla="*/ 2147483647 w 368"/>
              <a:gd name="T75" fmla="*/ 2147483647 h 424"/>
              <a:gd name="T76" fmla="*/ 2147483647 w 368"/>
              <a:gd name="T77" fmla="*/ 2147483647 h 424"/>
              <a:gd name="T78" fmla="*/ 2147483647 w 368"/>
              <a:gd name="T79" fmla="*/ 2147483647 h 424"/>
              <a:gd name="T80" fmla="*/ 2147483647 w 368"/>
              <a:gd name="T81" fmla="*/ 2147483647 h 424"/>
              <a:gd name="T82" fmla="*/ 2147483647 w 368"/>
              <a:gd name="T83" fmla="*/ 0 h 424"/>
              <a:gd name="T84" fmla="*/ 2147483647 w 368"/>
              <a:gd name="T85" fmla="*/ 2147483647 h 424"/>
              <a:gd name="T86" fmla="*/ 2147483647 w 368"/>
              <a:gd name="T87" fmla="*/ 2147483647 h 424"/>
              <a:gd name="T88" fmla="*/ 2147483647 w 368"/>
              <a:gd name="T89" fmla="*/ 2147483647 h 424"/>
              <a:gd name="T90" fmla="*/ 2147483647 w 368"/>
              <a:gd name="T91" fmla="*/ 2147483647 h 424"/>
              <a:gd name="T92" fmla="*/ 2147483647 w 368"/>
              <a:gd name="T93" fmla="*/ 2147483647 h 424"/>
              <a:gd name="T94" fmla="*/ 2147483647 w 368"/>
              <a:gd name="T95" fmla="*/ 2147483647 h 424"/>
              <a:gd name="T96" fmla="*/ 2147483647 w 368"/>
              <a:gd name="T97" fmla="*/ 2147483647 h 424"/>
              <a:gd name="T98" fmla="*/ 2147483647 w 368"/>
              <a:gd name="T99" fmla="*/ 2147483647 h 42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368" h="424">
                <a:moveTo>
                  <a:pt x="256" y="120"/>
                </a:moveTo>
                <a:lnTo>
                  <a:pt x="264" y="128"/>
                </a:lnTo>
                <a:lnTo>
                  <a:pt x="264" y="136"/>
                </a:lnTo>
                <a:lnTo>
                  <a:pt x="272" y="136"/>
                </a:lnTo>
                <a:lnTo>
                  <a:pt x="304" y="136"/>
                </a:lnTo>
                <a:lnTo>
                  <a:pt x="304" y="128"/>
                </a:lnTo>
                <a:lnTo>
                  <a:pt x="296" y="120"/>
                </a:lnTo>
                <a:lnTo>
                  <a:pt x="312" y="112"/>
                </a:lnTo>
                <a:lnTo>
                  <a:pt x="328" y="96"/>
                </a:lnTo>
                <a:lnTo>
                  <a:pt x="344" y="96"/>
                </a:lnTo>
                <a:lnTo>
                  <a:pt x="368" y="120"/>
                </a:lnTo>
                <a:lnTo>
                  <a:pt x="368" y="128"/>
                </a:lnTo>
                <a:lnTo>
                  <a:pt x="360" y="128"/>
                </a:lnTo>
                <a:lnTo>
                  <a:pt x="344" y="144"/>
                </a:lnTo>
                <a:lnTo>
                  <a:pt x="336" y="184"/>
                </a:lnTo>
                <a:lnTo>
                  <a:pt x="328" y="184"/>
                </a:lnTo>
                <a:lnTo>
                  <a:pt x="328" y="208"/>
                </a:lnTo>
                <a:lnTo>
                  <a:pt x="320" y="208"/>
                </a:lnTo>
                <a:lnTo>
                  <a:pt x="312" y="184"/>
                </a:lnTo>
                <a:lnTo>
                  <a:pt x="312" y="192"/>
                </a:lnTo>
                <a:lnTo>
                  <a:pt x="296" y="184"/>
                </a:lnTo>
                <a:lnTo>
                  <a:pt x="296" y="176"/>
                </a:lnTo>
                <a:lnTo>
                  <a:pt x="312" y="160"/>
                </a:lnTo>
                <a:lnTo>
                  <a:pt x="280" y="160"/>
                </a:lnTo>
                <a:lnTo>
                  <a:pt x="272" y="144"/>
                </a:lnTo>
                <a:lnTo>
                  <a:pt x="264" y="144"/>
                </a:lnTo>
                <a:lnTo>
                  <a:pt x="256" y="144"/>
                </a:lnTo>
                <a:lnTo>
                  <a:pt x="256" y="152"/>
                </a:lnTo>
                <a:lnTo>
                  <a:pt x="264" y="160"/>
                </a:lnTo>
                <a:lnTo>
                  <a:pt x="256" y="168"/>
                </a:lnTo>
                <a:lnTo>
                  <a:pt x="264" y="176"/>
                </a:lnTo>
                <a:lnTo>
                  <a:pt x="272" y="216"/>
                </a:lnTo>
                <a:lnTo>
                  <a:pt x="264" y="208"/>
                </a:lnTo>
                <a:lnTo>
                  <a:pt x="264" y="216"/>
                </a:lnTo>
                <a:lnTo>
                  <a:pt x="248" y="216"/>
                </a:lnTo>
                <a:lnTo>
                  <a:pt x="248" y="240"/>
                </a:lnTo>
                <a:lnTo>
                  <a:pt x="232" y="248"/>
                </a:lnTo>
                <a:lnTo>
                  <a:pt x="224" y="264"/>
                </a:lnTo>
                <a:lnTo>
                  <a:pt x="200" y="288"/>
                </a:lnTo>
                <a:lnTo>
                  <a:pt x="192" y="296"/>
                </a:lnTo>
                <a:lnTo>
                  <a:pt x="184" y="296"/>
                </a:lnTo>
                <a:lnTo>
                  <a:pt x="184" y="304"/>
                </a:lnTo>
                <a:lnTo>
                  <a:pt x="176" y="304"/>
                </a:lnTo>
                <a:lnTo>
                  <a:pt x="168" y="312"/>
                </a:lnTo>
                <a:lnTo>
                  <a:pt x="176" y="344"/>
                </a:lnTo>
                <a:lnTo>
                  <a:pt x="168" y="368"/>
                </a:lnTo>
                <a:lnTo>
                  <a:pt x="168" y="384"/>
                </a:lnTo>
                <a:lnTo>
                  <a:pt x="160" y="400"/>
                </a:lnTo>
                <a:lnTo>
                  <a:pt x="152" y="408"/>
                </a:lnTo>
                <a:lnTo>
                  <a:pt x="144" y="424"/>
                </a:lnTo>
                <a:lnTo>
                  <a:pt x="128" y="408"/>
                </a:lnTo>
                <a:lnTo>
                  <a:pt x="96" y="320"/>
                </a:lnTo>
                <a:lnTo>
                  <a:pt x="80" y="296"/>
                </a:lnTo>
                <a:lnTo>
                  <a:pt x="64" y="208"/>
                </a:lnTo>
                <a:lnTo>
                  <a:pt x="56" y="208"/>
                </a:lnTo>
                <a:lnTo>
                  <a:pt x="56" y="224"/>
                </a:lnTo>
                <a:lnTo>
                  <a:pt x="48" y="224"/>
                </a:lnTo>
                <a:lnTo>
                  <a:pt x="40" y="232"/>
                </a:lnTo>
                <a:lnTo>
                  <a:pt x="16" y="208"/>
                </a:lnTo>
                <a:lnTo>
                  <a:pt x="32" y="200"/>
                </a:lnTo>
                <a:lnTo>
                  <a:pt x="32" y="192"/>
                </a:lnTo>
                <a:lnTo>
                  <a:pt x="16" y="200"/>
                </a:lnTo>
                <a:lnTo>
                  <a:pt x="0" y="184"/>
                </a:lnTo>
                <a:lnTo>
                  <a:pt x="8" y="176"/>
                </a:lnTo>
                <a:lnTo>
                  <a:pt x="32" y="176"/>
                </a:lnTo>
                <a:lnTo>
                  <a:pt x="32" y="168"/>
                </a:lnTo>
                <a:lnTo>
                  <a:pt x="32" y="152"/>
                </a:lnTo>
                <a:lnTo>
                  <a:pt x="24" y="152"/>
                </a:lnTo>
                <a:lnTo>
                  <a:pt x="24" y="144"/>
                </a:lnTo>
                <a:lnTo>
                  <a:pt x="16" y="136"/>
                </a:lnTo>
                <a:lnTo>
                  <a:pt x="16" y="128"/>
                </a:lnTo>
                <a:lnTo>
                  <a:pt x="24" y="120"/>
                </a:lnTo>
                <a:lnTo>
                  <a:pt x="32" y="120"/>
                </a:lnTo>
                <a:lnTo>
                  <a:pt x="40" y="120"/>
                </a:lnTo>
                <a:lnTo>
                  <a:pt x="72" y="72"/>
                </a:lnTo>
                <a:lnTo>
                  <a:pt x="64" y="56"/>
                </a:lnTo>
                <a:lnTo>
                  <a:pt x="72" y="56"/>
                </a:lnTo>
                <a:lnTo>
                  <a:pt x="56" y="40"/>
                </a:lnTo>
                <a:lnTo>
                  <a:pt x="56" y="24"/>
                </a:lnTo>
                <a:lnTo>
                  <a:pt x="48" y="16"/>
                </a:lnTo>
                <a:lnTo>
                  <a:pt x="72" y="16"/>
                </a:lnTo>
                <a:lnTo>
                  <a:pt x="88" y="16"/>
                </a:lnTo>
                <a:lnTo>
                  <a:pt x="96" y="8"/>
                </a:lnTo>
                <a:lnTo>
                  <a:pt x="112" y="0"/>
                </a:lnTo>
                <a:lnTo>
                  <a:pt x="128" y="8"/>
                </a:lnTo>
                <a:lnTo>
                  <a:pt x="128" y="16"/>
                </a:lnTo>
                <a:lnTo>
                  <a:pt x="120" y="32"/>
                </a:lnTo>
                <a:lnTo>
                  <a:pt x="128" y="48"/>
                </a:lnTo>
                <a:lnTo>
                  <a:pt x="112" y="48"/>
                </a:lnTo>
                <a:lnTo>
                  <a:pt x="112" y="56"/>
                </a:lnTo>
                <a:lnTo>
                  <a:pt x="128" y="72"/>
                </a:lnTo>
                <a:lnTo>
                  <a:pt x="152" y="88"/>
                </a:lnTo>
                <a:lnTo>
                  <a:pt x="144" y="104"/>
                </a:lnTo>
                <a:lnTo>
                  <a:pt x="184" y="128"/>
                </a:lnTo>
                <a:lnTo>
                  <a:pt x="200" y="128"/>
                </a:lnTo>
                <a:lnTo>
                  <a:pt x="216" y="136"/>
                </a:lnTo>
                <a:lnTo>
                  <a:pt x="240" y="144"/>
                </a:lnTo>
                <a:lnTo>
                  <a:pt x="256" y="144"/>
                </a:lnTo>
                <a:lnTo>
                  <a:pt x="248" y="136"/>
                </a:lnTo>
                <a:lnTo>
                  <a:pt x="248" y="120"/>
                </a:lnTo>
                <a:lnTo>
                  <a:pt x="256" y="12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4" name="Freeform 51"/>
          <p:cNvSpPr>
            <a:spLocks noChangeAspect="1"/>
          </p:cNvSpPr>
          <p:nvPr/>
        </p:nvSpPr>
        <p:spPr bwMode="auto">
          <a:xfrm>
            <a:off x="3928492" y="2826504"/>
            <a:ext cx="249237" cy="115887"/>
          </a:xfrm>
          <a:custGeom>
            <a:avLst/>
            <a:gdLst>
              <a:gd name="T0" fmla="*/ 2147483647 w 112"/>
              <a:gd name="T1" fmla="*/ 2147483647 h 56"/>
              <a:gd name="T2" fmla="*/ 2147483647 w 112"/>
              <a:gd name="T3" fmla="*/ 2147483647 h 56"/>
              <a:gd name="T4" fmla="*/ 2147483647 w 112"/>
              <a:gd name="T5" fmla="*/ 2147483647 h 56"/>
              <a:gd name="T6" fmla="*/ 2147483647 w 112"/>
              <a:gd name="T7" fmla="*/ 2147483647 h 56"/>
              <a:gd name="T8" fmla="*/ 2147483647 w 112"/>
              <a:gd name="T9" fmla="*/ 2147483647 h 56"/>
              <a:gd name="T10" fmla="*/ 2147483647 w 112"/>
              <a:gd name="T11" fmla="*/ 0 h 56"/>
              <a:gd name="T12" fmla="*/ 2147483647 w 112"/>
              <a:gd name="T13" fmla="*/ 0 h 56"/>
              <a:gd name="T14" fmla="*/ 0 w 112"/>
              <a:gd name="T15" fmla="*/ 2147483647 h 56"/>
              <a:gd name="T16" fmla="*/ 2147483647 w 112"/>
              <a:gd name="T17" fmla="*/ 2147483647 h 56"/>
              <a:gd name="T18" fmla="*/ 2147483647 w 112"/>
              <a:gd name="T19" fmla="*/ 2147483647 h 56"/>
              <a:gd name="T20" fmla="*/ 2147483647 w 112"/>
              <a:gd name="T21" fmla="*/ 2147483647 h 56"/>
              <a:gd name="T22" fmla="*/ 2147483647 w 112"/>
              <a:gd name="T23" fmla="*/ 2147483647 h 56"/>
              <a:gd name="T24" fmla="*/ 2147483647 w 112"/>
              <a:gd name="T25" fmla="*/ 2147483647 h 56"/>
              <a:gd name="T26" fmla="*/ 2147483647 w 112"/>
              <a:gd name="T27" fmla="*/ 2147483647 h 5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12" h="56">
                <a:moveTo>
                  <a:pt x="104" y="48"/>
                </a:moveTo>
                <a:lnTo>
                  <a:pt x="104" y="32"/>
                </a:lnTo>
                <a:lnTo>
                  <a:pt x="80" y="32"/>
                </a:lnTo>
                <a:lnTo>
                  <a:pt x="48" y="8"/>
                </a:lnTo>
                <a:lnTo>
                  <a:pt x="40" y="16"/>
                </a:lnTo>
                <a:lnTo>
                  <a:pt x="24" y="0"/>
                </a:lnTo>
                <a:lnTo>
                  <a:pt x="8" y="0"/>
                </a:lnTo>
                <a:lnTo>
                  <a:pt x="0" y="16"/>
                </a:lnTo>
                <a:lnTo>
                  <a:pt x="40" y="40"/>
                </a:lnTo>
                <a:lnTo>
                  <a:pt x="56" y="40"/>
                </a:lnTo>
                <a:lnTo>
                  <a:pt x="72" y="48"/>
                </a:lnTo>
                <a:lnTo>
                  <a:pt x="96" y="56"/>
                </a:lnTo>
                <a:lnTo>
                  <a:pt x="112" y="56"/>
                </a:lnTo>
                <a:lnTo>
                  <a:pt x="104" y="4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5" name="Freeform 52"/>
          <p:cNvSpPr>
            <a:spLocks noChangeAspect="1"/>
          </p:cNvSpPr>
          <p:nvPr/>
        </p:nvSpPr>
        <p:spPr bwMode="auto">
          <a:xfrm>
            <a:off x="2861692" y="2507416"/>
            <a:ext cx="588962" cy="468313"/>
          </a:xfrm>
          <a:custGeom>
            <a:avLst/>
            <a:gdLst>
              <a:gd name="T0" fmla="*/ 2147483647 w 264"/>
              <a:gd name="T1" fmla="*/ 2147483647 h 224"/>
              <a:gd name="T2" fmla="*/ 2147483647 w 264"/>
              <a:gd name="T3" fmla="*/ 2147483647 h 224"/>
              <a:gd name="T4" fmla="*/ 2147483647 w 264"/>
              <a:gd name="T5" fmla="*/ 2147483647 h 224"/>
              <a:gd name="T6" fmla="*/ 2147483647 w 264"/>
              <a:gd name="T7" fmla="*/ 2147483647 h 224"/>
              <a:gd name="T8" fmla="*/ 2147483647 w 264"/>
              <a:gd name="T9" fmla="*/ 2147483647 h 224"/>
              <a:gd name="T10" fmla="*/ 2147483647 w 264"/>
              <a:gd name="T11" fmla="*/ 2147483647 h 224"/>
              <a:gd name="T12" fmla="*/ 2147483647 w 264"/>
              <a:gd name="T13" fmla="*/ 2147483647 h 224"/>
              <a:gd name="T14" fmla="*/ 2147483647 w 264"/>
              <a:gd name="T15" fmla="*/ 2147483647 h 224"/>
              <a:gd name="T16" fmla="*/ 2147483647 w 264"/>
              <a:gd name="T17" fmla="*/ 2147483647 h 224"/>
              <a:gd name="T18" fmla="*/ 2147483647 w 264"/>
              <a:gd name="T19" fmla="*/ 2147483647 h 224"/>
              <a:gd name="T20" fmla="*/ 2147483647 w 264"/>
              <a:gd name="T21" fmla="*/ 2147483647 h 224"/>
              <a:gd name="T22" fmla="*/ 2147483647 w 264"/>
              <a:gd name="T23" fmla="*/ 2147483647 h 224"/>
              <a:gd name="T24" fmla="*/ 2147483647 w 264"/>
              <a:gd name="T25" fmla="*/ 2147483647 h 224"/>
              <a:gd name="T26" fmla="*/ 2147483647 w 264"/>
              <a:gd name="T27" fmla="*/ 2147483647 h 224"/>
              <a:gd name="T28" fmla="*/ 0 w 264"/>
              <a:gd name="T29" fmla="*/ 2147483647 h 224"/>
              <a:gd name="T30" fmla="*/ 2147483647 w 264"/>
              <a:gd name="T31" fmla="*/ 0 h 224"/>
              <a:gd name="T32" fmla="*/ 2147483647 w 264"/>
              <a:gd name="T33" fmla="*/ 2147483647 h 224"/>
              <a:gd name="T34" fmla="*/ 2147483647 w 264"/>
              <a:gd name="T35" fmla="*/ 2147483647 h 224"/>
              <a:gd name="T36" fmla="*/ 2147483647 w 264"/>
              <a:gd name="T37" fmla="*/ 2147483647 h 224"/>
              <a:gd name="T38" fmla="*/ 2147483647 w 264"/>
              <a:gd name="T39" fmla="*/ 2147483647 h 224"/>
              <a:gd name="T40" fmla="*/ 2147483647 w 264"/>
              <a:gd name="T41" fmla="*/ 2147483647 h 224"/>
              <a:gd name="T42" fmla="*/ 2147483647 w 264"/>
              <a:gd name="T43" fmla="*/ 2147483647 h 224"/>
              <a:gd name="T44" fmla="*/ 2147483647 w 264"/>
              <a:gd name="T45" fmla="*/ 2147483647 h 224"/>
              <a:gd name="T46" fmla="*/ 2147483647 w 264"/>
              <a:gd name="T47" fmla="*/ 2147483647 h 224"/>
              <a:gd name="T48" fmla="*/ 2147483647 w 264"/>
              <a:gd name="T49" fmla="*/ 2147483647 h 224"/>
              <a:gd name="T50" fmla="*/ 2147483647 w 264"/>
              <a:gd name="T51" fmla="*/ 2147483647 h 224"/>
              <a:gd name="T52" fmla="*/ 2147483647 w 264"/>
              <a:gd name="T53" fmla="*/ 2147483647 h 224"/>
              <a:gd name="T54" fmla="*/ 2147483647 w 264"/>
              <a:gd name="T55" fmla="*/ 2147483647 h 224"/>
              <a:gd name="T56" fmla="*/ 2147483647 w 264"/>
              <a:gd name="T57" fmla="*/ 2147483647 h 224"/>
              <a:gd name="T58" fmla="*/ 2147483647 w 264"/>
              <a:gd name="T59" fmla="*/ 2147483647 h 224"/>
              <a:gd name="T60" fmla="*/ 2147483647 w 264"/>
              <a:gd name="T61" fmla="*/ 2147483647 h 224"/>
              <a:gd name="T62" fmla="*/ 2147483647 w 264"/>
              <a:gd name="T63" fmla="*/ 2147483647 h 224"/>
              <a:gd name="T64" fmla="*/ 2147483647 w 264"/>
              <a:gd name="T65" fmla="*/ 2147483647 h 224"/>
              <a:gd name="T66" fmla="*/ 2147483647 w 264"/>
              <a:gd name="T67" fmla="*/ 2147483647 h 224"/>
              <a:gd name="T68" fmla="*/ 2147483647 w 264"/>
              <a:gd name="T69" fmla="*/ 2147483647 h 224"/>
              <a:gd name="T70" fmla="*/ 2147483647 w 264"/>
              <a:gd name="T71" fmla="*/ 2147483647 h 224"/>
              <a:gd name="T72" fmla="*/ 2147483647 w 264"/>
              <a:gd name="T73" fmla="*/ 2147483647 h 224"/>
              <a:gd name="T74" fmla="*/ 2147483647 w 264"/>
              <a:gd name="T75" fmla="*/ 2147483647 h 224"/>
              <a:gd name="T76" fmla="*/ 2147483647 w 264"/>
              <a:gd name="T77" fmla="*/ 2147483647 h 224"/>
              <a:gd name="T78" fmla="*/ 2147483647 w 264"/>
              <a:gd name="T79" fmla="*/ 2147483647 h 224"/>
              <a:gd name="T80" fmla="*/ 2147483647 w 264"/>
              <a:gd name="T81" fmla="*/ 2147483647 h 224"/>
              <a:gd name="T82" fmla="*/ 2147483647 w 264"/>
              <a:gd name="T83" fmla="*/ 2147483647 h 224"/>
              <a:gd name="T84" fmla="*/ 2147483647 w 264"/>
              <a:gd name="T85" fmla="*/ 2147483647 h 224"/>
              <a:gd name="T86" fmla="*/ 2147483647 w 264"/>
              <a:gd name="T87" fmla="*/ 2147483647 h 22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64" h="224">
                <a:moveTo>
                  <a:pt x="192" y="216"/>
                </a:moveTo>
                <a:lnTo>
                  <a:pt x="184" y="200"/>
                </a:lnTo>
                <a:lnTo>
                  <a:pt x="160" y="208"/>
                </a:lnTo>
                <a:lnTo>
                  <a:pt x="144" y="208"/>
                </a:lnTo>
                <a:lnTo>
                  <a:pt x="112" y="184"/>
                </a:lnTo>
                <a:lnTo>
                  <a:pt x="96" y="152"/>
                </a:lnTo>
                <a:lnTo>
                  <a:pt x="80" y="144"/>
                </a:lnTo>
                <a:lnTo>
                  <a:pt x="72" y="152"/>
                </a:lnTo>
                <a:lnTo>
                  <a:pt x="56" y="136"/>
                </a:lnTo>
                <a:lnTo>
                  <a:pt x="56" y="112"/>
                </a:lnTo>
                <a:lnTo>
                  <a:pt x="32" y="104"/>
                </a:lnTo>
                <a:lnTo>
                  <a:pt x="24" y="88"/>
                </a:lnTo>
                <a:lnTo>
                  <a:pt x="32" y="72"/>
                </a:lnTo>
                <a:lnTo>
                  <a:pt x="16" y="40"/>
                </a:lnTo>
                <a:lnTo>
                  <a:pt x="0" y="8"/>
                </a:lnTo>
                <a:lnTo>
                  <a:pt x="8" y="0"/>
                </a:lnTo>
                <a:lnTo>
                  <a:pt x="16" y="16"/>
                </a:lnTo>
                <a:lnTo>
                  <a:pt x="24" y="16"/>
                </a:lnTo>
                <a:lnTo>
                  <a:pt x="32" y="16"/>
                </a:lnTo>
                <a:lnTo>
                  <a:pt x="48" y="8"/>
                </a:lnTo>
                <a:lnTo>
                  <a:pt x="48" y="16"/>
                </a:lnTo>
                <a:lnTo>
                  <a:pt x="64" y="24"/>
                </a:lnTo>
                <a:lnTo>
                  <a:pt x="64" y="40"/>
                </a:lnTo>
                <a:lnTo>
                  <a:pt x="96" y="56"/>
                </a:lnTo>
                <a:lnTo>
                  <a:pt x="128" y="48"/>
                </a:lnTo>
                <a:lnTo>
                  <a:pt x="128" y="40"/>
                </a:lnTo>
                <a:lnTo>
                  <a:pt x="144" y="32"/>
                </a:lnTo>
                <a:lnTo>
                  <a:pt x="160" y="24"/>
                </a:lnTo>
                <a:lnTo>
                  <a:pt x="224" y="56"/>
                </a:lnTo>
                <a:lnTo>
                  <a:pt x="224" y="64"/>
                </a:lnTo>
                <a:lnTo>
                  <a:pt x="224" y="80"/>
                </a:lnTo>
                <a:lnTo>
                  <a:pt x="216" y="88"/>
                </a:lnTo>
                <a:lnTo>
                  <a:pt x="216" y="96"/>
                </a:lnTo>
                <a:lnTo>
                  <a:pt x="224" y="128"/>
                </a:lnTo>
                <a:lnTo>
                  <a:pt x="240" y="128"/>
                </a:lnTo>
                <a:lnTo>
                  <a:pt x="240" y="136"/>
                </a:lnTo>
                <a:lnTo>
                  <a:pt x="232" y="152"/>
                </a:lnTo>
                <a:lnTo>
                  <a:pt x="248" y="176"/>
                </a:lnTo>
                <a:lnTo>
                  <a:pt x="256" y="176"/>
                </a:lnTo>
                <a:lnTo>
                  <a:pt x="264" y="192"/>
                </a:lnTo>
                <a:lnTo>
                  <a:pt x="264" y="200"/>
                </a:lnTo>
                <a:lnTo>
                  <a:pt x="248" y="208"/>
                </a:lnTo>
                <a:lnTo>
                  <a:pt x="248" y="224"/>
                </a:lnTo>
                <a:lnTo>
                  <a:pt x="192" y="2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6" name="Freeform 53"/>
          <p:cNvSpPr>
            <a:spLocks noChangeAspect="1"/>
          </p:cNvSpPr>
          <p:nvPr/>
        </p:nvSpPr>
        <p:spPr bwMode="auto">
          <a:xfrm>
            <a:off x="3380804" y="2609016"/>
            <a:ext cx="442913" cy="417513"/>
          </a:xfrm>
          <a:custGeom>
            <a:avLst/>
            <a:gdLst>
              <a:gd name="T0" fmla="*/ 2147483647 w 200"/>
              <a:gd name="T1" fmla="*/ 2147483647 h 200"/>
              <a:gd name="T2" fmla="*/ 2147483647 w 200"/>
              <a:gd name="T3" fmla="*/ 2147483647 h 200"/>
              <a:gd name="T4" fmla="*/ 2147483647 w 200"/>
              <a:gd name="T5" fmla="*/ 2147483647 h 200"/>
              <a:gd name="T6" fmla="*/ 2147483647 w 200"/>
              <a:gd name="T7" fmla="*/ 2147483647 h 200"/>
              <a:gd name="T8" fmla="*/ 2147483647 w 200"/>
              <a:gd name="T9" fmla="*/ 2147483647 h 200"/>
              <a:gd name="T10" fmla="*/ 2147483647 w 200"/>
              <a:gd name="T11" fmla="*/ 2147483647 h 200"/>
              <a:gd name="T12" fmla="*/ 2147483647 w 200"/>
              <a:gd name="T13" fmla="*/ 2147483647 h 200"/>
              <a:gd name="T14" fmla="*/ 2147483647 w 200"/>
              <a:gd name="T15" fmla="*/ 2147483647 h 200"/>
              <a:gd name="T16" fmla="*/ 2147483647 w 200"/>
              <a:gd name="T17" fmla="*/ 2147483647 h 200"/>
              <a:gd name="T18" fmla="*/ 2147483647 w 200"/>
              <a:gd name="T19" fmla="*/ 2147483647 h 200"/>
              <a:gd name="T20" fmla="*/ 2147483647 w 200"/>
              <a:gd name="T21" fmla="*/ 2147483647 h 200"/>
              <a:gd name="T22" fmla="*/ 2147483647 w 200"/>
              <a:gd name="T23" fmla="*/ 2147483647 h 200"/>
              <a:gd name="T24" fmla="*/ 2147483647 w 200"/>
              <a:gd name="T25" fmla="*/ 2147483647 h 200"/>
              <a:gd name="T26" fmla="*/ 2147483647 w 200"/>
              <a:gd name="T27" fmla="*/ 2147483647 h 200"/>
              <a:gd name="T28" fmla="*/ 2147483647 w 200"/>
              <a:gd name="T29" fmla="*/ 2147483647 h 200"/>
              <a:gd name="T30" fmla="*/ 2147483647 w 200"/>
              <a:gd name="T31" fmla="*/ 2147483647 h 200"/>
              <a:gd name="T32" fmla="*/ 2147483647 w 200"/>
              <a:gd name="T33" fmla="*/ 2147483647 h 200"/>
              <a:gd name="T34" fmla="*/ 2147483647 w 200"/>
              <a:gd name="T35" fmla="*/ 2147483647 h 200"/>
              <a:gd name="T36" fmla="*/ 2147483647 w 200"/>
              <a:gd name="T37" fmla="*/ 2147483647 h 200"/>
              <a:gd name="T38" fmla="*/ 2147483647 w 200"/>
              <a:gd name="T39" fmla="*/ 2147483647 h 200"/>
              <a:gd name="T40" fmla="*/ 2147483647 w 200"/>
              <a:gd name="T41" fmla="*/ 2147483647 h 200"/>
              <a:gd name="T42" fmla="*/ 2147483647 w 200"/>
              <a:gd name="T43" fmla="*/ 0 h 200"/>
              <a:gd name="T44" fmla="*/ 2147483647 w 200"/>
              <a:gd name="T45" fmla="*/ 0 h 200"/>
              <a:gd name="T46" fmla="*/ 2147483647 w 200"/>
              <a:gd name="T47" fmla="*/ 0 h 200"/>
              <a:gd name="T48" fmla="*/ 2147483647 w 200"/>
              <a:gd name="T49" fmla="*/ 0 h 200"/>
              <a:gd name="T50" fmla="*/ 2147483647 w 200"/>
              <a:gd name="T51" fmla="*/ 2147483647 h 200"/>
              <a:gd name="T52" fmla="*/ 2147483647 w 200"/>
              <a:gd name="T53" fmla="*/ 2147483647 h 200"/>
              <a:gd name="T54" fmla="*/ 2147483647 w 200"/>
              <a:gd name="T55" fmla="*/ 2147483647 h 200"/>
              <a:gd name="T56" fmla="*/ 2147483647 w 200"/>
              <a:gd name="T57" fmla="*/ 2147483647 h 200"/>
              <a:gd name="T58" fmla="*/ 2147483647 w 200"/>
              <a:gd name="T59" fmla="*/ 2147483647 h 200"/>
              <a:gd name="T60" fmla="*/ 2147483647 w 200"/>
              <a:gd name="T61" fmla="*/ 2147483647 h 200"/>
              <a:gd name="T62" fmla="*/ 2147483647 w 200"/>
              <a:gd name="T63" fmla="*/ 2147483647 h 200"/>
              <a:gd name="T64" fmla="*/ 2147483647 w 200"/>
              <a:gd name="T65" fmla="*/ 2147483647 h 200"/>
              <a:gd name="T66" fmla="*/ 2147483647 w 200"/>
              <a:gd name="T67" fmla="*/ 2147483647 h 200"/>
              <a:gd name="T68" fmla="*/ 2147483647 w 200"/>
              <a:gd name="T69" fmla="*/ 2147483647 h 200"/>
              <a:gd name="T70" fmla="*/ 0 w 200"/>
              <a:gd name="T71" fmla="*/ 2147483647 h 200"/>
              <a:gd name="T72" fmla="*/ 2147483647 w 200"/>
              <a:gd name="T73" fmla="*/ 2147483647 h 200"/>
              <a:gd name="T74" fmla="*/ 2147483647 w 200"/>
              <a:gd name="T75" fmla="*/ 2147483647 h 200"/>
              <a:gd name="T76" fmla="*/ 2147483647 w 200"/>
              <a:gd name="T77" fmla="*/ 2147483647 h 200"/>
              <a:gd name="T78" fmla="*/ 2147483647 w 200"/>
              <a:gd name="T79" fmla="*/ 2147483647 h 200"/>
              <a:gd name="T80" fmla="*/ 2147483647 w 200"/>
              <a:gd name="T81" fmla="*/ 2147483647 h 200"/>
              <a:gd name="T82" fmla="*/ 2147483647 w 200"/>
              <a:gd name="T83" fmla="*/ 2147483647 h 200"/>
              <a:gd name="T84" fmla="*/ 2147483647 w 200"/>
              <a:gd name="T85" fmla="*/ 2147483647 h 200"/>
              <a:gd name="T86" fmla="*/ 2147483647 w 200"/>
              <a:gd name="T87" fmla="*/ 2147483647 h 200"/>
              <a:gd name="T88" fmla="*/ 2147483647 w 200"/>
              <a:gd name="T89" fmla="*/ 2147483647 h 200"/>
              <a:gd name="T90" fmla="*/ 2147483647 w 200"/>
              <a:gd name="T91" fmla="*/ 2147483647 h 200"/>
              <a:gd name="T92" fmla="*/ 2147483647 w 200"/>
              <a:gd name="T93" fmla="*/ 2147483647 h 200"/>
              <a:gd name="T94" fmla="*/ 2147483647 w 200"/>
              <a:gd name="T95" fmla="*/ 2147483647 h 20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200" h="200">
                <a:moveTo>
                  <a:pt x="112" y="192"/>
                </a:moveTo>
                <a:lnTo>
                  <a:pt x="136" y="192"/>
                </a:lnTo>
                <a:lnTo>
                  <a:pt x="136" y="184"/>
                </a:lnTo>
                <a:lnTo>
                  <a:pt x="136" y="168"/>
                </a:lnTo>
                <a:lnTo>
                  <a:pt x="128" y="168"/>
                </a:lnTo>
                <a:lnTo>
                  <a:pt x="128" y="160"/>
                </a:lnTo>
                <a:lnTo>
                  <a:pt x="120" y="152"/>
                </a:lnTo>
                <a:lnTo>
                  <a:pt x="120" y="144"/>
                </a:lnTo>
                <a:lnTo>
                  <a:pt x="128" y="136"/>
                </a:lnTo>
                <a:lnTo>
                  <a:pt x="136" y="136"/>
                </a:lnTo>
                <a:lnTo>
                  <a:pt x="144" y="136"/>
                </a:lnTo>
                <a:lnTo>
                  <a:pt x="176" y="88"/>
                </a:lnTo>
                <a:lnTo>
                  <a:pt x="168" y="72"/>
                </a:lnTo>
                <a:lnTo>
                  <a:pt x="176" y="72"/>
                </a:lnTo>
                <a:lnTo>
                  <a:pt x="160" y="56"/>
                </a:lnTo>
                <a:lnTo>
                  <a:pt x="160" y="40"/>
                </a:lnTo>
                <a:lnTo>
                  <a:pt x="152" y="32"/>
                </a:lnTo>
                <a:lnTo>
                  <a:pt x="176" y="32"/>
                </a:lnTo>
                <a:lnTo>
                  <a:pt x="192" y="32"/>
                </a:lnTo>
                <a:lnTo>
                  <a:pt x="200" y="24"/>
                </a:lnTo>
                <a:lnTo>
                  <a:pt x="176" y="16"/>
                </a:lnTo>
                <a:lnTo>
                  <a:pt x="168" y="0"/>
                </a:lnTo>
                <a:lnTo>
                  <a:pt x="152" y="0"/>
                </a:lnTo>
                <a:lnTo>
                  <a:pt x="144" y="0"/>
                </a:lnTo>
                <a:lnTo>
                  <a:pt x="136" y="0"/>
                </a:lnTo>
                <a:lnTo>
                  <a:pt x="120" y="8"/>
                </a:lnTo>
                <a:lnTo>
                  <a:pt x="120" y="32"/>
                </a:lnTo>
                <a:lnTo>
                  <a:pt x="120" y="40"/>
                </a:lnTo>
                <a:lnTo>
                  <a:pt x="104" y="40"/>
                </a:lnTo>
                <a:lnTo>
                  <a:pt x="112" y="48"/>
                </a:lnTo>
                <a:lnTo>
                  <a:pt x="104" y="56"/>
                </a:lnTo>
                <a:lnTo>
                  <a:pt x="104" y="80"/>
                </a:lnTo>
                <a:lnTo>
                  <a:pt x="72" y="88"/>
                </a:lnTo>
                <a:lnTo>
                  <a:pt x="72" y="104"/>
                </a:lnTo>
                <a:lnTo>
                  <a:pt x="16" y="112"/>
                </a:lnTo>
                <a:lnTo>
                  <a:pt x="0" y="104"/>
                </a:lnTo>
                <a:lnTo>
                  <a:pt x="16" y="128"/>
                </a:lnTo>
                <a:lnTo>
                  <a:pt x="24" y="128"/>
                </a:lnTo>
                <a:lnTo>
                  <a:pt x="32" y="144"/>
                </a:lnTo>
                <a:lnTo>
                  <a:pt x="32" y="152"/>
                </a:lnTo>
                <a:lnTo>
                  <a:pt x="16" y="160"/>
                </a:lnTo>
                <a:lnTo>
                  <a:pt x="16" y="176"/>
                </a:lnTo>
                <a:lnTo>
                  <a:pt x="48" y="176"/>
                </a:lnTo>
                <a:lnTo>
                  <a:pt x="56" y="176"/>
                </a:lnTo>
                <a:lnTo>
                  <a:pt x="80" y="176"/>
                </a:lnTo>
                <a:lnTo>
                  <a:pt x="96" y="200"/>
                </a:lnTo>
                <a:lnTo>
                  <a:pt x="104" y="200"/>
                </a:lnTo>
                <a:lnTo>
                  <a:pt x="112" y="19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7" name="Freeform 54"/>
          <p:cNvSpPr>
            <a:spLocks noChangeAspect="1"/>
          </p:cNvSpPr>
          <p:nvPr/>
        </p:nvSpPr>
        <p:spPr bwMode="auto">
          <a:xfrm>
            <a:off x="3342704" y="2558216"/>
            <a:ext cx="373063" cy="284163"/>
          </a:xfrm>
          <a:custGeom>
            <a:avLst/>
            <a:gdLst>
              <a:gd name="T0" fmla="*/ 2147483647 w 168"/>
              <a:gd name="T1" fmla="*/ 2147483647 h 136"/>
              <a:gd name="T2" fmla="*/ 2147483647 w 168"/>
              <a:gd name="T3" fmla="*/ 2147483647 h 136"/>
              <a:gd name="T4" fmla="*/ 2147483647 w 168"/>
              <a:gd name="T5" fmla="*/ 2147483647 h 136"/>
              <a:gd name="T6" fmla="*/ 2147483647 w 168"/>
              <a:gd name="T7" fmla="*/ 2147483647 h 136"/>
              <a:gd name="T8" fmla="*/ 2147483647 w 168"/>
              <a:gd name="T9" fmla="*/ 2147483647 h 136"/>
              <a:gd name="T10" fmla="*/ 2147483647 w 168"/>
              <a:gd name="T11" fmla="*/ 0 h 136"/>
              <a:gd name="T12" fmla="*/ 2147483647 w 168"/>
              <a:gd name="T13" fmla="*/ 2147483647 h 136"/>
              <a:gd name="T14" fmla="*/ 2147483647 w 168"/>
              <a:gd name="T15" fmla="*/ 2147483647 h 136"/>
              <a:gd name="T16" fmla="*/ 2147483647 w 168"/>
              <a:gd name="T17" fmla="*/ 2147483647 h 136"/>
              <a:gd name="T18" fmla="*/ 2147483647 w 168"/>
              <a:gd name="T19" fmla="*/ 2147483647 h 136"/>
              <a:gd name="T20" fmla="*/ 2147483647 w 168"/>
              <a:gd name="T21" fmla="*/ 2147483647 h 136"/>
              <a:gd name="T22" fmla="*/ 2147483647 w 168"/>
              <a:gd name="T23" fmla="*/ 2147483647 h 136"/>
              <a:gd name="T24" fmla="*/ 2147483647 w 168"/>
              <a:gd name="T25" fmla="*/ 2147483647 h 136"/>
              <a:gd name="T26" fmla="*/ 2147483647 w 168"/>
              <a:gd name="T27" fmla="*/ 2147483647 h 136"/>
              <a:gd name="T28" fmla="*/ 2147483647 w 168"/>
              <a:gd name="T29" fmla="*/ 2147483647 h 136"/>
              <a:gd name="T30" fmla="*/ 2147483647 w 168"/>
              <a:gd name="T31" fmla="*/ 2147483647 h 136"/>
              <a:gd name="T32" fmla="*/ 2147483647 w 168"/>
              <a:gd name="T33" fmla="*/ 2147483647 h 136"/>
              <a:gd name="T34" fmla="*/ 2147483647 w 168"/>
              <a:gd name="T35" fmla="*/ 2147483647 h 136"/>
              <a:gd name="T36" fmla="*/ 2147483647 w 168"/>
              <a:gd name="T37" fmla="*/ 2147483647 h 136"/>
              <a:gd name="T38" fmla="*/ 2147483647 w 168"/>
              <a:gd name="T39" fmla="*/ 2147483647 h 136"/>
              <a:gd name="T40" fmla="*/ 2147483647 w 168"/>
              <a:gd name="T41" fmla="*/ 2147483647 h 136"/>
              <a:gd name="T42" fmla="*/ 2147483647 w 168"/>
              <a:gd name="T43" fmla="*/ 2147483647 h 136"/>
              <a:gd name="T44" fmla="*/ 2147483647 w 168"/>
              <a:gd name="T45" fmla="*/ 2147483647 h 136"/>
              <a:gd name="T46" fmla="*/ 2147483647 w 168"/>
              <a:gd name="T47" fmla="*/ 2147483647 h 136"/>
              <a:gd name="T48" fmla="*/ 2147483647 w 168"/>
              <a:gd name="T49" fmla="*/ 2147483647 h 136"/>
              <a:gd name="T50" fmla="*/ 2147483647 w 168"/>
              <a:gd name="T51" fmla="*/ 2147483647 h 136"/>
              <a:gd name="T52" fmla="*/ 2147483647 w 168"/>
              <a:gd name="T53" fmla="*/ 2147483647 h 136"/>
              <a:gd name="T54" fmla="*/ 0 w 168"/>
              <a:gd name="T55" fmla="*/ 2147483647 h 136"/>
              <a:gd name="T56" fmla="*/ 0 w 168"/>
              <a:gd name="T57" fmla="*/ 2147483647 h 136"/>
              <a:gd name="T58" fmla="*/ 2147483647 w 168"/>
              <a:gd name="T59" fmla="*/ 2147483647 h 136"/>
              <a:gd name="T60" fmla="*/ 2147483647 w 168"/>
              <a:gd name="T61" fmla="*/ 2147483647 h 136"/>
              <a:gd name="T62" fmla="*/ 2147483647 w 168"/>
              <a:gd name="T63" fmla="*/ 2147483647 h 136"/>
              <a:gd name="T64" fmla="*/ 2147483647 w 168"/>
              <a:gd name="T65" fmla="*/ 2147483647 h 136"/>
              <a:gd name="T66" fmla="*/ 2147483647 w 168"/>
              <a:gd name="T67" fmla="*/ 2147483647 h 136"/>
              <a:gd name="T68" fmla="*/ 2147483647 w 168"/>
              <a:gd name="T69" fmla="*/ 2147483647 h 136"/>
              <a:gd name="T70" fmla="*/ 2147483647 w 168"/>
              <a:gd name="T71" fmla="*/ 2147483647 h 136"/>
              <a:gd name="T72" fmla="*/ 2147483647 w 168"/>
              <a:gd name="T73" fmla="*/ 2147483647 h 1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68" h="136">
                <a:moveTo>
                  <a:pt x="64" y="16"/>
                </a:moveTo>
                <a:lnTo>
                  <a:pt x="80" y="24"/>
                </a:lnTo>
                <a:lnTo>
                  <a:pt x="88" y="24"/>
                </a:lnTo>
                <a:lnTo>
                  <a:pt x="104" y="16"/>
                </a:lnTo>
                <a:lnTo>
                  <a:pt x="112" y="16"/>
                </a:lnTo>
                <a:lnTo>
                  <a:pt x="120" y="0"/>
                </a:lnTo>
                <a:lnTo>
                  <a:pt x="128" y="8"/>
                </a:lnTo>
                <a:lnTo>
                  <a:pt x="136" y="24"/>
                </a:lnTo>
                <a:lnTo>
                  <a:pt x="152" y="16"/>
                </a:lnTo>
                <a:lnTo>
                  <a:pt x="168" y="16"/>
                </a:lnTo>
                <a:lnTo>
                  <a:pt x="168" y="24"/>
                </a:lnTo>
                <a:lnTo>
                  <a:pt x="160" y="24"/>
                </a:lnTo>
                <a:lnTo>
                  <a:pt x="152" y="24"/>
                </a:lnTo>
                <a:lnTo>
                  <a:pt x="136" y="32"/>
                </a:lnTo>
                <a:lnTo>
                  <a:pt x="136" y="56"/>
                </a:lnTo>
                <a:lnTo>
                  <a:pt x="136" y="64"/>
                </a:lnTo>
                <a:lnTo>
                  <a:pt x="120" y="64"/>
                </a:lnTo>
                <a:lnTo>
                  <a:pt x="128" y="72"/>
                </a:lnTo>
                <a:lnTo>
                  <a:pt x="120" y="80"/>
                </a:lnTo>
                <a:lnTo>
                  <a:pt x="120" y="104"/>
                </a:lnTo>
                <a:lnTo>
                  <a:pt x="88" y="112"/>
                </a:lnTo>
                <a:lnTo>
                  <a:pt x="88" y="128"/>
                </a:lnTo>
                <a:lnTo>
                  <a:pt x="32" y="136"/>
                </a:lnTo>
                <a:lnTo>
                  <a:pt x="16" y="128"/>
                </a:lnTo>
                <a:lnTo>
                  <a:pt x="24" y="112"/>
                </a:lnTo>
                <a:lnTo>
                  <a:pt x="24" y="104"/>
                </a:lnTo>
                <a:lnTo>
                  <a:pt x="8" y="104"/>
                </a:lnTo>
                <a:lnTo>
                  <a:pt x="0" y="72"/>
                </a:lnTo>
                <a:lnTo>
                  <a:pt x="0" y="64"/>
                </a:lnTo>
                <a:lnTo>
                  <a:pt x="8" y="56"/>
                </a:lnTo>
                <a:lnTo>
                  <a:pt x="8" y="40"/>
                </a:lnTo>
                <a:lnTo>
                  <a:pt x="24" y="48"/>
                </a:lnTo>
                <a:lnTo>
                  <a:pt x="32" y="40"/>
                </a:lnTo>
                <a:lnTo>
                  <a:pt x="48" y="32"/>
                </a:lnTo>
                <a:lnTo>
                  <a:pt x="48" y="16"/>
                </a:lnTo>
                <a:lnTo>
                  <a:pt x="56" y="16"/>
                </a:lnTo>
                <a:lnTo>
                  <a:pt x="64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8" name="Freeform 55"/>
          <p:cNvSpPr>
            <a:spLocks noChangeAspect="1"/>
          </p:cNvSpPr>
          <p:nvPr/>
        </p:nvSpPr>
        <p:spPr bwMode="auto">
          <a:xfrm>
            <a:off x="5050854" y="2423279"/>
            <a:ext cx="142875" cy="150812"/>
          </a:xfrm>
          <a:custGeom>
            <a:avLst/>
            <a:gdLst>
              <a:gd name="T0" fmla="*/ 2147483647 w 64"/>
              <a:gd name="T1" fmla="*/ 0 h 72"/>
              <a:gd name="T2" fmla="*/ 2147483647 w 64"/>
              <a:gd name="T3" fmla="*/ 2147483647 h 72"/>
              <a:gd name="T4" fmla="*/ 2147483647 w 64"/>
              <a:gd name="T5" fmla="*/ 2147483647 h 72"/>
              <a:gd name="T6" fmla="*/ 2147483647 w 64"/>
              <a:gd name="T7" fmla="*/ 2147483647 h 72"/>
              <a:gd name="T8" fmla="*/ 2147483647 w 64"/>
              <a:gd name="T9" fmla="*/ 2147483647 h 72"/>
              <a:gd name="T10" fmla="*/ 0 w 64"/>
              <a:gd name="T11" fmla="*/ 2147483647 h 72"/>
              <a:gd name="T12" fmla="*/ 2147483647 w 64"/>
              <a:gd name="T13" fmla="*/ 2147483647 h 72"/>
              <a:gd name="T14" fmla="*/ 2147483647 w 64"/>
              <a:gd name="T15" fmla="*/ 2147483647 h 72"/>
              <a:gd name="T16" fmla="*/ 2147483647 w 64"/>
              <a:gd name="T17" fmla="*/ 2147483647 h 72"/>
              <a:gd name="T18" fmla="*/ 2147483647 w 64"/>
              <a:gd name="T19" fmla="*/ 2147483647 h 72"/>
              <a:gd name="T20" fmla="*/ 2147483647 w 64"/>
              <a:gd name="T21" fmla="*/ 2147483647 h 72"/>
              <a:gd name="T22" fmla="*/ 2147483647 w 64"/>
              <a:gd name="T23" fmla="*/ 2147483647 h 72"/>
              <a:gd name="T24" fmla="*/ 2147483647 w 64"/>
              <a:gd name="T25" fmla="*/ 2147483647 h 72"/>
              <a:gd name="T26" fmla="*/ 2147483647 w 64"/>
              <a:gd name="T27" fmla="*/ 2147483647 h 72"/>
              <a:gd name="T28" fmla="*/ 2147483647 w 64"/>
              <a:gd name="T29" fmla="*/ 2147483647 h 72"/>
              <a:gd name="T30" fmla="*/ 2147483647 w 64"/>
              <a:gd name="T31" fmla="*/ 0 h 72"/>
              <a:gd name="T32" fmla="*/ 2147483647 w 64"/>
              <a:gd name="T33" fmla="*/ 0 h 7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64" h="72">
                <a:moveTo>
                  <a:pt x="48" y="0"/>
                </a:moveTo>
                <a:lnTo>
                  <a:pt x="48" y="8"/>
                </a:lnTo>
                <a:lnTo>
                  <a:pt x="40" y="16"/>
                </a:lnTo>
                <a:lnTo>
                  <a:pt x="40" y="24"/>
                </a:lnTo>
                <a:lnTo>
                  <a:pt x="24" y="16"/>
                </a:lnTo>
                <a:lnTo>
                  <a:pt x="0" y="48"/>
                </a:lnTo>
                <a:lnTo>
                  <a:pt x="24" y="48"/>
                </a:lnTo>
                <a:lnTo>
                  <a:pt x="24" y="72"/>
                </a:lnTo>
                <a:lnTo>
                  <a:pt x="48" y="72"/>
                </a:lnTo>
                <a:lnTo>
                  <a:pt x="56" y="72"/>
                </a:lnTo>
                <a:lnTo>
                  <a:pt x="64" y="64"/>
                </a:lnTo>
                <a:lnTo>
                  <a:pt x="48" y="56"/>
                </a:lnTo>
                <a:lnTo>
                  <a:pt x="40" y="40"/>
                </a:lnTo>
                <a:lnTo>
                  <a:pt x="64" y="32"/>
                </a:lnTo>
                <a:lnTo>
                  <a:pt x="56" y="16"/>
                </a:lnTo>
                <a:lnTo>
                  <a:pt x="64" y="0"/>
                </a:lnTo>
                <a:lnTo>
                  <a:pt x="4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9" name="Freeform 56"/>
          <p:cNvSpPr>
            <a:spLocks noChangeAspect="1"/>
          </p:cNvSpPr>
          <p:nvPr/>
        </p:nvSpPr>
        <p:spPr bwMode="auto">
          <a:xfrm>
            <a:off x="5155629" y="2558216"/>
            <a:ext cx="106363" cy="133350"/>
          </a:xfrm>
          <a:custGeom>
            <a:avLst/>
            <a:gdLst>
              <a:gd name="T0" fmla="*/ 0 w 48"/>
              <a:gd name="T1" fmla="*/ 2147483647 h 64"/>
              <a:gd name="T2" fmla="*/ 2147483647 w 48"/>
              <a:gd name="T3" fmla="*/ 2147483647 h 64"/>
              <a:gd name="T4" fmla="*/ 2147483647 w 48"/>
              <a:gd name="T5" fmla="*/ 0 h 64"/>
              <a:gd name="T6" fmla="*/ 2147483647 w 48"/>
              <a:gd name="T7" fmla="*/ 2147483647 h 64"/>
              <a:gd name="T8" fmla="*/ 2147483647 w 48"/>
              <a:gd name="T9" fmla="*/ 2147483647 h 64"/>
              <a:gd name="T10" fmla="*/ 2147483647 w 48"/>
              <a:gd name="T11" fmla="*/ 2147483647 h 64"/>
              <a:gd name="T12" fmla="*/ 2147483647 w 48"/>
              <a:gd name="T13" fmla="*/ 2147483647 h 64"/>
              <a:gd name="T14" fmla="*/ 2147483647 w 48"/>
              <a:gd name="T15" fmla="*/ 2147483647 h 64"/>
              <a:gd name="T16" fmla="*/ 2147483647 w 48"/>
              <a:gd name="T17" fmla="*/ 2147483647 h 64"/>
              <a:gd name="T18" fmla="*/ 0 w 48"/>
              <a:gd name="T19" fmla="*/ 2147483647 h 64"/>
              <a:gd name="T20" fmla="*/ 2147483647 w 48"/>
              <a:gd name="T21" fmla="*/ 2147483647 h 64"/>
              <a:gd name="T22" fmla="*/ 0 w 48"/>
              <a:gd name="T23" fmla="*/ 2147483647 h 64"/>
              <a:gd name="T24" fmla="*/ 0 w 48"/>
              <a:gd name="T25" fmla="*/ 2147483647 h 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8" h="64">
                <a:moveTo>
                  <a:pt x="0" y="8"/>
                </a:moveTo>
                <a:lnTo>
                  <a:pt x="8" y="8"/>
                </a:lnTo>
                <a:lnTo>
                  <a:pt x="16" y="0"/>
                </a:lnTo>
                <a:lnTo>
                  <a:pt x="32" y="16"/>
                </a:lnTo>
                <a:lnTo>
                  <a:pt x="48" y="40"/>
                </a:lnTo>
                <a:lnTo>
                  <a:pt x="48" y="48"/>
                </a:lnTo>
                <a:lnTo>
                  <a:pt x="24" y="64"/>
                </a:lnTo>
                <a:lnTo>
                  <a:pt x="8" y="48"/>
                </a:lnTo>
                <a:lnTo>
                  <a:pt x="16" y="40"/>
                </a:lnTo>
                <a:lnTo>
                  <a:pt x="0" y="24"/>
                </a:lnTo>
                <a:lnTo>
                  <a:pt x="8" y="24"/>
                </a:lnTo>
                <a:lnTo>
                  <a:pt x="0" y="16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0" name="Freeform 57"/>
          <p:cNvSpPr>
            <a:spLocks noChangeAspect="1"/>
          </p:cNvSpPr>
          <p:nvPr/>
        </p:nvSpPr>
        <p:spPr bwMode="auto">
          <a:xfrm>
            <a:off x="3947542" y="2139116"/>
            <a:ext cx="852487" cy="319088"/>
          </a:xfrm>
          <a:custGeom>
            <a:avLst/>
            <a:gdLst>
              <a:gd name="T0" fmla="*/ 2147483647 w 384"/>
              <a:gd name="T1" fmla="*/ 2147483647 h 152"/>
              <a:gd name="T2" fmla="*/ 2147483647 w 384"/>
              <a:gd name="T3" fmla="*/ 2147483647 h 152"/>
              <a:gd name="T4" fmla="*/ 2147483647 w 384"/>
              <a:gd name="T5" fmla="*/ 2147483647 h 152"/>
              <a:gd name="T6" fmla="*/ 2147483647 w 384"/>
              <a:gd name="T7" fmla="*/ 2147483647 h 152"/>
              <a:gd name="T8" fmla="*/ 2147483647 w 384"/>
              <a:gd name="T9" fmla="*/ 2147483647 h 152"/>
              <a:gd name="T10" fmla="*/ 2147483647 w 384"/>
              <a:gd name="T11" fmla="*/ 2147483647 h 152"/>
              <a:gd name="T12" fmla="*/ 2147483647 w 384"/>
              <a:gd name="T13" fmla="*/ 2147483647 h 152"/>
              <a:gd name="T14" fmla="*/ 2147483647 w 384"/>
              <a:gd name="T15" fmla="*/ 2147483647 h 152"/>
              <a:gd name="T16" fmla="*/ 2147483647 w 384"/>
              <a:gd name="T17" fmla="*/ 2147483647 h 152"/>
              <a:gd name="T18" fmla="*/ 2147483647 w 384"/>
              <a:gd name="T19" fmla="*/ 2147483647 h 152"/>
              <a:gd name="T20" fmla="*/ 2147483647 w 384"/>
              <a:gd name="T21" fmla="*/ 2147483647 h 152"/>
              <a:gd name="T22" fmla="*/ 2147483647 w 384"/>
              <a:gd name="T23" fmla="*/ 2147483647 h 152"/>
              <a:gd name="T24" fmla="*/ 2147483647 w 384"/>
              <a:gd name="T25" fmla="*/ 2147483647 h 152"/>
              <a:gd name="T26" fmla="*/ 2147483647 w 384"/>
              <a:gd name="T27" fmla="*/ 2147483647 h 152"/>
              <a:gd name="T28" fmla="*/ 2147483647 w 384"/>
              <a:gd name="T29" fmla="*/ 2147483647 h 152"/>
              <a:gd name="T30" fmla="*/ 2147483647 w 384"/>
              <a:gd name="T31" fmla="*/ 2147483647 h 152"/>
              <a:gd name="T32" fmla="*/ 2147483647 w 384"/>
              <a:gd name="T33" fmla="*/ 2147483647 h 152"/>
              <a:gd name="T34" fmla="*/ 2147483647 w 384"/>
              <a:gd name="T35" fmla="*/ 2147483647 h 152"/>
              <a:gd name="T36" fmla="*/ 2147483647 w 384"/>
              <a:gd name="T37" fmla="*/ 2147483647 h 152"/>
              <a:gd name="T38" fmla="*/ 2147483647 w 384"/>
              <a:gd name="T39" fmla="*/ 2147483647 h 152"/>
              <a:gd name="T40" fmla="*/ 2147483647 w 384"/>
              <a:gd name="T41" fmla="*/ 2147483647 h 152"/>
              <a:gd name="T42" fmla="*/ 2147483647 w 384"/>
              <a:gd name="T43" fmla="*/ 2147483647 h 152"/>
              <a:gd name="T44" fmla="*/ 2147483647 w 384"/>
              <a:gd name="T45" fmla="*/ 2147483647 h 152"/>
              <a:gd name="T46" fmla="*/ 0 w 384"/>
              <a:gd name="T47" fmla="*/ 2147483647 h 152"/>
              <a:gd name="T48" fmla="*/ 2147483647 w 384"/>
              <a:gd name="T49" fmla="*/ 2147483647 h 152"/>
              <a:gd name="T50" fmla="*/ 2147483647 w 384"/>
              <a:gd name="T51" fmla="*/ 2147483647 h 152"/>
              <a:gd name="T52" fmla="*/ 2147483647 w 384"/>
              <a:gd name="T53" fmla="*/ 2147483647 h 152"/>
              <a:gd name="T54" fmla="*/ 2147483647 w 384"/>
              <a:gd name="T55" fmla="*/ 2147483647 h 152"/>
              <a:gd name="T56" fmla="*/ 2147483647 w 384"/>
              <a:gd name="T57" fmla="*/ 2147483647 h 152"/>
              <a:gd name="T58" fmla="*/ 2147483647 w 384"/>
              <a:gd name="T59" fmla="*/ 2147483647 h 152"/>
              <a:gd name="T60" fmla="*/ 2147483647 w 384"/>
              <a:gd name="T61" fmla="*/ 0 h 152"/>
              <a:gd name="T62" fmla="*/ 2147483647 w 384"/>
              <a:gd name="T63" fmla="*/ 2147483647 h 152"/>
              <a:gd name="T64" fmla="*/ 2147483647 w 384"/>
              <a:gd name="T65" fmla="*/ 2147483647 h 152"/>
              <a:gd name="T66" fmla="*/ 2147483647 w 384"/>
              <a:gd name="T67" fmla="*/ 2147483647 h 152"/>
              <a:gd name="T68" fmla="*/ 2147483647 w 384"/>
              <a:gd name="T69" fmla="*/ 2147483647 h 152"/>
              <a:gd name="T70" fmla="*/ 2147483647 w 384"/>
              <a:gd name="T71" fmla="*/ 2147483647 h 152"/>
              <a:gd name="T72" fmla="*/ 2147483647 w 384"/>
              <a:gd name="T73" fmla="*/ 2147483647 h 152"/>
              <a:gd name="T74" fmla="*/ 2147483647 w 384"/>
              <a:gd name="T75" fmla="*/ 2147483647 h 152"/>
              <a:gd name="T76" fmla="*/ 2147483647 w 384"/>
              <a:gd name="T77" fmla="*/ 2147483647 h 15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384" h="152">
                <a:moveTo>
                  <a:pt x="320" y="40"/>
                </a:moveTo>
                <a:lnTo>
                  <a:pt x="336" y="64"/>
                </a:lnTo>
                <a:lnTo>
                  <a:pt x="352" y="64"/>
                </a:lnTo>
                <a:lnTo>
                  <a:pt x="368" y="56"/>
                </a:lnTo>
                <a:lnTo>
                  <a:pt x="376" y="64"/>
                </a:lnTo>
                <a:lnTo>
                  <a:pt x="384" y="80"/>
                </a:lnTo>
                <a:lnTo>
                  <a:pt x="360" y="80"/>
                </a:lnTo>
                <a:lnTo>
                  <a:pt x="352" y="88"/>
                </a:lnTo>
                <a:lnTo>
                  <a:pt x="344" y="96"/>
                </a:lnTo>
                <a:lnTo>
                  <a:pt x="336" y="104"/>
                </a:lnTo>
                <a:lnTo>
                  <a:pt x="320" y="104"/>
                </a:lnTo>
                <a:lnTo>
                  <a:pt x="312" y="112"/>
                </a:lnTo>
                <a:lnTo>
                  <a:pt x="320" y="120"/>
                </a:lnTo>
                <a:lnTo>
                  <a:pt x="304" y="136"/>
                </a:lnTo>
                <a:lnTo>
                  <a:pt x="280" y="144"/>
                </a:lnTo>
                <a:lnTo>
                  <a:pt x="248" y="152"/>
                </a:lnTo>
                <a:lnTo>
                  <a:pt x="192" y="136"/>
                </a:lnTo>
                <a:lnTo>
                  <a:pt x="144" y="136"/>
                </a:lnTo>
                <a:lnTo>
                  <a:pt x="112" y="112"/>
                </a:lnTo>
                <a:lnTo>
                  <a:pt x="56" y="96"/>
                </a:lnTo>
                <a:lnTo>
                  <a:pt x="48" y="72"/>
                </a:lnTo>
                <a:lnTo>
                  <a:pt x="32" y="64"/>
                </a:lnTo>
                <a:lnTo>
                  <a:pt x="16" y="56"/>
                </a:lnTo>
                <a:lnTo>
                  <a:pt x="0" y="40"/>
                </a:lnTo>
                <a:lnTo>
                  <a:pt x="40" y="16"/>
                </a:lnTo>
                <a:lnTo>
                  <a:pt x="64" y="24"/>
                </a:lnTo>
                <a:lnTo>
                  <a:pt x="80" y="32"/>
                </a:lnTo>
                <a:lnTo>
                  <a:pt x="112" y="32"/>
                </a:lnTo>
                <a:lnTo>
                  <a:pt x="112" y="16"/>
                </a:lnTo>
                <a:lnTo>
                  <a:pt x="104" y="8"/>
                </a:lnTo>
                <a:lnTo>
                  <a:pt x="112" y="0"/>
                </a:lnTo>
                <a:lnTo>
                  <a:pt x="144" y="8"/>
                </a:lnTo>
                <a:lnTo>
                  <a:pt x="168" y="24"/>
                </a:lnTo>
                <a:lnTo>
                  <a:pt x="200" y="24"/>
                </a:lnTo>
                <a:lnTo>
                  <a:pt x="256" y="40"/>
                </a:lnTo>
                <a:lnTo>
                  <a:pt x="288" y="32"/>
                </a:lnTo>
                <a:lnTo>
                  <a:pt x="304" y="24"/>
                </a:lnTo>
                <a:lnTo>
                  <a:pt x="328" y="32"/>
                </a:lnTo>
                <a:lnTo>
                  <a:pt x="320" y="4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1" name="Freeform 58"/>
          <p:cNvSpPr>
            <a:spLocks noChangeAspect="1"/>
          </p:cNvSpPr>
          <p:nvPr/>
        </p:nvSpPr>
        <p:spPr bwMode="auto">
          <a:xfrm>
            <a:off x="2364804" y="2440741"/>
            <a:ext cx="534988" cy="200025"/>
          </a:xfrm>
          <a:custGeom>
            <a:avLst/>
            <a:gdLst>
              <a:gd name="T0" fmla="*/ 2147483647 w 240"/>
              <a:gd name="T1" fmla="*/ 2147483647 h 96"/>
              <a:gd name="T2" fmla="*/ 2147483647 w 240"/>
              <a:gd name="T3" fmla="*/ 2147483647 h 96"/>
              <a:gd name="T4" fmla="*/ 2147483647 w 240"/>
              <a:gd name="T5" fmla="*/ 2147483647 h 96"/>
              <a:gd name="T6" fmla="*/ 2147483647 w 240"/>
              <a:gd name="T7" fmla="*/ 2147483647 h 96"/>
              <a:gd name="T8" fmla="*/ 2147483647 w 240"/>
              <a:gd name="T9" fmla="*/ 2147483647 h 96"/>
              <a:gd name="T10" fmla="*/ 2147483647 w 240"/>
              <a:gd name="T11" fmla="*/ 0 h 96"/>
              <a:gd name="T12" fmla="*/ 2147483647 w 240"/>
              <a:gd name="T13" fmla="*/ 0 h 96"/>
              <a:gd name="T14" fmla="*/ 2147483647 w 240"/>
              <a:gd name="T15" fmla="*/ 2147483647 h 96"/>
              <a:gd name="T16" fmla="*/ 2147483647 w 240"/>
              <a:gd name="T17" fmla="*/ 2147483647 h 96"/>
              <a:gd name="T18" fmla="*/ 2147483647 w 240"/>
              <a:gd name="T19" fmla="*/ 2147483647 h 96"/>
              <a:gd name="T20" fmla="*/ 2147483647 w 240"/>
              <a:gd name="T21" fmla="*/ 2147483647 h 96"/>
              <a:gd name="T22" fmla="*/ 0 w 240"/>
              <a:gd name="T23" fmla="*/ 2147483647 h 96"/>
              <a:gd name="T24" fmla="*/ 0 w 240"/>
              <a:gd name="T25" fmla="*/ 2147483647 h 96"/>
              <a:gd name="T26" fmla="*/ 2147483647 w 240"/>
              <a:gd name="T27" fmla="*/ 2147483647 h 96"/>
              <a:gd name="T28" fmla="*/ 0 w 240"/>
              <a:gd name="T29" fmla="*/ 2147483647 h 96"/>
              <a:gd name="T30" fmla="*/ 2147483647 w 240"/>
              <a:gd name="T31" fmla="*/ 2147483647 h 96"/>
              <a:gd name="T32" fmla="*/ 2147483647 w 240"/>
              <a:gd name="T33" fmla="*/ 2147483647 h 96"/>
              <a:gd name="T34" fmla="*/ 2147483647 w 240"/>
              <a:gd name="T35" fmla="*/ 2147483647 h 96"/>
              <a:gd name="T36" fmla="*/ 2147483647 w 240"/>
              <a:gd name="T37" fmla="*/ 2147483647 h 96"/>
              <a:gd name="T38" fmla="*/ 2147483647 w 240"/>
              <a:gd name="T39" fmla="*/ 2147483647 h 96"/>
              <a:gd name="T40" fmla="*/ 2147483647 w 240"/>
              <a:gd name="T41" fmla="*/ 2147483647 h 96"/>
              <a:gd name="T42" fmla="*/ 0 w 240"/>
              <a:gd name="T43" fmla="*/ 2147483647 h 96"/>
              <a:gd name="T44" fmla="*/ 0 w 240"/>
              <a:gd name="T45" fmla="*/ 2147483647 h 96"/>
              <a:gd name="T46" fmla="*/ 2147483647 w 240"/>
              <a:gd name="T47" fmla="*/ 2147483647 h 96"/>
              <a:gd name="T48" fmla="*/ 2147483647 w 240"/>
              <a:gd name="T49" fmla="*/ 2147483647 h 96"/>
              <a:gd name="T50" fmla="*/ 2147483647 w 240"/>
              <a:gd name="T51" fmla="*/ 2147483647 h 96"/>
              <a:gd name="T52" fmla="*/ 2147483647 w 240"/>
              <a:gd name="T53" fmla="*/ 2147483647 h 96"/>
              <a:gd name="T54" fmla="*/ 2147483647 w 240"/>
              <a:gd name="T55" fmla="*/ 2147483647 h 96"/>
              <a:gd name="T56" fmla="*/ 2147483647 w 240"/>
              <a:gd name="T57" fmla="*/ 2147483647 h 96"/>
              <a:gd name="T58" fmla="*/ 2147483647 w 240"/>
              <a:gd name="T59" fmla="*/ 2147483647 h 96"/>
              <a:gd name="T60" fmla="*/ 2147483647 w 240"/>
              <a:gd name="T61" fmla="*/ 2147483647 h 96"/>
              <a:gd name="T62" fmla="*/ 2147483647 w 240"/>
              <a:gd name="T63" fmla="*/ 2147483647 h 96"/>
              <a:gd name="T64" fmla="*/ 2147483647 w 240"/>
              <a:gd name="T65" fmla="*/ 2147483647 h 96"/>
              <a:gd name="T66" fmla="*/ 2147483647 w 240"/>
              <a:gd name="T67" fmla="*/ 2147483647 h 96"/>
              <a:gd name="T68" fmla="*/ 2147483647 w 240"/>
              <a:gd name="T69" fmla="*/ 2147483647 h 96"/>
              <a:gd name="T70" fmla="*/ 2147483647 w 240"/>
              <a:gd name="T71" fmla="*/ 2147483647 h 96"/>
              <a:gd name="T72" fmla="*/ 2147483647 w 240"/>
              <a:gd name="T73" fmla="*/ 2147483647 h 96"/>
              <a:gd name="T74" fmla="*/ 2147483647 w 240"/>
              <a:gd name="T75" fmla="*/ 2147483647 h 96"/>
              <a:gd name="T76" fmla="*/ 2147483647 w 240"/>
              <a:gd name="T77" fmla="*/ 2147483647 h 96"/>
              <a:gd name="T78" fmla="*/ 2147483647 w 240"/>
              <a:gd name="T79" fmla="*/ 2147483647 h 96"/>
              <a:gd name="T80" fmla="*/ 2147483647 w 240"/>
              <a:gd name="T81" fmla="*/ 2147483647 h 96"/>
              <a:gd name="T82" fmla="*/ 2147483647 w 240"/>
              <a:gd name="T83" fmla="*/ 2147483647 h 96"/>
              <a:gd name="T84" fmla="*/ 2147483647 w 240"/>
              <a:gd name="T85" fmla="*/ 2147483647 h 96"/>
              <a:gd name="T86" fmla="*/ 2147483647 w 240"/>
              <a:gd name="T87" fmla="*/ 2147483647 h 96"/>
              <a:gd name="T88" fmla="*/ 2147483647 w 240"/>
              <a:gd name="T89" fmla="*/ 2147483647 h 96"/>
              <a:gd name="T90" fmla="*/ 2147483647 w 240"/>
              <a:gd name="T91" fmla="*/ 2147483647 h 96"/>
              <a:gd name="T92" fmla="*/ 2147483647 w 240"/>
              <a:gd name="T93" fmla="*/ 2147483647 h 96"/>
              <a:gd name="T94" fmla="*/ 2147483647 w 240"/>
              <a:gd name="T95" fmla="*/ 2147483647 h 96"/>
              <a:gd name="T96" fmla="*/ 2147483647 w 240"/>
              <a:gd name="T97" fmla="*/ 2147483647 h 96"/>
              <a:gd name="T98" fmla="*/ 2147483647 w 240"/>
              <a:gd name="T99" fmla="*/ 2147483647 h 96"/>
              <a:gd name="T100" fmla="*/ 2147483647 w 240"/>
              <a:gd name="T101" fmla="*/ 2147483647 h 96"/>
              <a:gd name="T102" fmla="*/ 2147483647 w 240"/>
              <a:gd name="T103" fmla="*/ 2147483647 h 96"/>
              <a:gd name="T104" fmla="*/ 2147483647 w 240"/>
              <a:gd name="T105" fmla="*/ 2147483647 h 96"/>
              <a:gd name="T106" fmla="*/ 2147483647 w 240"/>
              <a:gd name="T107" fmla="*/ 2147483647 h 9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40" h="96">
                <a:moveTo>
                  <a:pt x="208" y="16"/>
                </a:moveTo>
                <a:lnTo>
                  <a:pt x="208" y="8"/>
                </a:lnTo>
                <a:lnTo>
                  <a:pt x="192" y="8"/>
                </a:lnTo>
                <a:lnTo>
                  <a:pt x="168" y="16"/>
                </a:lnTo>
                <a:lnTo>
                  <a:pt x="136" y="16"/>
                </a:lnTo>
                <a:lnTo>
                  <a:pt x="104" y="0"/>
                </a:lnTo>
                <a:lnTo>
                  <a:pt x="88" y="0"/>
                </a:lnTo>
                <a:lnTo>
                  <a:pt x="64" y="16"/>
                </a:lnTo>
                <a:lnTo>
                  <a:pt x="48" y="16"/>
                </a:lnTo>
                <a:lnTo>
                  <a:pt x="32" y="16"/>
                </a:lnTo>
                <a:lnTo>
                  <a:pt x="24" y="8"/>
                </a:lnTo>
                <a:lnTo>
                  <a:pt x="0" y="8"/>
                </a:lnTo>
                <a:lnTo>
                  <a:pt x="0" y="24"/>
                </a:lnTo>
                <a:lnTo>
                  <a:pt x="8" y="24"/>
                </a:lnTo>
                <a:lnTo>
                  <a:pt x="0" y="32"/>
                </a:lnTo>
                <a:lnTo>
                  <a:pt x="16" y="16"/>
                </a:lnTo>
                <a:lnTo>
                  <a:pt x="32" y="16"/>
                </a:lnTo>
                <a:lnTo>
                  <a:pt x="40" y="24"/>
                </a:lnTo>
                <a:lnTo>
                  <a:pt x="32" y="24"/>
                </a:lnTo>
                <a:lnTo>
                  <a:pt x="40" y="32"/>
                </a:lnTo>
                <a:lnTo>
                  <a:pt x="8" y="32"/>
                </a:lnTo>
                <a:lnTo>
                  <a:pt x="0" y="32"/>
                </a:lnTo>
                <a:lnTo>
                  <a:pt x="0" y="40"/>
                </a:lnTo>
                <a:lnTo>
                  <a:pt x="8" y="40"/>
                </a:lnTo>
                <a:lnTo>
                  <a:pt x="16" y="56"/>
                </a:lnTo>
                <a:lnTo>
                  <a:pt x="8" y="56"/>
                </a:lnTo>
                <a:lnTo>
                  <a:pt x="16" y="64"/>
                </a:lnTo>
                <a:lnTo>
                  <a:pt x="16" y="72"/>
                </a:lnTo>
                <a:lnTo>
                  <a:pt x="24" y="72"/>
                </a:lnTo>
                <a:lnTo>
                  <a:pt x="16" y="80"/>
                </a:lnTo>
                <a:lnTo>
                  <a:pt x="32" y="80"/>
                </a:lnTo>
                <a:lnTo>
                  <a:pt x="24" y="80"/>
                </a:lnTo>
                <a:lnTo>
                  <a:pt x="48" y="88"/>
                </a:lnTo>
                <a:lnTo>
                  <a:pt x="56" y="88"/>
                </a:lnTo>
                <a:lnTo>
                  <a:pt x="64" y="80"/>
                </a:lnTo>
                <a:lnTo>
                  <a:pt x="72" y="80"/>
                </a:lnTo>
                <a:lnTo>
                  <a:pt x="88" y="96"/>
                </a:lnTo>
                <a:lnTo>
                  <a:pt x="96" y="88"/>
                </a:lnTo>
                <a:lnTo>
                  <a:pt x="112" y="80"/>
                </a:lnTo>
                <a:lnTo>
                  <a:pt x="120" y="88"/>
                </a:lnTo>
                <a:lnTo>
                  <a:pt x="128" y="80"/>
                </a:lnTo>
                <a:lnTo>
                  <a:pt x="128" y="96"/>
                </a:lnTo>
                <a:lnTo>
                  <a:pt x="136" y="88"/>
                </a:lnTo>
                <a:lnTo>
                  <a:pt x="136" y="80"/>
                </a:lnTo>
                <a:lnTo>
                  <a:pt x="160" y="80"/>
                </a:lnTo>
                <a:lnTo>
                  <a:pt x="168" y="80"/>
                </a:lnTo>
                <a:lnTo>
                  <a:pt x="184" y="80"/>
                </a:lnTo>
                <a:lnTo>
                  <a:pt x="208" y="72"/>
                </a:lnTo>
                <a:lnTo>
                  <a:pt x="216" y="72"/>
                </a:lnTo>
                <a:lnTo>
                  <a:pt x="240" y="72"/>
                </a:lnTo>
                <a:lnTo>
                  <a:pt x="224" y="40"/>
                </a:lnTo>
                <a:lnTo>
                  <a:pt x="232" y="32"/>
                </a:lnTo>
                <a:lnTo>
                  <a:pt x="216" y="32"/>
                </a:lnTo>
                <a:lnTo>
                  <a:pt x="208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2" name="Freeform 59"/>
          <p:cNvSpPr>
            <a:spLocks noChangeAspect="1"/>
          </p:cNvSpPr>
          <p:nvPr/>
        </p:nvSpPr>
        <p:spPr bwMode="auto">
          <a:xfrm>
            <a:off x="2648967" y="2593141"/>
            <a:ext cx="179387" cy="166688"/>
          </a:xfrm>
          <a:custGeom>
            <a:avLst/>
            <a:gdLst>
              <a:gd name="T0" fmla="*/ 2147483647 w 80"/>
              <a:gd name="T1" fmla="*/ 0 h 80"/>
              <a:gd name="T2" fmla="*/ 2147483647 w 80"/>
              <a:gd name="T3" fmla="*/ 2147483647 h 80"/>
              <a:gd name="T4" fmla="*/ 2147483647 w 80"/>
              <a:gd name="T5" fmla="*/ 2147483647 h 80"/>
              <a:gd name="T6" fmla="*/ 2147483647 w 80"/>
              <a:gd name="T7" fmla="*/ 2147483647 h 80"/>
              <a:gd name="T8" fmla="*/ 2147483647 w 80"/>
              <a:gd name="T9" fmla="*/ 2147483647 h 80"/>
              <a:gd name="T10" fmla="*/ 2147483647 w 80"/>
              <a:gd name="T11" fmla="*/ 2147483647 h 80"/>
              <a:gd name="T12" fmla="*/ 0 w 80"/>
              <a:gd name="T13" fmla="*/ 2147483647 h 80"/>
              <a:gd name="T14" fmla="*/ 0 w 80"/>
              <a:gd name="T15" fmla="*/ 2147483647 h 80"/>
              <a:gd name="T16" fmla="*/ 2147483647 w 80"/>
              <a:gd name="T17" fmla="*/ 2147483647 h 80"/>
              <a:gd name="T18" fmla="*/ 0 w 80"/>
              <a:gd name="T19" fmla="*/ 2147483647 h 80"/>
              <a:gd name="T20" fmla="*/ 0 w 80"/>
              <a:gd name="T21" fmla="*/ 2147483647 h 80"/>
              <a:gd name="T22" fmla="*/ 2147483647 w 80"/>
              <a:gd name="T23" fmla="*/ 2147483647 h 80"/>
              <a:gd name="T24" fmla="*/ 2147483647 w 80"/>
              <a:gd name="T25" fmla="*/ 2147483647 h 80"/>
              <a:gd name="T26" fmla="*/ 2147483647 w 80"/>
              <a:gd name="T27" fmla="*/ 2147483647 h 80"/>
              <a:gd name="T28" fmla="*/ 2147483647 w 80"/>
              <a:gd name="T29" fmla="*/ 2147483647 h 80"/>
              <a:gd name="T30" fmla="*/ 2147483647 w 80"/>
              <a:gd name="T31" fmla="*/ 0 h 8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0" h="80">
                <a:moveTo>
                  <a:pt x="80" y="0"/>
                </a:moveTo>
                <a:lnTo>
                  <a:pt x="56" y="8"/>
                </a:lnTo>
                <a:lnTo>
                  <a:pt x="40" y="8"/>
                </a:lnTo>
                <a:lnTo>
                  <a:pt x="32" y="8"/>
                </a:lnTo>
                <a:lnTo>
                  <a:pt x="8" y="8"/>
                </a:lnTo>
                <a:lnTo>
                  <a:pt x="8" y="16"/>
                </a:lnTo>
                <a:lnTo>
                  <a:pt x="0" y="24"/>
                </a:lnTo>
                <a:lnTo>
                  <a:pt x="0" y="48"/>
                </a:lnTo>
                <a:lnTo>
                  <a:pt x="8" y="48"/>
                </a:lnTo>
                <a:lnTo>
                  <a:pt x="0" y="64"/>
                </a:lnTo>
                <a:lnTo>
                  <a:pt x="0" y="72"/>
                </a:lnTo>
                <a:lnTo>
                  <a:pt x="8" y="80"/>
                </a:lnTo>
                <a:lnTo>
                  <a:pt x="40" y="64"/>
                </a:lnTo>
                <a:lnTo>
                  <a:pt x="64" y="48"/>
                </a:lnTo>
                <a:lnTo>
                  <a:pt x="64" y="16"/>
                </a:lnTo>
                <a:lnTo>
                  <a:pt x="8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3" name="Freeform 60"/>
          <p:cNvSpPr>
            <a:spLocks noChangeAspect="1"/>
          </p:cNvSpPr>
          <p:nvPr/>
        </p:nvSpPr>
        <p:spPr bwMode="auto">
          <a:xfrm>
            <a:off x="2631504" y="2724904"/>
            <a:ext cx="125413" cy="117475"/>
          </a:xfrm>
          <a:custGeom>
            <a:avLst/>
            <a:gdLst>
              <a:gd name="T0" fmla="*/ 2147483647 w 56"/>
              <a:gd name="T1" fmla="*/ 2147483647 h 56"/>
              <a:gd name="T2" fmla="*/ 2147483647 w 56"/>
              <a:gd name="T3" fmla="*/ 2147483647 h 56"/>
              <a:gd name="T4" fmla="*/ 2147483647 w 56"/>
              <a:gd name="T5" fmla="*/ 0 h 56"/>
              <a:gd name="T6" fmla="*/ 2147483647 w 56"/>
              <a:gd name="T7" fmla="*/ 2147483647 h 56"/>
              <a:gd name="T8" fmla="*/ 2147483647 w 56"/>
              <a:gd name="T9" fmla="*/ 2147483647 h 56"/>
              <a:gd name="T10" fmla="*/ 2147483647 w 56"/>
              <a:gd name="T11" fmla="*/ 2147483647 h 56"/>
              <a:gd name="T12" fmla="*/ 2147483647 w 56"/>
              <a:gd name="T13" fmla="*/ 2147483647 h 56"/>
              <a:gd name="T14" fmla="*/ 2147483647 w 56"/>
              <a:gd name="T15" fmla="*/ 2147483647 h 56"/>
              <a:gd name="T16" fmla="*/ 2147483647 w 56"/>
              <a:gd name="T17" fmla="*/ 2147483647 h 56"/>
              <a:gd name="T18" fmla="*/ 0 w 56"/>
              <a:gd name="T19" fmla="*/ 2147483647 h 56"/>
              <a:gd name="T20" fmla="*/ 2147483647 w 56"/>
              <a:gd name="T21" fmla="*/ 2147483647 h 56"/>
              <a:gd name="T22" fmla="*/ 0 w 56"/>
              <a:gd name="T23" fmla="*/ 2147483647 h 56"/>
              <a:gd name="T24" fmla="*/ 2147483647 w 56"/>
              <a:gd name="T25" fmla="*/ 2147483647 h 5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6" h="56">
                <a:moveTo>
                  <a:pt x="8" y="8"/>
                </a:moveTo>
                <a:lnTo>
                  <a:pt x="16" y="16"/>
                </a:lnTo>
                <a:lnTo>
                  <a:pt x="48" y="0"/>
                </a:lnTo>
                <a:lnTo>
                  <a:pt x="56" y="16"/>
                </a:lnTo>
                <a:lnTo>
                  <a:pt x="24" y="24"/>
                </a:lnTo>
                <a:lnTo>
                  <a:pt x="40" y="40"/>
                </a:lnTo>
                <a:lnTo>
                  <a:pt x="32" y="48"/>
                </a:lnTo>
                <a:lnTo>
                  <a:pt x="24" y="48"/>
                </a:lnTo>
                <a:lnTo>
                  <a:pt x="16" y="56"/>
                </a:lnTo>
                <a:lnTo>
                  <a:pt x="0" y="56"/>
                </a:lnTo>
                <a:lnTo>
                  <a:pt x="8" y="32"/>
                </a:lnTo>
                <a:lnTo>
                  <a:pt x="0" y="16"/>
                </a:lnTo>
                <a:lnTo>
                  <a:pt x="8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4" name="Freeform 61"/>
          <p:cNvSpPr>
            <a:spLocks noChangeAspect="1"/>
          </p:cNvSpPr>
          <p:nvPr/>
        </p:nvSpPr>
        <p:spPr bwMode="auto">
          <a:xfrm>
            <a:off x="2737867" y="2593141"/>
            <a:ext cx="287337" cy="266700"/>
          </a:xfrm>
          <a:custGeom>
            <a:avLst/>
            <a:gdLst>
              <a:gd name="T0" fmla="*/ 2147483647 w 128"/>
              <a:gd name="T1" fmla="*/ 0 h 128"/>
              <a:gd name="T2" fmla="*/ 2147483647 w 128"/>
              <a:gd name="T3" fmla="*/ 2147483647 h 128"/>
              <a:gd name="T4" fmla="*/ 2147483647 w 128"/>
              <a:gd name="T5" fmla="*/ 2147483647 h 128"/>
              <a:gd name="T6" fmla="*/ 2147483647 w 128"/>
              <a:gd name="T7" fmla="*/ 2147483647 h 128"/>
              <a:gd name="T8" fmla="*/ 2147483647 w 128"/>
              <a:gd name="T9" fmla="*/ 2147483647 h 128"/>
              <a:gd name="T10" fmla="*/ 2147483647 w 128"/>
              <a:gd name="T11" fmla="*/ 2147483647 h 128"/>
              <a:gd name="T12" fmla="*/ 2147483647 w 128"/>
              <a:gd name="T13" fmla="*/ 2147483647 h 128"/>
              <a:gd name="T14" fmla="*/ 2147483647 w 128"/>
              <a:gd name="T15" fmla="*/ 2147483647 h 128"/>
              <a:gd name="T16" fmla="*/ 2147483647 w 128"/>
              <a:gd name="T17" fmla="*/ 2147483647 h 128"/>
              <a:gd name="T18" fmla="*/ 2147483647 w 128"/>
              <a:gd name="T19" fmla="*/ 2147483647 h 128"/>
              <a:gd name="T20" fmla="*/ 2147483647 w 128"/>
              <a:gd name="T21" fmla="*/ 2147483647 h 128"/>
              <a:gd name="T22" fmla="*/ 2147483647 w 128"/>
              <a:gd name="T23" fmla="*/ 2147483647 h 128"/>
              <a:gd name="T24" fmla="*/ 2147483647 w 128"/>
              <a:gd name="T25" fmla="*/ 2147483647 h 128"/>
              <a:gd name="T26" fmla="*/ 2147483647 w 128"/>
              <a:gd name="T27" fmla="*/ 2147483647 h 128"/>
              <a:gd name="T28" fmla="*/ 2147483647 w 128"/>
              <a:gd name="T29" fmla="*/ 2147483647 h 128"/>
              <a:gd name="T30" fmla="*/ 2147483647 w 128"/>
              <a:gd name="T31" fmla="*/ 2147483647 h 128"/>
              <a:gd name="T32" fmla="*/ 0 w 128"/>
              <a:gd name="T33" fmla="*/ 2147483647 h 128"/>
              <a:gd name="T34" fmla="*/ 2147483647 w 128"/>
              <a:gd name="T35" fmla="*/ 2147483647 h 128"/>
              <a:gd name="T36" fmla="*/ 2147483647 w 128"/>
              <a:gd name="T37" fmla="*/ 2147483647 h 128"/>
              <a:gd name="T38" fmla="*/ 2147483647 w 128"/>
              <a:gd name="T39" fmla="*/ 0 h 128"/>
              <a:gd name="T40" fmla="*/ 2147483647 w 128"/>
              <a:gd name="T41" fmla="*/ 0 h 128"/>
              <a:gd name="T42" fmla="*/ 2147483647 w 128"/>
              <a:gd name="T43" fmla="*/ 0 h 128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28" h="128">
                <a:moveTo>
                  <a:pt x="72" y="0"/>
                </a:moveTo>
                <a:lnTo>
                  <a:pt x="88" y="32"/>
                </a:lnTo>
                <a:lnTo>
                  <a:pt x="80" y="48"/>
                </a:lnTo>
                <a:lnTo>
                  <a:pt x="88" y="64"/>
                </a:lnTo>
                <a:lnTo>
                  <a:pt x="112" y="72"/>
                </a:lnTo>
                <a:lnTo>
                  <a:pt x="112" y="96"/>
                </a:lnTo>
                <a:lnTo>
                  <a:pt x="128" y="112"/>
                </a:lnTo>
                <a:lnTo>
                  <a:pt x="112" y="112"/>
                </a:lnTo>
                <a:lnTo>
                  <a:pt x="104" y="128"/>
                </a:lnTo>
                <a:lnTo>
                  <a:pt x="88" y="120"/>
                </a:lnTo>
                <a:lnTo>
                  <a:pt x="80" y="128"/>
                </a:lnTo>
                <a:lnTo>
                  <a:pt x="64" y="120"/>
                </a:lnTo>
                <a:lnTo>
                  <a:pt x="64" y="104"/>
                </a:lnTo>
                <a:lnTo>
                  <a:pt x="56" y="104"/>
                </a:lnTo>
                <a:lnTo>
                  <a:pt x="24" y="88"/>
                </a:lnTo>
                <a:lnTo>
                  <a:pt x="8" y="80"/>
                </a:lnTo>
                <a:lnTo>
                  <a:pt x="0" y="64"/>
                </a:lnTo>
                <a:lnTo>
                  <a:pt x="24" y="48"/>
                </a:lnTo>
                <a:lnTo>
                  <a:pt x="24" y="16"/>
                </a:lnTo>
                <a:lnTo>
                  <a:pt x="40" y="0"/>
                </a:lnTo>
                <a:lnTo>
                  <a:pt x="48" y="0"/>
                </a:lnTo>
                <a:lnTo>
                  <a:pt x="72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5" name="Freeform 62"/>
          <p:cNvSpPr>
            <a:spLocks noChangeAspect="1"/>
          </p:cNvSpPr>
          <p:nvPr/>
        </p:nvSpPr>
        <p:spPr bwMode="auto">
          <a:xfrm>
            <a:off x="2631504" y="2691566"/>
            <a:ext cx="36513" cy="33338"/>
          </a:xfrm>
          <a:custGeom>
            <a:avLst/>
            <a:gdLst>
              <a:gd name="T0" fmla="*/ 2147483647 w 16"/>
              <a:gd name="T1" fmla="*/ 0 h 16"/>
              <a:gd name="T2" fmla="*/ 2147483647 w 16"/>
              <a:gd name="T3" fmla="*/ 0 h 16"/>
              <a:gd name="T4" fmla="*/ 2147483647 w 16"/>
              <a:gd name="T5" fmla="*/ 2147483647 h 16"/>
              <a:gd name="T6" fmla="*/ 0 w 16"/>
              <a:gd name="T7" fmla="*/ 2147483647 h 16"/>
              <a:gd name="T8" fmla="*/ 2147483647 w 16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" h="16">
                <a:moveTo>
                  <a:pt x="8" y="0"/>
                </a:moveTo>
                <a:lnTo>
                  <a:pt x="16" y="0"/>
                </a:lnTo>
                <a:lnTo>
                  <a:pt x="8" y="16"/>
                </a:lnTo>
                <a:lnTo>
                  <a:pt x="0" y="16"/>
                </a:lnTo>
                <a:lnTo>
                  <a:pt x="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6" name="Freeform 63"/>
          <p:cNvSpPr>
            <a:spLocks noChangeAspect="1"/>
          </p:cNvSpPr>
          <p:nvPr/>
        </p:nvSpPr>
        <p:spPr bwMode="auto">
          <a:xfrm>
            <a:off x="2614042" y="2724904"/>
            <a:ext cx="34925" cy="117475"/>
          </a:xfrm>
          <a:custGeom>
            <a:avLst/>
            <a:gdLst>
              <a:gd name="T0" fmla="*/ 2147483647 w 16"/>
              <a:gd name="T1" fmla="*/ 2147483647 h 56"/>
              <a:gd name="T2" fmla="*/ 2147483647 w 16"/>
              <a:gd name="T3" fmla="*/ 2147483647 h 56"/>
              <a:gd name="T4" fmla="*/ 2147483647 w 16"/>
              <a:gd name="T5" fmla="*/ 2147483647 h 56"/>
              <a:gd name="T6" fmla="*/ 2147483647 w 16"/>
              <a:gd name="T7" fmla="*/ 2147483647 h 56"/>
              <a:gd name="T8" fmla="*/ 0 w 16"/>
              <a:gd name="T9" fmla="*/ 2147483647 h 56"/>
              <a:gd name="T10" fmla="*/ 0 w 16"/>
              <a:gd name="T11" fmla="*/ 2147483647 h 56"/>
              <a:gd name="T12" fmla="*/ 2147483647 w 16"/>
              <a:gd name="T13" fmla="*/ 0 h 56"/>
              <a:gd name="T14" fmla="*/ 2147483647 w 16"/>
              <a:gd name="T15" fmla="*/ 0 h 56"/>
              <a:gd name="T16" fmla="*/ 2147483647 w 16"/>
              <a:gd name="T17" fmla="*/ 2147483647 h 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6" h="56">
                <a:moveTo>
                  <a:pt x="16" y="8"/>
                </a:moveTo>
                <a:lnTo>
                  <a:pt x="8" y="16"/>
                </a:lnTo>
                <a:lnTo>
                  <a:pt x="16" y="32"/>
                </a:lnTo>
                <a:lnTo>
                  <a:pt x="8" y="56"/>
                </a:lnTo>
                <a:lnTo>
                  <a:pt x="0" y="32"/>
                </a:lnTo>
                <a:lnTo>
                  <a:pt x="0" y="24"/>
                </a:lnTo>
                <a:lnTo>
                  <a:pt x="8" y="0"/>
                </a:lnTo>
                <a:lnTo>
                  <a:pt x="16" y="0"/>
                </a:lnTo>
                <a:lnTo>
                  <a:pt x="16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7" name="Freeform 64"/>
          <p:cNvSpPr>
            <a:spLocks noChangeAspect="1"/>
          </p:cNvSpPr>
          <p:nvPr/>
        </p:nvSpPr>
        <p:spPr bwMode="auto">
          <a:xfrm>
            <a:off x="2345754" y="2775704"/>
            <a:ext cx="322263" cy="303212"/>
          </a:xfrm>
          <a:custGeom>
            <a:avLst/>
            <a:gdLst>
              <a:gd name="T0" fmla="*/ 2147483647 w 144"/>
              <a:gd name="T1" fmla="*/ 2147483647 h 144"/>
              <a:gd name="T2" fmla="*/ 2147483647 w 144"/>
              <a:gd name="T3" fmla="*/ 2147483647 h 144"/>
              <a:gd name="T4" fmla="*/ 2147483647 w 144"/>
              <a:gd name="T5" fmla="*/ 2147483647 h 144"/>
              <a:gd name="T6" fmla="*/ 2147483647 w 144"/>
              <a:gd name="T7" fmla="*/ 2147483647 h 144"/>
              <a:gd name="T8" fmla="*/ 2147483647 w 144"/>
              <a:gd name="T9" fmla="*/ 0 h 144"/>
              <a:gd name="T10" fmla="*/ 2147483647 w 144"/>
              <a:gd name="T11" fmla="*/ 0 h 144"/>
              <a:gd name="T12" fmla="*/ 2147483647 w 144"/>
              <a:gd name="T13" fmla="*/ 2147483647 h 144"/>
              <a:gd name="T14" fmla="*/ 2147483647 w 144"/>
              <a:gd name="T15" fmla="*/ 0 h 144"/>
              <a:gd name="T16" fmla="*/ 0 w 144"/>
              <a:gd name="T17" fmla="*/ 0 h 144"/>
              <a:gd name="T18" fmla="*/ 0 w 144"/>
              <a:gd name="T19" fmla="*/ 2147483647 h 144"/>
              <a:gd name="T20" fmla="*/ 0 w 144"/>
              <a:gd name="T21" fmla="*/ 2147483647 h 144"/>
              <a:gd name="T22" fmla="*/ 2147483647 w 144"/>
              <a:gd name="T23" fmla="*/ 2147483647 h 144"/>
              <a:gd name="T24" fmla="*/ 2147483647 w 144"/>
              <a:gd name="T25" fmla="*/ 2147483647 h 144"/>
              <a:gd name="T26" fmla="*/ 2147483647 w 144"/>
              <a:gd name="T27" fmla="*/ 2147483647 h 144"/>
              <a:gd name="T28" fmla="*/ 2147483647 w 144"/>
              <a:gd name="T29" fmla="*/ 2147483647 h 144"/>
              <a:gd name="T30" fmla="*/ 2147483647 w 144"/>
              <a:gd name="T31" fmla="*/ 2147483647 h 144"/>
              <a:gd name="T32" fmla="*/ 2147483647 w 144"/>
              <a:gd name="T33" fmla="*/ 2147483647 h 144"/>
              <a:gd name="T34" fmla="*/ 2147483647 w 144"/>
              <a:gd name="T35" fmla="*/ 2147483647 h 144"/>
              <a:gd name="T36" fmla="*/ 2147483647 w 144"/>
              <a:gd name="T37" fmla="*/ 2147483647 h 144"/>
              <a:gd name="T38" fmla="*/ 2147483647 w 144"/>
              <a:gd name="T39" fmla="*/ 2147483647 h 144"/>
              <a:gd name="T40" fmla="*/ 2147483647 w 144"/>
              <a:gd name="T41" fmla="*/ 2147483647 h 144"/>
              <a:gd name="T42" fmla="*/ 2147483647 w 144"/>
              <a:gd name="T43" fmla="*/ 2147483647 h 144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44" h="144">
                <a:moveTo>
                  <a:pt x="120" y="8"/>
                </a:moveTo>
                <a:lnTo>
                  <a:pt x="104" y="8"/>
                </a:lnTo>
                <a:lnTo>
                  <a:pt x="96" y="8"/>
                </a:lnTo>
                <a:lnTo>
                  <a:pt x="88" y="8"/>
                </a:lnTo>
                <a:lnTo>
                  <a:pt x="88" y="0"/>
                </a:lnTo>
                <a:lnTo>
                  <a:pt x="80" y="0"/>
                </a:lnTo>
                <a:lnTo>
                  <a:pt x="56" y="8"/>
                </a:lnTo>
                <a:lnTo>
                  <a:pt x="24" y="0"/>
                </a:lnTo>
                <a:lnTo>
                  <a:pt x="0" y="0"/>
                </a:lnTo>
                <a:lnTo>
                  <a:pt x="0" y="24"/>
                </a:lnTo>
                <a:lnTo>
                  <a:pt x="0" y="48"/>
                </a:lnTo>
                <a:lnTo>
                  <a:pt x="8" y="144"/>
                </a:lnTo>
                <a:lnTo>
                  <a:pt x="112" y="144"/>
                </a:lnTo>
                <a:lnTo>
                  <a:pt x="128" y="144"/>
                </a:lnTo>
                <a:lnTo>
                  <a:pt x="144" y="128"/>
                </a:lnTo>
                <a:lnTo>
                  <a:pt x="144" y="112"/>
                </a:lnTo>
                <a:lnTo>
                  <a:pt x="104" y="40"/>
                </a:lnTo>
                <a:lnTo>
                  <a:pt x="96" y="24"/>
                </a:lnTo>
                <a:lnTo>
                  <a:pt x="112" y="48"/>
                </a:lnTo>
                <a:lnTo>
                  <a:pt x="120" y="56"/>
                </a:lnTo>
                <a:lnTo>
                  <a:pt x="128" y="32"/>
                </a:lnTo>
                <a:lnTo>
                  <a:pt x="12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8" name="Freeform 65"/>
          <p:cNvSpPr>
            <a:spLocks noChangeAspect="1"/>
          </p:cNvSpPr>
          <p:nvPr/>
        </p:nvSpPr>
        <p:spPr bwMode="auto">
          <a:xfrm>
            <a:off x="2506092" y="3647241"/>
            <a:ext cx="161925" cy="166688"/>
          </a:xfrm>
          <a:custGeom>
            <a:avLst/>
            <a:gdLst>
              <a:gd name="T0" fmla="*/ 2147483647 w 72"/>
              <a:gd name="T1" fmla="*/ 0 h 80"/>
              <a:gd name="T2" fmla="*/ 2147483647 w 72"/>
              <a:gd name="T3" fmla="*/ 2147483647 h 80"/>
              <a:gd name="T4" fmla="*/ 2147483647 w 72"/>
              <a:gd name="T5" fmla="*/ 2147483647 h 80"/>
              <a:gd name="T6" fmla="*/ 2147483647 w 72"/>
              <a:gd name="T7" fmla="*/ 2147483647 h 80"/>
              <a:gd name="T8" fmla="*/ 2147483647 w 72"/>
              <a:gd name="T9" fmla="*/ 2147483647 h 80"/>
              <a:gd name="T10" fmla="*/ 2147483647 w 72"/>
              <a:gd name="T11" fmla="*/ 2147483647 h 80"/>
              <a:gd name="T12" fmla="*/ 2147483647 w 72"/>
              <a:gd name="T13" fmla="*/ 2147483647 h 80"/>
              <a:gd name="T14" fmla="*/ 0 w 72"/>
              <a:gd name="T15" fmla="*/ 2147483647 h 80"/>
              <a:gd name="T16" fmla="*/ 2147483647 w 72"/>
              <a:gd name="T17" fmla="*/ 2147483647 h 80"/>
              <a:gd name="T18" fmla="*/ 2147483647 w 72"/>
              <a:gd name="T19" fmla="*/ 2147483647 h 80"/>
              <a:gd name="T20" fmla="*/ 2147483647 w 72"/>
              <a:gd name="T21" fmla="*/ 2147483647 h 80"/>
              <a:gd name="T22" fmla="*/ 2147483647 w 72"/>
              <a:gd name="T23" fmla="*/ 2147483647 h 80"/>
              <a:gd name="T24" fmla="*/ 2147483647 w 72"/>
              <a:gd name="T25" fmla="*/ 2147483647 h 80"/>
              <a:gd name="T26" fmla="*/ 2147483647 w 72"/>
              <a:gd name="T27" fmla="*/ 0 h 80"/>
              <a:gd name="T28" fmla="*/ 2147483647 w 72"/>
              <a:gd name="T29" fmla="*/ 0 h 8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72" h="80">
                <a:moveTo>
                  <a:pt x="56" y="0"/>
                </a:moveTo>
                <a:lnTo>
                  <a:pt x="32" y="8"/>
                </a:lnTo>
                <a:lnTo>
                  <a:pt x="16" y="8"/>
                </a:lnTo>
                <a:lnTo>
                  <a:pt x="16" y="24"/>
                </a:lnTo>
                <a:lnTo>
                  <a:pt x="24" y="32"/>
                </a:lnTo>
                <a:lnTo>
                  <a:pt x="16" y="40"/>
                </a:lnTo>
                <a:lnTo>
                  <a:pt x="8" y="56"/>
                </a:lnTo>
                <a:lnTo>
                  <a:pt x="0" y="80"/>
                </a:lnTo>
                <a:lnTo>
                  <a:pt x="8" y="80"/>
                </a:lnTo>
                <a:lnTo>
                  <a:pt x="32" y="80"/>
                </a:lnTo>
                <a:lnTo>
                  <a:pt x="56" y="80"/>
                </a:lnTo>
                <a:lnTo>
                  <a:pt x="56" y="56"/>
                </a:lnTo>
                <a:lnTo>
                  <a:pt x="72" y="32"/>
                </a:lnTo>
                <a:lnTo>
                  <a:pt x="64" y="0"/>
                </a:lnTo>
                <a:lnTo>
                  <a:pt x="56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9" name="Freeform 66"/>
          <p:cNvSpPr>
            <a:spLocks noChangeAspect="1"/>
          </p:cNvSpPr>
          <p:nvPr/>
        </p:nvSpPr>
        <p:spPr bwMode="auto">
          <a:xfrm>
            <a:off x="2631504" y="3629779"/>
            <a:ext cx="230188" cy="301625"/>
          </a:xfrm>
          <a:custGeom>
            <a:avLst/>
            <a:gdLst>
              <a:gd name="T0" fmla="*/ 2147483647 w 104"/>
              <a:gd name="T1" fmla="*/ 2147483647 h 144"/>
              <a:gd name="T2" fmla="*/ 2147483647 w 104"/>
              <a:gd name="T3" fmla="*/ 2147483647 h 144"/>
              <a:gd name="T4" fmla="*/ 2147483647 w 104"/>
              <a:gd name="T5" fmla="*/ 2147483647 h 144"/>
              <a:gd name="T6" fmla="*/ 0 w 104"/>
              <a:gd name="T7" fmla="*/ 2147483647 h 144"/>
              <a:gd name="T8" fmla="*/ 0 w 104"/>
              <a:gd name="T9" fmla="*/ 2147483647 h 144"/>
              <a:gd name="T10" fmla="*/ 2147483647 w 104"/>
              <a:gd name="T11" fmla="*/ 2147483647 h 144"/>
              <a:gd name="T12" fmla="*/ 2147483647 w 104"/>
              <a:gd name="T13" fmla="*/ 2147483647 h 144"/>
              <a:gd name="T14" fmla="*/ 0 w 104"/>
              <a:gd name="T15" fmla="*/ 2147483647 h 144"/>
              <a:gd name="T16" fmla="*/ 2147483647 w 104"/>
              <a:gd name="T17" fmla="*/ 0 h 144"/>
              <a:gd name="T18" fmla="*/ 2147483647 w 104"/>
              <a:gd name="T19" fmla="*/ 0 h 144"/>
              <a:gd name="T20" fmla="*/ 2147483647 w 104"/>
              <a:gd name="T21" fmla="*/ 0 h 144"/>
              <a:gd name="T22" fmla="*/ 2147483647 w 104"/>
              <a:gd name="T23" fmla="*/ 2147483647 h 144"/>
              <a:gd name="T24" fmla="*/ 2147483647 w 104"/>
              <a:gd name="T25" fmla="*/ 2147483647 h 144"/>
              <a:gd name="T26" fmla="*/ 2147483647 w 104"/>
              <a:gd name="T27" fmla="*/ 2147483647 h 144"/>
              <a:gd name="T28" fmla="*/ 2147483647 w 104"/>
              <a:gd name="T29" fmla="*/ 2147483647 h 144"/>
              <a:gd name="T30" fmla="*/ 2147483647 w 104"/>
              <a:gd name="T31" fmla="*/ 2147483647 h 144"/>
              <a:gd name="T32" fmla="*/ 2147483647 w 104"/>
              <a:gd name="T33" fmla="*/ 2147483647 h 144"/>
              <a:gd name="T34" fmla="*/ 2147483647 w 104"/>
              <a:gd name="T35" fmla="*/ 2147483647 h 144"/>
              <a:gd name="T36" fmla="*/ 2147483647 w 104"/>
              <a:gd name="T37" fmla="*/ 2147483647 h 144"/>
              <a:gd name="T38" fmla="*/ 2147483647 w 104"/>
              <a:gd name="T39" fmla="*/ 2147483647 h 144"/>
              <a:gd name="T40" fmla="*/ 2147483647 w 104"/>
              <a:gd name="T41" fmla="*/ 2147483647 h 144"/>
              <a:gd name="T42" fmla="*/ 2147483647 w 104"/>
              <a:gd name="T43" fmla="*/ 2147483647 h 144"/>
              <a:gd name="T44" fmla="*/ 2147483647 w 104"/>
              <a:gd name="T45" fmla="*/ 2147483647 h 1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104" h="144">
                <a:moveTo>
                  <a:pt x="56" y="128"/>
                </a:moveTo>
                <a:lnTo>
                  <a:pt x="48" y="112"/>
                </a:lnTo>
                <a:lnTo>
                  <a:pt x="8" y="88"/>
                </a:lnTo>
                <a:lnTo>
                  <a:pt x="0" y="88"/>
                </a:lnTo>
                <a:lnTo>
                  <a:pt x="0" y="64"/>
                </a:lnTo>
                <a:lnTo>
                  <a:pt x="16" y="40"/>
                </a:lnTo>
                <a:lnTo>
                  <a:pt x="8" y="8"/>
                </a:lnTo>
                <a:lnTo>
                  <a:pt x="0" y="8"/>
                </a:lnTo>
                <a:lnTo>
                  <a:pt x="8" y="0"/>
                </a:lnTo>
                <a:lnTo>
                  <a:pt x="24" y="0"/>
                </a:lnTo>
                <a:lnTo>
                  <a:pt x="40" y="0"/>
                </a:lnTo>
                <a:lnTo>
                  <a:pt x="56" y="16"/>
                </a:lnTo>
                <a:lnTo>
                  <a:pt x="72" y="16"/>
                </a:lnTo>
                <a:lnTo>
                  <a:pt x="96" y="8"/>
                </a:lnTo>
                <a:lnTo>
                  <a:pt x="104" y="8"/>
                </a:lnTo>
                <a:lnTo>
                  <a:pt x="96" y="32"/>
                </a:lnTo>
                <a:lnTo>
                  <a:pt x="96" y="80"/>
                </a:lnTo>
                <a:lnTo>
                  <a:pt x="104" y="96"/>
                </a:lnTo>
                <a:lnTo>
                  <a:pt x="88" y="112"/>
                </a:lnTo>
                <a:lnTo>
                  <a:pt x="88" y="104"/>
                </a:lnTo>
                <a:lnTo>
                  <a:pt x="88" y="120"/>
                </a:lnTo>
                <a:lnTo>
                  <a:pt x="72" y="144"/>
                </a:lnTo>
                <a:lnTo>
                  <a:pt x="56" y="12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0" name="Freeform 67"/>
          <p:cNvSpPr>
            <a:spLocks noChangeAspect="1"/>
          </p:cNvSpPr>
          <p:nvPr/>
        </p:nvSpPr>
        <p:spPr bwMode="auto">
          <a:xfrm>
            <a:off x="2506092" y="3813929"/>
            <a:ext cx="322262" cy="334962"/>
          </a:xfrm>
          <a:custGeom>
            <a:avLst/>
            <a:gdLst>
              <a:gd name="T0" fmla="*/ 2147483647 w 144"/>
              <a:gd name="T1" fmla="*/ 0 h 160"/>
              <a:gd name="T2" fmla="*/ 2147483647 w 144"/>
              <a:gd name="T3" fmla="*/ 2147483647 h 160"/>
              <a:gd name="T4" fmla="*/ 2147483647 w 144"/>
              <a:gd name="T5" fmla="*/ 2147483647 h 160"/>
              <a:gd name="T6" fmla="*/ 2147483647 w 144"/>
              <a:gd name="T7" fmla="*/ 2147483647 h 160"/>
              <a:gd name="T8" fmla="*/ 0 w 144"/>
              <a:gd name="T9" fmla="*/ 2147483647 h 160"/>
              <a:gd name="T10" fmla="*/ 0 w 144"/>
              <a:gd name="T11" fmla="*/ 2147483647 h 160"/>
              <a:gd name="T12" fmla="*/ 2147483647 w 144"/>
              <a:gd name="T13" fmla="*/ 2147483647 h 160"/>
              <a:gd name="T14" fmla="*/ 2147483647 w 144"/>
              <a:gd name="T15" fmla="*/ 2147483647 h 160"/>
              <a:gd name="T16" fmla="*/ 2147483647 w 144"/>
              <a:gd name="T17" fmla="*/ 2147483647 h 160"/>
              <a:gd name="T18" fmla="*/ 2147483647 w 144"/>
              <a:gd name="T19" fmla="*/ 2147483647 h 160"/>
              <a:gd name="T20" fmla="*/ 2147483647 w 144"/>
              <a:gd name="T21" fmla="*/ 2147483647 h 160"/>
              <a:gd name="T22" fmla="*/ 2147483647 w 144"/>
              <a:gd name="T23" fmla="*/ 2147483647 h 160"/>
              <a:gd name="T24" fmla="*/ 2147483647 w 144"/>
              <a:gd name="T25" fmla="*/ 2147483647 h 160"/>
              <a:gd name="T26" fmla="*/ 2147483647 w 144"/>
              <a:gd name="T27" fmla="*/ 2147483647 h 160"/>
              <a:gd name="T28" fmla="*/ 2147483647 w 144"/>
              <a:gd name="T29" fmla="*/ 2147483647 h 160"/>
              <a:gd name="T30" fmla="*/ 2147483647 w 144"/>
              <a:gd name="T31" fmla="*/ 2147483647 h 160"/>
              <a:gd name="T32" fmla="*/ 2147483647 w 144"/>
              <a:gd name="T33" fmla="*/ 2147483647 h 160"/>
              <a:gd name="T34" fmla="*/ 2147483647 w 144"/>
              <a:gd name="T35" fmla="*/ 2147483647 h 160"/>
              <a:gd name="T36" fmla="*/ 2147483647 w 144"/>
              <a:gd name="T37" fmla="*/ 2147483647 h 160"/>
              <a:gd name="T38" fmla="*/ 2147483647 w 144"/>
              <a:gd name="T39" fmla="*/ 2147483647 h 160"/>
              <a:gd name="T40" fmla="*/ 2147483647 w 144"/>
              <a:gd name="T41" fmla="*/ 2147483647 h 160"/>
              <a:gd name="T42" fmla="*/ 2147483647 w 144"/>
              <a:gd name="T43" fmla="*/ 2147483647 h 160"/>
              <a:gd name="T44" fmla="*/ 2147483647 w 144"/>
              <a:gd name="T45" fmla="*/ 2147483647 h 160"/>
              <a:gd name="T46" fmla="*/ 2147483647 w 144"/>
              <a:gd name="T47" fmla="*/ 0 h 160"/>
              <a:gd name="T48" fmla="*/ 2147483647 w 144"/>
              <a:gd name="T49" fmla="*/ 0 h 160"/>
              <a:gd name="T50" fmla="*/ 2147483647 w 144"/>
              <a:gd name="T51" fmla="*/ 0 h 160"/>
              <a:gd name="T52" fmla="*/ 2147483647 w 144"/>
              <a:gd name="T53" fmla="*/ 0 h 16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44" h="160">
                <a:moveTo>
                  <a:pt x="8" y="0"/>
                </a:moveTo>
                <a:lnTo>
                  <a:pt x="16" y="8"/>
                </a:lnTo>
                <a:lnTo>
                  <a:pt x="16" y="16"/>
                </a:lnTo>
                <a:lnTo>
                  <a:pt x="16" y="32"/>
                </a:lnTo>
                <a:lnTo>
                  <a:pt x="0" y="48"/>
                </a:lnTo>
                <a:lnTo>
                  <a:pt x="0" y="80"/>
                </a:lnTo>
                <a:lnTo>
                  <a:pt x="16" y="104"/>
                </a:lnTo>
                <a:lnTo>
                  <a:pt x="16" y="112"/>
                </a:lnTo>
                <a:lnTo>
                  <a:pt x="24" y="112"/>
                </a:lnTo>
                <a:lnTo>
                  <a:pt x="48" y="128"/>
                </a:lnTo>
                <a:lnTo>
                  <a:pt x="56" y="128"/>
                </a:lnTo>
                <a:lnTo>
                  <a:pt x="64" y="136"/>
                </a:lnTo>
                <a:lnTo>
                  <a:pt x="72" y="160"/>
                </a:lnTo>
                <a:lnTo>
                  <a:pt x="88" y="160"/>
                </a:lnTo>
                <a:lnTo>
                  <a:pt x="128" y="152"/>
                </a:lnTo>
                <a:lnTo>
                  <a:pt x="144" y="144"/>
                </a:lnTo>
                <a:lnTo>
                  <a:pt x="136" y="136"/>
                </a:lnTo>
                <a:lnTo>
                  <a:pt x="128" y="120"/>
                </a:lnTo>
                <a:lnTo>
                  <a:pt x="136" y="88"/>
                </a:lnTo>
                <a:lnTo>
                  <a:pt x="120" y="72"/>
                </a:lnTo>
                <a:lnTo>
                  <a:pt x="128" y="56"/>
                </a:lnTo>
                <a:lnTo>
                  <a:pt x="112" y="40"/>
                </a:lnTo>
                <a:lnTo>
                  <a:pt x="104" y="24"/>
                </a:lnTo>
                <a:lnTo>
                  <a:pt x="64" y="0"/>
                </a:lnTo>
                <a:lnTo>
                  <a:pt x="56" y="0"/>
                </a:lnTo>
                <a:lnTo>
                  <a:pt x="32" y="0"/>
                </a:lnTo>
                <a:lnTo>
                  <a:pt x="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1" name="Freeform 68"/>
          <p:cNvSpPr>
            <a:spLocks noChangeAspect="1"/>
          </p:cNvSpPr>
          <p:nvPr/>
        </p:nvSpPr>
        <p:spPr bwMode="auto">
          <a:xfrm>
            <a:off x="2274317" y="4034591"/>
            <a:ext cx="357187" cy="317500"/>
          </a:xfrm>
          <a:custGeom>
            <a:avLst/>
            <a:gdLst>
              <a:gd name="T0" fmla="*/ 2147483647 w 160"/>
              <a:gd name="T1" fmla="*/ 2147483647 h 152"/>
              <a:gd name="T2" fmla="*/ 2147483647 w 160"/>
              <a:gd name="T3" fmla="*/ 2147483647 h 152"/>
              <a:gd name="T4" fmla="*/ 2147483647 w 160"/>
              <a:gd name="T5" fmla="*/ 2147483647 h 152"/>
              <a:gd name="T6" fmla="*/ 2147483647 w 160"/>
              <a:gd name="T7" fmla="*/ 2147483647 h 152"/>
              <a:gd name="T8" fmla="*/ 2147483647 w 160"/>
              <a:gd name="T9" fmla="*/ 2147483647 h 152"/>
              <a:gd name="T10" fmla="*/ 2147483647 w 160"/>
              <a:gd name="T11" fmla="*/ 2147483647 h 152"/>
              <a:gd name="T12" fmla="*/ 0 w 160"/>
              <a:gd name="T13" fmla="*/ 2147483647 h 152"/>
              <a:gd name="T14" fmla="*/ 0 w 160"/>
              <a:gd name="T15" fmla="*/ 2147483647 h 152"/>
              <a:gd name="T16" fmla="*/ 2147483647 w 160"/>
              <a:gd name="T17" fmla="*/ 2147483647 h 152"/>
              <a:gd name="T18" fmla="*/ 2147483647 w 160"/>
              <a:gd name="T19" fmla="*/ 2147483647 h 152"/>
              <a:gd name="T20" fmla="*/ 2147483647 w 160"/>
              <a:gd name="T21" fmla="*/ 2147483647 h 152"/>
              <a:gd name="T22" fmla="*/ 2147483647 w 160"/>
              <a:gd name="T23" fmla="*/ 2147483647 h 152"/>
              <a:gd name="T24" fmla="*/ 2147483647 w 160"/>
              <a:gd name="T25" fmla="*/ 2147483647 h 152"/>
              <a:gd name="T26" fmla="*/ 2147483647 w 160"/>
              <a:gd name="T27" fmla="*/ 2147483647 h 152"/>
              <a:gd name="T28" fmla="*/ 2147483647 w 160"/>
              <a:gd name="T29" fmla="*/ 2147483647 h 152"/>
              <a:gd name="T30" fmla="*/ 2147483647 w 160"/>
              <a:gd name="T31" fmla="*/ 2147483647 h 152"/>
              <a:gd name="T32" fmla="*/ 2147483647 w 160"/>
              <a:gd name="T33" fmla="*/ 2147483647 h 152"/>
              <a:gd name="T34" fmla="*/ 2147483647 w 160"/>
              <a:gd name="T35" fmla="*/ 2147483647 h 152"/>
              <a:gd name="T36" fmla="*/ 2147483647 w 160"/>
              <a:gd name="T37" fmla="*/ 2147483647 h 152"/>
              <a:gd name="T38" fmla="*/ 2147483647 w 160"/>
              <a:gd name="T39" fmla="*/ 2147483647 h 152"/>
              <a:gd name="T40" fmla="*/ 2147483647 w 160"/>
              <a:gd name="T41" fmla="*/ 0 h 152"/>
              <a:gd name="T42" fmla="*/ 2147483647 w 160"/>
              <a:gd name="T43" fmla="*/ 0 h 152"/>
              <a:gd name="T44" fmla="*/ 2147483647 w 160"/>
              <a:gd name="T45" fmla="*/ 2147483647 h 152"/>
              <a:gd name="T46" fmla="*/ 2147483647 w 160"/>
              <a:gd name="T47" fmla="*/ 2147483647 h 152"/>
              <a:gd name="T48" fmla="*/ 2147483647 w 160"/>
              <a:gd name="T49" fmla="*/ 2147483647 h 152"/>
              <a:gd name="T50" fmla="*/ 2147483647 w 160"/>
              <a:gd name="T51" fmla="*/ 2147483647 h 152"/>
              <a:gd name="T52" fmla="*/ 2147483647 w 160"/>
              <a:gd name="T53" fmla="*/ 2147483647 h 152"/>
              <a:gd name="T54" fmla="*/ 2147483647 w 160"/>
              <a:gd name="T55" fmla="*/ 2147483647 h 152"/>
              <a:gd name="T56" fmla="*/ 2147483647 w 160"/>
              <a:gd name="T57" fmla="*/ 2147483647 h 152"/>
              <a:gd name="T58" fmla="*/ 2147483647 w 160"/>
              <a:gd name="T59" fmla="*/ 2147483647 h 152"/>
              <a:gd name="T60" fmla="*/ 2147483647 w 160"/>
              <a:gd name="T61" fmla="*/ 2147483647 h 152"/>
              <a:gd name="T62" fmla="*/ 2147483647 w 160"/>
              <a:gd name="T63" fmla="*/ 2147483647 h 152"/>
              <a:gd name="T64" fmla="*/ 2147483647 w 160"/>
              <a:gd name="T65" fmla="*/ 2147483647 h 152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52">
                <a:moveTo>
                  <a:pt x="96" y="120"/>
                </a:moveTo>
                <a:lnTo>
                  <a:pt x="88" y="128"/>
                </a:lnTo>
                <a:lnTo>
                  <a:pt x="64" y="152"/>
                </a:lnTo>
                <a:lnTo>
                  <a:pt x="40" y="152"/>
                </a:lnTo>
                <a:lnTo>
                  <a:pt x="24" y="144"/>
                </a:lnTo>
                <a:lnTo>
                  <a:pt x="16" y="144"/>
                </a:lnTo>
                <a:lnTo>
                  <a:pt x="0" y="128"/>
                </a:lnTo>
                <a:lnTo>
                  <a:pt x="0" y="80"/>
                </a:lnTo>
                <a:lnTo>
                  <a:pt x="32" y="72"/>
                </a:lnTo>
                <a:lnTo>
                  <a:pt x="24" y="72"/>
                </a:lnTo>
                <a:lnTo>
                  <a:pt x="32" y="40"/>
                </a:lnTo>
                <a:lnTo>
                  <a:pt x="56" y="56"/>
                </a:lnTo>
                <a:lnTo>
                  <a:pt x="64" y="56"/>
                </a:lnTo>
                <a:lnTo>
                  <a:pt x="88" y="72"/>
                </a:lnTo>
                <a:lnTo>
                  <a:pt x="104" y="80"/>
                </a:lnTo>
                <a:lnTo>
                  <a:pt x="104" y="64"/>
                </a:lnTo>
                <a:lnTo>
                  <a:pt x="96" y="64"/>
                </a:lnTo>
                <a:lnTo>
                  <a:pt x="88" y="56"/>
                </a:lnTo>
                <a:lnTo>
                  <a:pt x="96" y="16"/>
                </a:lnTo>
                <a:lnTo>
                  <a:pt x="96" y="8"/>
                </a:lnTo>
                <a:lnTo>
                  <a:pt x="112" y="0"/>
                </a:lnTo>
                <a:lnTo>
                  <a:pt x="120" y="0"/>
                </a:lnTo>
                <a:lnTo>
                  <a:pt x="120" y="8"/>
                </a:lnTo>
                <a:lnTo>
                  <a:pt x="128" y="8"/>
                </a:lnTo>
                <a:lnTo>
                  <a:pt x="152" y="24"/>
                </a:lnTo>
                <a:lnTo>
                  <a:pt x="160" y="40"/>
                </a:lnTo>
                <a:lnTo>
                  <a:pt x="152" y="56"/>
                </a:lnTo>
                <a:lnTo>
                  <a:pt x="152" y="64"/>
                </a:lnTo>
                <a:lnTo>
                  <a:pt x="144" y="88"/>
                </a:lnTo>
                <a:lnTo>
                  <a:pt x="152" y="88"/>
                </a:lnTo>
                <a:lnTo>
                  <a:pt x="112" y="104"/>
                </a:lnTo>
                <a:lnTo>
                  <a:pt x="112" y="112"/>
                </a:lnTo>
                <a:lnTo>
                  <a:pt x="96" y="12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2" name="Freeform 69"/>
          <p:cNvSpPr>
            <a:spLocks noChangeAspect="1"/>
          </p:cNvSpPr>
          <p:nvPr/>
        </p:nvSpPr>
        <p:spPr bwMode="auto">
          <a:xfrm>
            <a:off x="2506092" y="4115554"/>
            <a:ext cx="322262" cy="533400"/>
          </a:xfrm>
          <a:custGeom>
            <a:avLst/>
            <a:gdLst>
              <a:gd name="T0" fmla="*/ 2147483647 w 136"/>
              <a:gd name="T1" fmla="*/ 2147483647 h 240"/>
              <a:gd name="T2" fmla="*/ 2147483647 w 136"/>
              <a:gd name="T3" fmla="*/ 2147483647 h 240"/>
              <a:gd name="T4" fmla="*/ 2147483647 w 136"/>
              <a:gd name="T5" fmla="*/ 2147483647 h 240"/>
              <a:gd name="T6" fmla="*/ 2147483647 w 136"/>
              <a:gd name="T7" fmla="*/ 2147483647 h 240"/>
              <a:gd name="T8" fmla="*/ 2147483647 w 136"/>
              <a:gd name="T9" fmla="*/ 2147483647 h 240"/>
              <a:gd name="T10" fmla="*/ 2147483647 w 136"/>
              <a:gd name="T11" fmla="*/ 2147483647 h 240"/>
              <a:gd name="T12" fmla="*/ 2147483647 w 136"/>
              <a:gd name="T13" fmla="*/ 2147483647 h 240"/>
              <a:gd name="T14" fmla="*/ 2147483647 w 136"/>
              <a:gd name="T15" fmla="*/ 2147483647 h 240"/>
              <a:gd name="T16" fmla="*/ 2147483647 w 136"/>
              <a:gd name="T17" fmla="*/ 2147483647 h 240"/>
              <a:gd name="T18" fmla="*/ 2147483647 w 136"/>
              <a:gd name="T19" fmla="*/ 2147483647 h 240"/>
              <a:gd name="T20" fmla="*/ 2147483647 w 136"/>
              <a:gd name="T21" fmla="*/ 2147483647 h 240"/>
              <a:gd name="T22" fmla="*/ 2147483647 w 136"/>
              <a:gd name="T23" fmla="*/ 0 h 240"/>
              <a:gd name="T24" fmla="*/ 2147483647 w 136"/>
              <a:gd name="T25" fmla="*/ 2147483647 h 240"/>
              <a:gd name="T26" fmla="*/ 2147483647 w 136"/>
              <a:gd name="T27" fmla="*/ 2147483647 h 240"/>
              <a:gd name="T28" fmla="*/ 2147483647 w 136"/>
              <a:gd name="T29" fmla="*/ 2147483647 h 240"/>
              <a:gd name="T30" fmla="*/ 2147483647 w 136"/>
              <a:gd name="T31" fmla="*/ 2147483647 h 240"/>
              <a:gd name="T32" fmla="*/ 2147483647 w 136"/>
              <a:gd name="T33" fmla="*/ 2147483647 h 240"/>
              <a:gd name="T34" fmla="*/ 2147483647 w 136"/>
              <a:gd name="T35" fmla="*/ 2147483647 h 240"/>
              <a:gd name="T36" fmla="*/ 2147483647 w 136"/>
              <a:gd name="T37" fmla="*/ 2147483647 h 240"/>
              <a:gd name="T38" fmla="*/ 2147483647 w 136"/>
              <a:gd name="T39" fmla="*/ 2147483647 h 240"/>
              <a:gd name="T40" fmla="*/ 2147483647 w 136"/>
              <a:gd name="T41" fmla="*/ 2147483647 h 240"/>
              <a:gd name="T42" fmla="*/ 2147483647 w 136"/>
              <a:gd name="T43" fmla="*/ 2147483647 h 240"/>
              <a:gd name="T44" fmla="*/ 2147483647 w 136"/>
              <a:gd name="T45" fmla="*/ 2147483647 h 240"/>
              <a:gd name="T46" fmla="*/ 2147483647 w 136"/>
              <a:gd name="T47" fmla="*/ 2147483647 h 240"/>
              <a:gd name="T48" fmla="*/ 0 w 136"/>
              <a:gd name="T49" fmla="*/ 2147483647 h 240"/>
              <a:gd name="T50" fmla="*/ 0 w 136"/>
              <a:gd name="T51" fmla="*/ 2147483647 h 240"/>
              <a:gd name="T52" fmla="*/ 0 w 136"/>
              <a:gd name="T53" fmla="*/ 2147483647 h 240"/>
              <a:gd name="T54" fmla="*/ 2147483647 w 136"/>
              <a:gd name="T55" fmla="*/ 2147483647 h 240"/>
              <a:gd name="T56" fmla="*/ 2147483647 w 136"/>
              <a:gd name="T57" fmla="*/ 2147483647 h 240"/>
              <a:gd name="T58" fmla="*/ 2147483647 w 136"/>
              <a:gd name="T59" fmla="*/ 2147483647 h 240"/>
              <a:gd name="T60" fmla="*/ 2147483647 w 136"/>
              <a:gd name="T61" fmla="*/ 2147483647 h 240"/>
              <a:gd name="T62" fmla="*/ 2147483647 w 136"/>
              <a:gd name="T63" fmla="*/ 2147483647 h 240"/>
              <a:gd name="T64" fmla="*/ 2147483647 w 136"/>
              <a:gd name="T65" fmla="*/ 2147483647 h 240"/>
              <a:gd name="T66" fmla="*/ 2147483647 w 136"/>
              <a:gd name="T67" fmla="*/ 2147483647 h 24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36" h="240">
                <a:moveTo>
                  <a:pt x="16" y="240"/>
                </a:moveTo>
                <a:lnTo>
                  <a:pt x="24" y="240"/>
                </a:lnTo>
                <a:lnTo>
                  <a:pt x="24" y="232"/>
                </a:lnTo>
                <a:lnTo>
                  <a:pt x="24" y="224"/>
                </a:lnTo>
                <a:lnTo>
                  <a:pt x="56" y="208"/>
                </a:lnTo>
                <a:lnTo>
                  <a:pt x="64" y="176"/>
                </a:lnTo>
                <a:lnTo>
                  <a:pt x="56" y="152"/>
                </a:lnTo>
                <a:lnTo>
                  <a:pt x="56" y="144"/>
                </a:lnTo>
                <a:lnTo>
                  <a:pt x="88" y="104"/>
                </a:lnTo>
                <a:lnTo>
                  <a:pt x="112" y="96"/>
                </a:lnTo>
                <a:lnTo>
                  <a:pt x="136" y="72"/>
                </a:lnTo>
                <a:lnTo>
                  <a:pt x="136" y="0"/>
                </a:lnTo>
                <a:lnTo>
                  <a:pt x="120" y="8"/>
                </a:lnTo>
                <a:lnTo>
                  <a:pt x="80" y="16"/>
                </a:lnTo>
                <a:lnTo>
                  <a:pt x="64" y="16"/>
                </a:lnTo>
                <a:lnTo>
                  <a:pt x="56" y="24"/>
                </a:lnTo>
                <a:lnTo>
                  <a:pt x="56" y="40"/>
                </a:lnTo>
                <a:lnTo>
                  <a:pt x="72" y="64"/>
                </a:lnTo>
                <a:lnTo>
                  <a:pt x="72" y="80"/>
                </a:lnTo>
                <a:lnTo>
                  <a:pt x="64" y="96"/>
                </a:lnTo>
                <a:lnTo>
                  <a:pt x="48" y="80"/>
                </a:lnTo>
                <a:lnTo>
                  <a:pt x="56" y="56"/>
                </a:lnTo>
                <a:lnTo>
                  <a:pt x="40" y="56"/>
                </a:lnTo>
                <a:lnTo>
                  <a:pt x="40" y="48"/>
                </a:lnTo>
                <a:lnTo>
                  <a:pt x="0" y="64"/>
                </a:lnTo>
                <a:lnTo>
                  <a:pt x="0" y="72"/>
                </a:lnTo>
                <a:lnTo>
                  <a:pt x="0" y="80"/>
                </a:lnTo>
                <a:lnTo>
                  <a:pt x="8" y="80"/>
                </a:lnTo>
                <a:lnTo>
                  <a:pt x="32" y="88"/>
                </a:lnTo>
                <a:lnTo>
                  <a:pt x="32" y="104"/>
                </a:lnTo>
                <a:lnTo>
                  <a:pt x="32" y="144"/>
                </a:lnTo>
                <a:lnTo>
                  <a:pt x="8" y="184"/>
                </a:lnTo>
                <a:lnTo>
                  <a:pt x="16" y="232"/>
                </a:lnTo>
                <a:lnTo>
                  <a:pt x="16" y="24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3" name="Freeform 70"/>
          <p:cNvSpPr>
            <a:spLocks noChangeAspect="1"/>
          </p:cNvSpPr>
          <p:nvPr/>
        </p:nvSpPr>
        <p:spPr bwMode="auto">
          <a:xfrm>
            <a:off x="2593404" y="4083804"/>
            <a:ext cx="90488" cy="234950"/>
          </a:xfrm>
          <a:custGeom>
            <a:avLst/>
            <a:gdLst>
              <a:gd name="T0" fmla="*/ 2147483647 w 40"/>
              <a:gd name="T1" fmla="*/ 0 h 112"/>
              <a:gd name="T2" fmla="*/ 2147483647 w 40"/>
              <a:gd name="T3" fmla="*/ 2147483647 h 112"/>
              <a:gd name="T4" fmla="*/ 2147483647 w 40"/>
              <a:gd name="T5" fmla="*/ 2147483647 h 112"/>
              <a:gd name="T6" fmla="*/ 2147483647 w 40"/>
              <a:gd name="T7" fmla="*/ 2147483647 h 112"/>
              <a:gd name="T8" fmla="*/ 0 w 40"/>
              <a:gd name="T9" fmla="*/ 2147483647 h 112"/>
              <a:gd name="T10" fmla="*/ 2147483647 w 40"/>
              <a:gd name="T11" fmla="*/ 2147483647 h 112"/>
              <a:gd name="T12" fmla="*/ 2147483647 w 40"/>
              <a:gd name="T13" fmla="*/ 2147483647 h 112"/>
              <a:gd name="T14" fmla="*/ 2147483647 w 40"/>
              <a:gd name="T15" fmla="*/ 2147483647 h 112"/>
              <a:gd name="T16" fmla="*/ 2147483647 w 40"/>
              <a:gd name="T17" fmla="*/ 2147483647 h 112"/>
              <a:gd name="T18" fmla="*/ 2147483647 w 40"/>
              <a:gd name="T19" fmla="*/ 2147483647 h 112"/>
              <a:gd name="T20" fmla="*/ 2147483647 w 40"/>
              <a:gd name="T21" fmla="*/ 2147483647 h 112"/>
              <a:gd name="T22" fmla="*/ 2147483647 w 40"/>
              <a:gd name="T23" fmla="*/ 2147483647 h 112"/>
              <a:gd name="T24" fmla="*/ 2147483647 w 40"/>
              <a:gd name="T25" fmla="*/ 2147483647 h 112"/>
              <a:gd name="T26" fmla="*/ 2147483647 w 40"/>
              <a:gd name="T27" fmla="*/ 2147483647 h 112"/>
              <a:gd name="T28" fmla="*/ 2147483647 w 40"/>
              <a:gd name="T29" fmla="*/ 2147483647 h 112"/>
              <a:gd name="T30" fmla="*/ 2147483647 w 40"/>
              <a:gd name="T31" fmla="*/ 2147483647 h 112"/>
              <a:gd name="T32" fmla="*/ 2147483647 w 40"/>
              <a:gd name="T33" fmla="*/ 0 h 112"/>
              <a:gd name="T34" fmla="*/ 2147483647 w 40"/>
              <a:gd name="T35" fmla="*/ 0 h 112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40" h="112">
                <a:moveTo>
                  <a:pt x="8" y="0"/>
                </a:moveTo>
                <a:lnTo>
                  <a:pt x="16" y="16"/>
                </a:lnTo>
                <a:lnTo>
                  <a:pt x="8" y="32"/>
                </a:lnTo>
                <a:lnTo>
                  <a:pt x="8" y="40"/>
                </a:lnTo>
                <a:lnTo>
                  <a:pt x="0" y="64"/>
                </a:lnTo>
                <a:lnTo>
                  <a:pt x="8" y="64"/>
                </a:lnTo>
                <a:lnTo>
                  <a:pt x="8" y="72"/>
                </a:lnTo>
                <a:lnTo>
                  <a:pt x="24" y="72"/>
                </a:lnTo>
                <a:lnTo>
                  <a:pt x="16" y="96"/>
                </a:lnTo>
                <a:lnTo>
                  <a:pt x="32" y="112"/>
                </a:lnTo>
                <a:lnTo>
                  <a:pt x="40" y="96"/>
                </a:lnTo>
                <a:lnTo>
                  <a:pt x="40" y="80"/>
                </a:lnTo>
                <a:lnTo>
                  <a:pt x="24" y="56"/>
                </a:lnTo>
                <a:lnTo>
                  <a:pt x="24" y="40"/>
                </a:lnTo>
                <a:lnTo>
                  <a:pt x="32" y="32"/>
                </a:lnTo>
                <a:lnTo>
                  <a:pt x="24" y="8"/>
                </a:lnTo>
                <a:lnTo>
                  <a:pt x="16" y="0"/>
                </a:lnTo>
                <a:lnTo>
                  <a:pt x="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4" name="Freeform 71"/>
          <p:cNvSpPr>
            <a:spLocks noChangeAspect="1"/>
          </p:cNvSpPr>
          <p:nvPr/>
        </p:nvSpPr>
        <p:spPr bwMode="auto">
          <a:xfrm>
            <a:off x="2364804" y="4261604"/>
            <a:ext cx="228600" cy="233362"/>
          </a:xfrm>
          <a:custGeom>
            <a:avLst/>
            <a:gdLst>
              <a:gd name="T0" fmla="*/ 2147483647 w 104"/>
              <a:gd name="T1" fmla="*/ 2147483647 h 112"/>
              <a:gd name="T2" fmla="*/ 2147483647 w 104"/>
              <a:gd name="T3" fmla="*/ 2147483647 h 112"/>
              <a:gd name="T4" fmla="*/ 2147483647 w 104"/>
              <a:gd name="T5" fmla="*/ 2147483647 h 112"/>
              <a:gd name="T6" fmla="*/ 2147483647 w 104"/>
              <a:gd name="T7" fmla="*/ 2147483647 h 112"/>
              <a:gd name="T8" fmla="*/ 0 w 104"/>
              <a:gd name="T9" fmla="*/ 2147483647 h 112"/>
              <a:gd name="T10" fmla="*/ 2147483647 w 104"/>
              <a:gd name="T11" fmla="*/ 2147483647 h 112"/>
              <a:gd name="T12" fmla="*/ 2147483647 w 104"/>
              <a:gd name="T13" fmla="*/ 2147483647 h 112"/>
              <a:gd name="T14" fmla="*/ 2147483647 w 104"/>
              <a:gd name="T15" fmla="*/ 2147483647 h 112"/>
              <a:gd name="T16" fmla="*/ 2147483647 w 104"/>
              <a:gd name="T17" fmla="*/ 0 h 112"/>
              <a:gd name="T18" fmla="*/ 2147483647 w 104"/>
              <a:gd name="T19" fmla="*/ 2147483647 h 112"/>
              <a:gd name="T20" fmla="*/ 2147483647 w 104"/>
              <a:gd name="T21" fmla="*/ 2147483647 h 112"/>
              <a:gd name="T22" fmla="*/ 2147483647 w 104"/>
              <a:gd name="T23" fmla="*/ 2147483647 h 112"/>
              <a:gd name="T24" fmla="*/ 2147483647 w 104"/>
              <a:gd name="T25" fmla="*/ 2147483647 h 112"/>
              <a:gd name="T26" fmla="*/ 2147483647 w 104"/>
              <a:gd name="T27" fmla="*/ 2147483647 h 112"/>
              <a:gd name="T28" fmla="*/ 2147483647 w 104"/>
              <a:gd name="T29" fmla="*/ 2147483647 h 112"/>
              <a:gd name="T30" fmla="*/ 2147483647 w 104"/>
              <a:gd name="T31" fmla="*/ 2147483647 h 112"/>
              <a:gd name="T32" fmla="*/ 2147483647 w 104"/>
              <a:gd name="T33" fmla="*/ 2147483647 h 11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4" h="112">
                <a:moveTo>
                  <a:pt x="56" y="104"/>
                </a:moveTo>
                <a:lnTo>
                  <a:pt x="40" y="96"/>
                </a:lnTo>
                <a:lnTo>
                  <a:pt x="32" y="80"/>
                </a:lnTo>
                <a:lnTo>
                  <a:pt x="16" y="64"/>
                </a:lnTo>
                <a:lnTo>
                  <a:pt x="0" y="40"/>
                </a:lnTo>
                <a:lnTo>
                  <a:pt x="24" y="40"/>
                </a:lnTo>
                <a:lnTo>
                  <a:pt x="48" y="16"/>
                </a:lnTo>
                <a:lnTo>
                  <a:pt x="56" y="8"/>
                </a:lnTo>
                <a:lnTo>
                  <a:pt x="72" y="0"/>
                </a:lnTo>
                <a:lnTo>
                  <a:pt x="72" y="8"/>
                </a:lnTo>
                <a:lnTo>
                  <a:pt x="80" y="8"/>
                </a:lnTo>
                <a:lnTo>
                  <a:pt x="104" y="16"/>
                </a:lnTo>
                <a:lnTo>
                  <a:pt x="104" y="32"/>
                </a:lnTo>
                <a:lnTo>
                  <a:pt x="104" y="72"/>
                </a:lnTo>
                <a:lnTo>
                  <a:pt x="80" y="112"/>
                </a:lnTo>
                <a:lnTo>
                  <a:pt x="72" y="104"/>
                </a:lnTo>
                <a:lnTo>
                  <a:pt x="56" y="10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5" name="Freeform 73"/>
          <p:cNvSpPr>
            <a:spLocks noChangeAspect="1"/>
          </p:cNvSpPr>
          <p:nvPr/>
        </p:nvSpPr>
        <p:spPr bwMode="auto">
          <a:xfrm>
            <a:off x="1972692" y="4310816"/>
            <a:ext cx="392112" cy="387350"/>
          </a:xfrm>
          <a:custGeom>
            <a:avLst/>
            <a:gdLst>
              <a:gd name="T0" fmla="*/ 2147483647 w 176"/>
              <a:gd name="T1" fmla="*/ 2147483647 h 184"/>
              <a:gd name="T2" fmla="*/ 2147483647 w 176"/>
              <a:gd name="T3" fmla="*/ 2147483647 h 184"/>
              <a:gd name="T4" fmla="*/ 2147483647 w 176"/>
              <a:gd name="T5" fmla="*/ 2147483647 h 184"/>
              <a:gd name="T6" fmla="*/ 2147483647 w 176"/>
              <a:gd name="T7" fmla="*/ 2147483647 h 184"/>
              <a:gd name="T8" fmla="*/ 2147483647 w 176"/>
              <a:gd name="T9" fmla="*/ 2147483647 h 184"/>
              <a:gd name="T10" fmla="*/ 2147483647 w 176"/>
              <a:gd name="T11" fmla="*/ 2147483647 h 184"/>
              <a:gd name="T12" fmla="*/ 2147483647 w 176"/>
              <a:gd name="T13" fmla="*/ 2147483647 h 184"/>
              <a:gd name="T14" fmla="*/ 2147483647 w 176"/>
              <a:gd name="T15" fmla="*/ 2147483647 h 184"/>
              <a:gd name="T16" fmla="*/ 2147483647 w 176"/>
              <a:gd name="T17" fmla="*/ 2147483647 h 184"/>
              <a:gd name="T18" fmla="*/ 2147483647 w 176"/>
              <a:gd name="T19" fmla="*/ 2147483647 h 184"/>
              <a:gd name="T20" fmla="*/ 2147483647 w 176"/>
              <a:gd name="T21" fmla="*/ 2147483647 h 184"/>
              <a:gd name="T22" fmla="*/ 2147483647 w 176"/>
              <a:gd name="T23" fmla="*/ 2147483647 h 184"/>
              <a:gd name="T24" fmla="*/ 2147483647 w 176"/>
              <a:gd name="T25" fmla="*/ 2147483647 h 184"/>
              <a:gd name="T26" fmla="*/ 2147483647 w 176"/>
              <a:gd name="T27" fmla="*/ 2147483647 h 184"/>
              <a:gd name="T28" fmla="*/ 2147483647 w 176"/>
              <a:gd name="T29" fmla="*/ 0 h 184"/>
              <a:gd name="T30" fmla="*/ 0 w 176"/>
              <a:gd name="T31" fmla="*/ 2147483647 h 184"/>
              <a:gd name="T32" fmla="*/ 0 w 176"/>
              <a:gd name="T33" fmla="*/ 2147483647 h 184"/>
              <a:gd name="T34" fmla="*/ 2147483647 w 176"/>
              <a:gd name="T35" fmla="*/ 2147483647 h 184"/>
              <a:gd name="T36" fmla="*/ 2147483647 w 176"/>
              <a:gd name="T37" fmla="*/ 2147483647 h 184"/>
              <a:gd name="T38" fmla="*/ 2147483647 w 176"/>
              <a:gd name="T39" fmla="*/ 2147483647 h 184"/>
              <a:gd name="T40" fmla="*/ 2147483647 w 176"/>
              <a:gd name="T41" fmla="*/ 2147483647 h 184"/>
              <a:gd name="T42" fmla="*/ 2147483647 w 176"/>
              <a:gd name="T43" fmla="*/ 2147483647 h 184"/>
              <a:gd name="T44" fmla="*/ 2147483647 w 176"/>
              <a:gd name="T45" fmla="*/ 2147483647 h 184"/>
              <a:gd name="T46" fmla="*/ 2147483647 w 176"/>
              <a:gd name="T47" fmla="*/ 2147483647 h 184"/>
              <a:gd name="T48" fmla="*/ 2147483647 w 176"/>
              <a:gd name="T49" fmla="*/ 2147483647 h 184"/>
              <a:gd name="T50" fmla="*/ 2147483647 w 176"/>
              <a:gd name="T51" fmla="*/ 2147483647 h 184"/>
              <a:gd name="T52" fmla="*/ 2147483647 w 176"/>
              <a:gd name="T53" fmla="*/ 2147483647 h 18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76" h="184">
                <a:moveTo>
                  <a:pt x="104" y="120"/>
                </a:moveTo>
                <a:lnTo>
                  <a:pt x="104" y="80"/>
                </a:lnTo>
                <a:lnTo>
                  <a:pt x="120" y="72"/>
                </a:lnTo>
                <a:lnTo>
                  <a:pt x="120" y="24"/>
                </a:lnTo>
                <a:lnTo>
                  <a:pt x="152" y="16"/>
                </a:lnTo>
                <a:lnTo>
                  <a:pt x="152" y="24"/>
                </a:lnTo>
                <a:lnTo>
                  <a:pt x="160" y="16"/>
                </a:lnTo>
                <a:lnTo>
                  <a:pt x="176" y="16"/>
                </a:lnTo>
                <a:lnTo>
                  <a:pt x="160" y="8"/>
                </a:lnTo>
                <a:lnTo>
                  <a:pt x="152" y="8"/>
                </a:lnTo>
                <a:lnTo>
                  <a:pt x="128" y="16"/>
                </a:lnTo>
                <a:lnTo>
                  <a:pt x="96" y="16"/>
                </a:lnTo>
                <a:lnTo>
                  <a:pt x="88" y="8"/>
                </a:lnTo>
                <a:lnTo>
                  <a:pt x="32" y="8"/>
                </a:lnTo>
                <a:lnTo>
                  <a:pt x="24" y="0"/>
                </a:lnTo>
                <a:lnTo>
                  <a:pt x="0" y="8"/>
                </a:lnTo>
                <a:lnTo>
                  <a:pt x="0" y="16"/>
                </a:lnTo>
                <a:lnTo>
                  <a:pt x="40" y="80"/>
                </a:lnTo>
                <a:lnTo>
                  <a:pt x="40" y="104"/>
                </a:lnTo>
                <a:lnTo>
                  <a:pt x="48" y="160"/>
                </a:lnTo>
                <a:lnTo>
                  <a:pt x="64" y="176"/>
                </a:lnTo>
                <a:lnTo>
                  <a:pt x="64" y="168"/>
                </a:lnTo>
                <a:lnTo>
                  <a:pt x="72" y="176"/>
                </a:lnTo>
                <a:lnTo>
                  <a:pt x="80" y="184"/>
                </a:lnTo>
                <a:lnTo>
                  <a:pt x="96" y="184"/>
                </a:lnTo>
                <a:lnTo>
                  <a:pt x="104" y="176"/>
                </a:lnTo>
                <a:lnTo>
                  <a:pt x="104" y="12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6" name="Freeform 74"/>
          <p:cNvSpPr>
            <a:spLocks noChangeAspect="1"/>
          </p:cNvSpPr>
          <p:nvPr/>
        </p:nvSpPr>
        <p:spPr bwMode="auto">
          <a:xfrm>
            <a:off x="1972692" y="3964741"/>
            <a:ext cx="373062" cy="387350"/>
          </a:xfrm>
          <a:custGeom>
            <a:avLst/>
            <a:gdLst>
              <a:gd name="T0" fmla="*/ 2147483647 w 168"/>
              <a:gd name="T1" fmla="*/ 0 h 184"/>
              <a:gd name="T2" fmla="*/ 2147483647 w 168"/>
              <a:gd name="T3" fmla="*/ 0 h 184"/>
              <a:gd name="T4" fmla="*/ 2147483647 w 168"/>
              <a:gd name="T5" fmla="*/ 0 h 184"/>
              <a:gd name="T6" fmla="*/ 2147483647 w 168"/>
              <a:gd name="T7" fmla="*/ 2147483647 h 184"/>
              <a:gd name="T8" fmla="*/ 2147483647 w 168"/>
              <a:gd name="T9" fmla="*/ 2147483647 h 184"/>
              <a:gd name="T10" fmla="*/ 2147483647 w 168"/>
              <a:gd name="T11" fmla="*/ 2147483647 h 184"/>
              <a:gd name="T12" fmla="*/ 2147483647 w 168"/>
              <a:gd name="T13" fmla="*/ 2147483647 h 184"/>
              <a:gd name="T14" fmla="*/ 2147483647 w 168"/>
              <a:gd name="T15" fmla="*/ 2147483647 h 184"/>
              <a:gd name="T16" fmla="*/ 2147483647 w 168"/>
              <a:gd name="T17" fmla="*/ 2147483647 h 184"/>
              <a:gd name="T18" fmla="*/ 2147483647 w 168"/>
              <a:gd name="T19" fmla="*/ 2147483647 h 184"/>
              <a:gd name="T20" fmla="*/ 2147483647 w 168"/>
              <a:gd name="T21" fmla="*/ 2147483647 h 184"/>
              <a:gd name="T22" fmla="*/ 2147483647 w 168"/>
              <a:gd name="T23" fmla="*/ 2147483647 h 184"/>
              <a:gd name="T24" fmla="*/ 2147483647 w 168"/>
              <a:gd name="T25" fmla="*/ 2147483647 h 184"/>
              <a:gd name="T26" fmla="*/ 2147483647 w 168"/>
              <a:gd name="T27" fmla="*/ 2147483647 h 184"/>
              <a:gd name="T28" fmla="*/ 2147483647 w 168"/>
              <a:gd name="T29" fmla="*/ 2147483647 h 184"/>
              <a:gd name="T30" fmla="*/ 2147483647 w 168"/>
              <a:gd name="T31" fmla="*/ 2147483647 h 184"/>
              <a:gd name="T32" fmla="*/ 2147483647 w 168"/>
              <a:gd name="T33" fmla="*/ 2147483647 h 184"/>
              <a:gd name="T34" fmla="*/ 2147483647 w 168"/>
              <a:gd name="T35" fmla="*/ 2147483647 h 184"/>
              <a:gd name="T36" fmla="*/ 2147483647 w 168"/>
              <a:gd name="T37" fmla="*/ 2147483647 h 184"/>
              <a:gd name="T38" fmla="*/ 2147483647 w 168"/>
              <a:gd name="T39" fmla="*/ 2147483647 h 184"/>
              <a:gd name="T40" fmla="*/ 2147483647 w 168"/>
              <a:gd name="T41" fmla="*/ 2147483647 h 184"/>
              <a:gd name="T42" fmla="*/ 2147483647 w 168"/>
              <a:gd name="T43" fmla="*/ 2147483647 h 184"/>
              <a:gd name="T44" fmla="*/ 2147483647 w 168"/>
              <a:gd name="T45" fmla="*/ 2147483647 h 184"/>
              <a:gd name="T46" fmla="*/ 0 w 168"/>
              <a:gd name="T47" fmla="*/ 2147483647 h 184"/>
              <a:gd name="T48" fmla="*/ 0 w 168"/>
              <a:gd name="T49" fmla="*/ 2147483647 h 184"/>
              <a:gd name="T50" fmla="*/ 2147483647 w 168"/>
              <a:gd name="T51" fmla="*/ 2147483647 h 184"/>
              <a:gd name="T52" fmla="*/ 2147483647 w 168"/>
              <a:gd name="T53" fmla="*/ 2147483647 h 184"/>
              <a:gd name="T54" fmla="*/ 2147483647 w 168"/>
              <a:gd name="T55" fmla="*/ 2147483647 h 184"/>
              <a:gd name="T56" fmla="*/ 2147483647 w 168"/>
              <a:gd name="T57" fmla="*/ 2147483647 h 184"/>
              <a:gd name="T58" fmla="*/ 2147483647 w 168"/>
              <a:gd name="T59" fmla="*/ 2147483647 h 184"/>
              <a:gd name="T60" fmla="*/ 2147483647 w 168"/>
              <a:gd name="T61" fmla="*/ 2147483647 h 184"/>
              <a:gd name="T62" fmla="*/ 2147483647 w 168"/>
              <a:gd name="T63" fmla="*/ 0 h 18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68" h="184">
                <a:moveTo>
                  <a:pt x="24" y="0"/>
                </a:moveTo>
                <a:lnTo>
                  <a:pt x="56" y="0"/>
                </a:lnTo>
                <a:lnTo>
                  <a:pt x="64" y="0"/>
                </a:lnTo>
                <a:lnTo>
                  <a:pt x="72" y="24"/>
                </a:lnTo>
                <a:lnTo>
                  <a:pt x="80" y="32"/>
                </a:lnTo>
                <a:lnTo>
                  <a:pt x="104" y="32"/>
                </a:lnTo>
                <a:lnTo>
                  <a:pt x="104" y="16"/>
                </a:lnTo>
                <a:lnTo>
                  <a:pt x="120" y="16"/>
                </a:lnTo>
                <a:lnTo>
                  <a:pt x="136" y="24"/>
                </a:lnTo>
                <a:lnTo>
                  <a:pt x="136" y="56"/>
                </a:lnTo>
                <a:lnTo>
                  <a:pt x="144" y="72"/>
                </a:lnTo>
                <a:lnTo>
                  <a:pt x="136" y="80"/>
                </a:lnTo>
                <a:lnTo>
                  <a:pt x="168" y="72"/>
                </a:lnTo>
                <a:lnTo>
                  <a:pt x="160" y="104"/>
                </a:lnTo>
                <a:lnTo>
                  <a:pt x="168" y="104"/>
                </a:lnTo>
                <a:lnTo>
                  <a:pt x="136" y="112"/>
                </a:lnTo>
                <a:lnTo>
                  <a:pt x="136" y="160"/>
                </a:lnTo>
                <a:lnTo>
                  <a:pt x="152" y="176"/>
                </a:lnTo>
                <a:lnTo>
                  <a:pt x="128" y="184"/>
                </a:lnTo>
                <a:lnTo>
                  <a:pt x="96" y="184"/>
                </a:lnTo>
                <a:lnTo>
                  <a:pt x="88" y="176"/>
                </a:lnTo>
                <a:lnTo>
                  <a:pt x="32" y="176"/>
                </a:lnTo>
                <a:lnTo>
                  <a:pt x="24" y="168"/>
                </a:lnTo>
                <a:lnTo>
                  <a:pt x="0" y="176"/>
                </a:lnTo>
                <a:lnTo>
                  <a:pt x="0" y="152"/>
                </a:lnTo>
                <a:lnTo>
                  <a:pt x="16" y="112"/>
                </a:lnTo>
                <a:lnTo>
                  <a:pt x="24" y="96"/>
                </a:lnTo>
                <a:lnTo>
                  <a:pt x="32" y="80"/>
                </a:lnTo>
                <a:lnTo>
                  <a:pt x="16" y="48"/>
                </a:lnTo>
                <a:lnTo>
                  <a:pt x="24" y="40"/>
                </a:lnTo>
                <a:lnTo>
                  <a:pt x="8" y="8"/>
                </a:lnTo>
                <a:lnTo>
                  <a:pt x="24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7" name="Freeform 75"/>
          <p:cNvSpPr>
            <a:spLocks noChangeAspect="1"/>
          </p:cNvSpPr>
          <p:nvPr/>
        </p:nvSpPr>
        <p:spPr bwMode="auto">
          <a:xfrm>
            <a:off x="1990154" y="3915529"/>
            <a:ext cx="17463" cy="49212"/>
          </a:xfrm>
          <a:custGeom>
            <a:avLst/>
            <a:gdLst>
              <a:gd name="T0" fmla="*/ 2147483647 w 8"/>
              <a:gd name="T1" fmla="*/ 2147483647 h 24"/>
              <a:gd name="T2" fmla="*/ 0 w 8"/>
              <a:gd name="T3" fmla="*/ 2147483647 h 24"/>
              <a:gd name="T4" fmla="*/ 0 w 8"/>
              <a:gd name="T5" fmla="*/ 2147483647 h 24"/>
              <a:gd name="T6" fmla="*/ 0 w 8"/>
              <a:gd name="T7" fmla="*/ 2147483647 h 24"/>
              <a:gd name="T8" fmla="*/ 0 w 8"/>
              <a:gd name="T9" fmla="*/ 2147483647 h 24"/>
              <a:gd name="T10" fmla="*/ 2147483647 w 8"/>
              <a:gd name="T11" fmla="*/ 0 h 24"/>
              <a:gd name="T12" fmla="*/ 2147483647 w 8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8" h="24">
                <a:moveTo>
                  <a:pt x="8" y="8"/>
                </a:moveTo>
                <a:lnTo>
                  <a:pt x="0" y="8"/>
                </a:lnTo>
                <a:lnTo>
                  <a:pt x="0" y="24"/>
                </a:lnTo>
                <a:lnTo>
                  <a:pt x="0" y="16"/>
                </a:lnTo>
                <a:lnTo>
                  <a:pt x="0" y="8"/>
                </a:lnTo>
                <a:lnTo>
                  <a:pt x="8" y="0"/>
                </a:lnTo>
                <a:lnTo>
                  <a:pt x="8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8" name="Freeform 76"/>
          <p:cNvSpPr>
            <a:spLocks noChangeAspect="1"/>
          </p:cNvSpPr>
          <p:nvPr/>
        </p:nvSpPr>
        <p:spPr bwMode="auto">
          <a:xfrm>
            <a:off x="1883792" y="3361491"/>
            <a:ext cx="214312" cy="369888"/>
          </a:xfrm>
          <a:custGeom>
            <a:avLst/>
            <a:gdLst>
              <a:gd name="T0" fmla="*/ 2147483647 w 96"/>
              <a:gd name="T1" fmla="*/ 0 h 176"/>
              <a:gd name="T2" fmla="*/ 2147483647 w 96"/>
              <a:gd name="T3" fmla="*/ 2147483647 h 176"/>
              <a:gd name="T4" fmla="*/ 2147483647 w 96"/>
              <a:gd name="T5" fmla="*/ 2147483647 h 176"/>
              <a:gd name="T6" fmla="*/ 2147483647 w 96"/>
              <a:gd name="T7" fmla="*/ 2147483647 h 176"/>
              <a:gd name="T8" fmla="*/ 2147483647 w 96"/>
              <a:gd name="T9" fmla="*/ 2147483647 h 176"/>
              <a:gd name="T10" fmla="*/ 2147483647 w 96"/>
              <a:gd name="T11" fmla="*/ 2147483647 h 176"/>
              <a:gd name="T12" fmla="*/ 2147483647 w 96"/>
              <a:gd name="T13" fmla="*/ 2147483647 h 176"/>
              <a:gd name="T14" fmla="*/ 2147483647 w 96"/>
              <a:gd name="T15" fmla="*/ 2147483647 h 176"/>
              <a:gd name="T16" fmla="*/ 2147483647 w 96"/>
              <a:gd name="T17" fmla="*/ 2147483647 h 176"/>
              <a:gd name="T18" fmla="*/ 2147483647 w 96"/>
              <a:gd name="T19" fmla="*/ 2147483647 h 176"/>
              <a:gd name="T20" fmla="*/ 0 w 96"/>
              <a:gd name="T21" fmla="*/ 2147483647 h 176"/>
              <a:gd name="T22" fmla="*/ 0 w 96"/>
              <a:gd name="T23" fmla="*/ 2147483647 h 176"/>
              <a:gd name="T24" fmla="*/ 2147483647 w 96"/>
              <a:gd name="T25" fmla="*/ 2147483647 h 176"/>
              <a:gd name="T26" fmla="*/ 2147483647 w 96"/>
              <a:gd name="T27" fmla="*/ 2147483647 h 176"/>
              <a:gd name="T28" fmla="*/ 2147483647 w 96"/>
              <a:gd name="T29" fmla="*/ 2147483647 h 176"/>
              <a:gd name="T30" fmla="*/ 2147483647 w 96"/>
              <a:gd name="T31" fmla="*/ 2147483647 h 176"/>
              <a:gd name="T32" fmla="*/ 2147483647 w 96"/>
              <a:gd name="T33" fmla="*/ 2147483647 h 176"/>
              <a:gd name="T34" fmla="*/ 2147483647 w 96"/>
              <a:gd name="T35" fmla="*/ 2147483647 h 176"/>
              <a:gd name="T36" fmla="*/ 2147483647 w 96"/>
              <a:gd name="T37" fmla="*/ 2147483647 h 176"/>
              <a:gd name="T38" fmla="*/ 2147483647 w 96"/>
              <a:gd name="T39" fmla="*/ 2147483647 h 176"/>
              <a:gd name="T40" fmla="*/ 2147483647 w 96"/>
              <a:gd name="T41" fmla="*/ 2147483647 h 176"/>
              <a:gd name="T42" fmla="*/ 2147483647 w 96"/>
              <a:gd name="T43" fmla="*/ 2147483647 h 176"/>
              <a:gd name="T44" fmla="*/ 2147483647 w 96"/>
              <a:gd name="T45" fmla="*/ 2147483647 h 176"/>
              <a:gd name="T46" fmla="*/ 2147483647 w 96"/>
              <a:gd name="T47" fmla="*/ 2147483647 h 176"/>
              <a:gd name="T48" fmla="*/ 2147483647 w 96"/>
              <a:gd name="T49" fmla="*/ 2147483647 h 176"/>
              <a:gd name="T50" fmla="*/ 2147483647 w 96"/>
              <a:gd name="T51" fmla="*/ 2147483647 h 176"/>
              <a:gd name="T52" fmla="*/ 2147483647 w 96"/>
              <a:gd name="T53" fmla="*/ 2147483647 h 176"/>
              <a:gd name="T54" fmla="*/ 2147483647 w 96"/>
              <a:gd name="T55" fmla="*/ 2147483647 h 176"/>
              <a:gd name="T56" fmla="*/ 2147483647 w 96"/>
              <a:gd name="T57" fmla="*/ 0 h 17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96" h="176">
                <a:moveTo>
                  <a:pt x="72" y="0"/>
                </a:moveTo>
                <a:lnTo>
                  <a:pt x="72" y="8"/>
                </a:lnTo>
                <a:lnTo>
                  <a:pt x="72" y="24"/>
                </a:lnTo>
                <a:lnTo>
                  <a:pt x="64" y="32"/>
                </a:lnTo>
                <a:lnTo>
                  <a:pt x="56" y="64"/>
                </a:lnTo>
                <a:lnTo>
                  <a:pt x="48" y="72"/>
                </a:lnTo>
                <a:lnTo>
                  <a:pt x="40" y="96"/>
                </a:lnTo>
                <a:lnTo>
                  <a:pt x="32" y="104"/>
                </a:lnTo>
                <a:lnTo>
                  <a:pt x="24" y="96"/>
                </a:lnTo>
                <a:lnTo>
                  <a:pt x="16" y="96"/>
                </a:lnTo>
                <a:lnTo>
                  <a:pt x="0" y="128"/>
                </a:lnTo>
                <a:lnTo>
                  <a:pt x="0" y="136"/>
                </a:lnTo>
                <a:lnTo>
                  <a:pt x="8" y="136"/>
                </a:lnTo>
                <a:lnTo>
                  <a:pt x="16" y="152"/>
                </a:lnTo>
                <a:lnTo>
                  <a:pt x="16" y="168"/>
                </a:lnTo>
                <a:lnTo>
                  <a:pt x="32" y="168"/>
                </a:lnTo>
                <a:lnTo>
                  <a:pt x="64" y="168"/>
                </a:lnTo>
                <a:lnTo>
                  <a:pt x="96" y="176"/>
                </a:lnTo>
                <a:lnTo>
                  <a:pt x="96" y="152"/>
                </a:lnTo>
                <a:lnTo>
                  <a:pt x="80" y="128"/>
                </a:lnTo>
                <a:lnTo>
                  <a:pt x="80" y="112"/>
                </a:lnTo>
                <a:lnTo>
                  <a:pt x="88" y="88"/>
                </a:lnTo>
                <a:lnTo>
                  <a:pt x="80" y="64"/>
                </a:lnTo>
                <a:lnTo>
                  <a:pt x="72" y="56"/>
                </a:lnTo>
                <a:lnTo>
                  <a:pt x="72" y="48"/>
                </a:lnTo>
                <a:lnTo>
                  <a:pt x="88" y="48"/>
                </a:lnTo>
                <a:lnTo>
                  <a:pt x="80" y="32"/>
                </a:lnTo>
                <a:lnTo>
                  <a:pt x="80" y="8"/>
                </a:lnTo>
                <a:lnTo>
                  <a:pt x="72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9" name="Freeform 77"/>
          <p:cNvSpPr>
            <a:spLocks noChangeAspect="1"/>
          </p:cNvSpPr>
          <p:nvPr/>
        </p:nvSpPr>
        <p:spPr bwMode="auto">
          <a:xfrm>
            <a:off x="1955229" y="3663116"/>
            <a:ext cx="231775" cy="268288"/>
          </a:xfrm>
          <a:custGeom>
            <a:avLst/>
            <a:gdLst>
              <a:gd name="T0" fmla="*/ 2147483647 w 104"/>
              <a:gd name="T1" fmla="*/ 2147483647 h 128"/>
              <a:gd name="T2" fmla="*/ 2147483647 w 104"/>
              <a:gd name="T3" fmla="*/ 2147483647 h 128"/>
              <a:gd name="T4" fmla="*/ 2147483647 w 104"/>
              <a:gd name="T5" fmla="*/ 2147483647 h 128"/>
              <a:gd name="T6" fmla="*/ 2147483647 w 104"/>
              <a:gd name="T7" fmla="*/ 2147483647 h 128"/>
              <a:gd name="T8" fmla="*/ 2147483647 w 104"/>
              <a:gd name="T9" fmla="*/ 2147483647 h 128"/>
              <a:gd name="T10" fmla="*/ 2147483647 w 104"/>
              <a:gd name="T11" fmla="*/ 2147483647 h 128"/>
              <a:gd name="T12" fmla="*/ 2147483647 w 104"/>
              <a:gd name="T13" fmla="*/ 2147483647 h 128"/>
              <a:gd name="T14" fmla="*/ 2147483647 w 104"/>
              <a:gd name="T15" fmla="*/ 2147483647 h 128"/>
              <a:gd name="T16" fmla="*/ 2147483647 w 104"/>
              <a:gd name="T17" fmla="*/ 2147483647 h 128"/>
              <a:gd name="T18" fmla="*/ 2147483647 w 104"/>
              <a:gd name="T19" fmla="*/ 0 h 128"/>
              <a:gd name="T20" fmla="*/ 2147483647 w 104"/>
              <a:gd name="T21" fmla="*/ 0 h 128"/>
              <a:gd name="T22" fmla="*/ 2147483647 w 104"/>
              <a:gd name="T23" fmla="*/ 0 h 128"/>
              <a:gd name="T24" fmla="*/ 2147483647 w 104"/>
              <a:gd name="T25" fmla="*/ 0 h 128"/>
              <a:gd name="T26" fmla="*/ 2147483647 w 104"/>
              <a:gd name="T27" fmla="*/ 2147483647 h 128"/>
              <a:gd name="T28" fmla="*/ 2147483647 w 104"/>
              <a:gd name="T29" fmla="*/ 2147483647 h 128"/>
              <a:gd name="T30" fmla="*/ 2147483647 w 104"/>
              <a:gd name="T31" fmla="*/ 2147483647 h 128"/>
              <a:gd name="T32" fmla="*/ 2147483647 w 104"/>
              <a:gd name="T33" fmla="*/ 2147483647 h 128"/>
              <a:gd name="T34" fmla="*/ 2147483647 w 104"/>
              <a:gd name="T35" fmla="*/ 2147483647 h 128"/>
              <a:gd name="T36" fmla="*/ 2147483647 w 104"/>
              <a:gd name="T37" fmla="*/ 2147483647 h 128"/>
              <a:gd name="T38" fmla="*/ 2147483647 w 104"/>
              <a:gd name="T39" fmla="*/ 2147483647 h 128"/>
              <a:gd name="T40" fmla="*/ 2147483647 w 104"/>
              <a:gd name="T41" fmla="*/ 2147483647 h 128"/>
              <a:gd name="T42" fmla="*/ 2147483647 w 104"/>
              <a:gd name="T43" fmla="*/ 2147483647 h 128"/>
              <a:gd name="T44" fmla="*/ 2147483647 w 104"/>
              <a:gd name="T45" fmla="*/ 2147483647 h 128"/>
              <a:gd name="T46" fmla="*/ 2147483647 w 104"/>
              <a:gd name="T47" fmla="*/ 2147483647 h 128"/>
              <a:gd name="T48" fmla="*/ 2147483647 w 104"/>
              <a:gd name="T49" fmla="*/ 2147483647 h 128"/>
              <a:gd name="T50" fmla="*/ 0 w 104"/>
              <a:gd name="T51" fmla="*/ 2147483647 h 128"/>
              <a:gd name="T52" fmla="*/ 2147483647 w 104"/>
              <a:gd name="T53" fmla="*/ 2147483647 h 128"/>
              <a:gd name="T54" fmla="*/ 2147483647 w 104"/>
              <a:gd name="T55" fmla="*/ 2147483647 h 128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04" h="128">
                <a:moveTo>
                  <a:pt x="24" y="120"/>
                </a:moveTo>
                <a:lnTo>
                  <a:pt x="24" y="128"/>
                </a:lnTo>
                <a:lnTo>
                  <a:pt x="32" y="128"/>
                </a:lnTo>
                <a:lnTo>
                  <a:pt x="40" y="120"/>
                </a:lnTo>
                <a:lnTo>
                  <a:pt x="48" y="128"/>
                </a:lnTo>
                <a:lnTo>
                  <a:pt x="64" y="112"/>
                </a:lnTo>
                <a:lnTo>
                  <a:pt x="72" y="88"/>
                </a:lnTo>
                <a:lnTo>
                  <a:pt x="88" y="64"/>
                </a:lnTo>
                <a:lnTo>
                  <a:pt x="96" y="24"/>
                </a:lnTo>
                <a:lnTo>
                  <a:pt x="104" y="0"/>
                </a:lnTo>
                <a:lnTo>
                  <a:pt x="88" y="0"/>
                </a:lnTo>
                <a:lnTo>
                  <a:pt x="80" y="0"/>
                </a:lnTo>
                <a:lnTo>
                  <a:pt x="72" y="0"/>
                </a:lnTo>
                <a:lnTo>
                  <a:pt x="64" y="8"/>
                </a:lnTo>
                <a:lnTo>
                  <a:pt x="64" y="32"/>
                </a:lnTo>
                <a:lnTo>
                  <a:pt x="32" y="24"/>
                </a:lnTo>
                <a:lnTo>
                  <a:pt x="40" y="24"/>
                </a:lnTo>
                <a:lnTo>
                  <a:pt x="40" y="32"/>
                </a:lnTo>
                <a:lnTo>
                  <a:pt x="40" y="40"/>
                </a:lnTo>
                <a:lnTo>
                  <a:pt x="40" y="48"/>
                </a:lnTo>
                <a:lnTo>
                  <a:pt x="40" y="72"/>
                </a:lnTo>
                <a:lnTo>
                  <a:pt x="40" y="88"/>
                </a:lnTo>
                <a:lnTo>
                  <a:pt x="24" y="80"/>
                </a:lnTo>
                <a:lnTo>
                  <a:pt x="8" y="96"/>
                </a:lnTo>
                <a:lnTo>
                  <a:pt x="8" y="104"/>
                </a:lnTo>
                <a:lnTo>
                  <a:pt x="0" y="120"/>
                </a:lnTo>
                <a:lnTo>
                  <a:pt x="16" y="128"/>
                </a:lnTo>
                <a:lnTo>
                  <a:pt x="24" y="12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0" name="Freeform 78"/>
          <p:cNvSpPr>
            <a:spLocks noChangeAspect="1"/>
          </p:cNvSpPr>
          <p:nvPr/>
        </p:nvSpPr>
        <p:spPr bwMode="auto">
          <a:xfrm>
            <a:off x="1883792" y="3715504"/>
            <a:ext cx="160337" cy="200025"/>
          </a:xfrm>
          <a:custGeom>
            <a:avLst/>
            <a:gdLst>
              <a:gd name="T0" fmla="*/ 2147483647 w 72"/>
              <a:gd name="T1" fmla="*/ 0 h 96"/>
              <a:gd name="T2" fmla="*/ 2147483647 w 72"/>
              <a:gd name="T3" fmla="*/ 2147483647 h 96"/>
              <a:gd name="T4" fmla="*/ 2147483647 w 72"/>
              <a:gd name="T5" fmla="*/ 2147483647 h 96"/>
              <a:gd name="T6" fmla="*/ 2147483647 w 72"/>
              <a:gd name="T7" fmla="*/ 2147483647 h 96"/>
              <a:gd name="T8" fmla="*/ 2147483647 w 72"/>
              <a:gd name="T9" fmla="*/ 2147483647 h 96"/>
              <a:gd name="T10" fmla="*/ 2147483647 w 72"/>
              <a:gd name="T11" fmla="*/ 2147483647 h 96"/>
              <a:gd name="T12" fmla="*/ 2147483647 w 72"/>
              <a:gd name="T13" fmla="*/ 2147483647 h 96"/>
              <a:gd name="T14" fmla="*/ 2147483647 w 72"/>
              <a:gd name="T15" fmla="*/ 2147483647 h 96"/>
              <a:gd name="T16" fmla="*/ 2147483647 w 72"/>
              <a:gd name="T17" fmla="*/ 2147483647 h 96"/>
              <a:gd name="T18" fmla="*/ 2147483647 w 72"/>
              <a:gd name="T19" fmla="*/ 2147483647 h 96"/>
              <a:gd name="T20" fmla="*/ 2147483647 w 72"/>
              <a:gd name="T21" fmla="*/ 2147483647 h 96"/>
              <a:gd name="T22" fmla="*/ 0 w 72"/>
              <a:gd name="T23" fmla="*/ 2147483647 h 96"/>
              <a:gd name="T24" fmla="*/ 2147483647 w 72"/>
              <a:gd name="T25" fmla="*/ 2147483647 h 96"/>
              <a:gd name="T26" fmla="*/ 2147483647 w 72"/>
              <a:gd name="T27" fmla="*/ 2147483647 h 96"/>
              <a:gd name="T28" fmla="*/ 2147483647 w 72"/>
              <a:gd name="T29" fmla="*/ 2147483647 h 96"/>
              <a:gd name="T30" fmla="*/ 2147483647 w 72"/>
              <a:gd name="T31" fmla="*/ 2147483647 h 96"/>
              <a:gd name="T32" fmla="*/ 2147483647 w 72"/>
              <a:gd name="T33" fmla="*/ 0 h 96"/>
              <a:gd name="T34" fmla="*/ 2147483647 w 72"/>
              <a:gd name="T35" fmla="*/ 0 h 96"/>
              <a:gd name="T36" fmla="*/ 2147483647 w 72"/>
              <a:gd name="T37" fmla="*/ 0 h 9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2" h="96">
                <a:moveTo>
                  <a:pt x="72" y="0"/>
                </a:moveTo>
                <a:lnTo>
                  <a:pt x="72" y="8"/>
                </a:lnTo>
                <a:lnTo>
                  <a:pt x="72" y="16"/>
                </a:lnTo>
                <a:lnTo>
                  <a:pt x="72" y="24"/>
                </a:lnTo>
                <a:lnTo>
                  <a:pt x="72" y="48"/>
                </a:lnTo>
                <a:lnTo>
                  <a:pt x="72" y="64"/>
                </a:lnTo>
                <a:lnTo>
                  <a:pt x="56" y="56"/>
                </a:lnTo>
                <a:lnTo>
                  <a:pt x="40" y="72"/>
                </a:lnTo>
                <a:lnTo>
                  <a:pt x="40" y="80"/>
                </a:lnTo>
                <a:lnTo>
                  <a:pt x="32" y="96"/>
                </a:lnTo>
                <a:lnTo>
                  <a:pt x="16" y="72"/>
                </a:lnTo>
                <a:lnTo>
                  <a:pt x="0" y="40"/>
                </a:lnTo>
                <a:lnTo>
                  <a:pt x="8" y="40"/>
                </a:lnTo>
                <a:lnTo>
                  <a:pt x="8" y="32"/>
                </a:lnTo>
                <a:lnTo>
                  <a:pt x="16" y="16"/>
                </a:lnTo>
                <a:lnTo>
                  <a:pt x="32" y="16"/>
                </a:lnTo>
                <a:lnTo>
                  <a:pt x="32" y="0"/>
                </a:lnTo>
                <a:lnTo>
                  <a:pt x="64" y="0"/>
                </a:lnTo>
                <a:lnTo>
                  <a:pt x="72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1" name="Freeform 79"/>
          <p:cNvSpPr>
            <a:spLocks noChangeAspect="1"/>
          </p:cNvSpPr>
          <p:nvPr/>
        </p:nvSpPr>
        <p:spPr bwMode="auto">
          <a:xfrm>
            <a:off x="1901254" y="3715504"/>
            <a:ext cx="53975" cy="33337"/>
          </a:xfrm>
          <a:custGeom>
            <a:avLst/>
            <a:gdLst>
              <a:gd name="T0" fmla="*/ 2147483647 w 24"/>
              <a:gd name="T1" fmla="*/ 2147483647 h 16"/>
              <a:gd name="T2" fmla="*/ 2147483647 w 24"/>
              <a:gd name="T3" fmla="*/ 0 h 16"/>
              <a:gd name="T4" fmla="*/ 2147483647 w 24"/>
              <a:gd name="T5" fmla="*/ 0 h 16"/>
              <a:gd name="T6" fmla="*/ 0 w 24"/>
              <a:gd name="T7" fmla="*/ 2147483647 h 16"/>
              <a:gd name="T8" fmla="*/ 2147483647 w 24"/>
              <a:gd name="T9" fmla="*/ 2147483647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" h="16">
                <a:moveTo>
                  <a:pt x="24" y="16"/>
                </a:moveTo>
                <a:lnTo>
                  <a:pt x="24" y="0"/>
                </a:lnTo>
                <a:lnTo>
                  <a:pt x="8" y="0"/>
                </a:lnTo>
                <a:lnTo>
                  <a:pt x="0" y="16"/>
                </a:lnTo>
                <a:lnTo>
                  <a:pt x="24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2" name="Freeform 80"/>
          <p:cNvSpPr>
            <a:spLocks noChangeAspect="1"/>
          </p:cNvSpPr>
          <p:nvPr/>
        </p:nvSpPr>
        <p:spPr bwMode="auto">
          <a:xfrm>
            <a:off x="1528192" y="3429754"/>
            <a:ext cx="142875" cy="200025"/>
          </a:xfrm>
          <a:custGeom>
            <a:avLst/>
            <a:gdLst>
              <a:gd name="T0" fmla="*/ 2147483647 w 64"/>
              <a:gd name="T1" fmla="*/ 2147483647 h 96"/>
              <a:gd name="T2" fmla="*/ 2147483647 w 64"/>
              <a:gd name="T3" fmla="*/ 2147483647 h 96"/>
              <a:gd name="T4" fmla="*/ 2147483647 w 64"/>
              <a:gd name="T5" fmla="*/ 0 h 96"/>
              <a:gd name="T6" fmla="*/ 2147483647 w 64"/>
              <a:gd name="T7" fmla="*/ 0 h 96"/>
              <a:gd name="T8" fmla="*/ 2147483647 w 64"/>
              <a:gd name="T9" fmla="*/ 2147483647 h 96"/>
              <a:gd name="T10" fmla="*/ 2147483647 w 64"/>
              <a:gd name="T11" fmla="*/ 2147483647 h 96"/>
              <a:gd name="T12" fmla="*/ 0 w 64"/>
              <a:gd name="T13" fmla="*/ 2147483647 h 96"/>
              <a:gd name="T14" fmla="*/ 2147483647 w 64"/>
              <a:gd name="T15" fmla="*/ 2147483647 h 96"/>
              <a:gd name="T16" fmla="*/ 0 w 64"/>
              <a:gd name="T17" fmla="*/ 2147483647 h 96"/>
              <a:gd name="T18" fmla="*/ 2147483647 w 64"/>
              <a:gd name="T19" fmla="*/ 2147483647 h 96"/>
              <a:gd name="T20" fmla="*/ 2147483647 w 64"/>
              <a:gd name="T21" fmla="*/ 2147483647 h 96"/>
              <a:gd name="T22" fmla="*/ 2147483647 w 64"/>
              <a:gd name="T23" fmla="*/ 2147483647 h 96"/>
              <a:gd name="T24" fmla="*/ 2147483647 w 64"/>
              <a:gd name="T25" fmla="*/ 2147483647 h 96"/>
              <a:gd name="T26" fmla="*/ 2147483647 w 64"/>
              <a:gd name="T27" fmla="*/ 2147483647 h 9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64" h="96">
                <a:moveTo>
                  <a:pt x="56" y="64"/>
                </a:moveTo>
                <a:lnTo>
                  <a:pt x="48" y="32"/>
                </a:lnTo>
                <a:lnTo>
                  <a:pt x="40" y="0"/>
                </a:lnTo>
                <a:lnTo>
                  <a:pt x="8" y="0"/>
                </a:lnTo>
                <a:lnTo>
                  <a:pt x="8" y="24"/>
                </a:lnTo>
                <a:lnTo>
                  <a:pt x="16" y="40"/>
                </a:lnTo>
                <a:lnTo>
                  <a:pt x="0" y="64"/>
                </a:lnTo>
                <a:lnTo>
                  <a:pt x="8" y="88"/>
                </a:lnTo>
                <a:lnTo>
                  <a:pt x="0" y="88"/>
                </a:lnTo>
                <a:lnTo>
                  <a:pt x="16" y="96"/>
                </a:lnTo>
                <a:lnTo>
                  <a:pt x="48" y="80"/>
                </a:lnTo>
                <a:lnTo>
                  <a:pt x="56" y="80"/>
                </a:lnTo>
                <a:lnTo>
                  <a:pt x="64" y="72"/>
                </a:lnTo>
                <a:lnTo>
                  <a:pt x="56" y="6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3" name="Freeform 81"/>
          <p:cNvSpPr>
            <a:spLocks noChangeAspect="1"/>
          </p:cNvSpPr>
          <p:nvPr/>
        </p:nvSpPr>
        <p:spPr bwMode="auto">
          <a:xfrm>
            <a:off x="1618679" y="3429754"/>
            <a:ext cx="71438" cy="150812"/>
          </a:xfrm>
          <a:custGeom>
            <a:avLst/>
            <a:gdLst>
              <a:gd name="T0" fmla="*/ 2147483647 w 32"/>
              <a:gd name="T1" fmla="*/ 2147483647 h 72"/>
              <a:gd name="T2" fmla="*/ 2147483647 w 32"/>
              <a:gd name="T3" fmla="*/ 2147483647 h 72"/>
              <a:gd name="T4" fmla="*/ 0 w 32"/>
              <a:gd name="T5" fmla="*/ 0 h 72"/>
              <a:gd name="T6" fmla="*/ 2147483647 w 32"/>
              <a:gd name="T7" fmla="*/ 0 h 72"/>
              <a:gd name="T8" fmla="*/ 2147483647 w 32"/>
              <a:gd name="T9" fmla="*/ 2147483647 h 72"/>
              <a:gd name="T10" fmla="*/ 2147483647 w 32"/>
              <a:gd name="T11" fmla="*/ 2147483647 h 72"/>
              <a:gd name="T12" fmla="*/ 2147483647 w 32"/>
              <a:gd name="T13" fmla="*/ 2147483647 h 72"/>
              <a:gd name="T14" fmla="*/ 2147483647 w 32"/>
              <a:gd name="T15" fmla="*/ 2147483647 h 72"/>
              <a:gd name="T16" fmla="*/ 2147483647 w 32"/>
              <a:gd name="T17" fmla="*/ 2147483647 h 72"/>
              <a:gd name="T18" fmla="*/ 2147483647 w 32"/>
              <a:gd name="T19" fmla="*/ 2147483647 h 7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2" h="72">
                <a:moveTo>
                  <a:pt x="16" y="64"/>
                </a:moveTo>
                <a:lnTo>
                  <a:pt x="8" y="32"/>
                </a:lnTo>
                <a:lnTo>
                  <a:pt x="0" y="0"/>
                </a:lnTo>
                <a:lnTo>
                  <a:pt x="16" y="0"/>
                </a:lnTo>
                <a:lnTo>
                  <a:pt x="16" y="8"/>
                </a:lnTo>
                <a:lnTo>
                  <a:pt x="24" y="16"/>
                </a:lnTo>
                <a:lnTo>
                  <a:pt x="24" y="40"/>
                </a:lnTo>
                <a:lnTo>
                  <a:pt x="32" y="72"/>
                </a:lnTo>
                <a:lnTo>
                  <a:pt x="24" y="72"/>
                </a:lnTo>
                <a:lnTo>
                  <a:pt x="16" y="6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4" name="Freeform 82"/>
          <p:cNvSpPr>
            <a:spLocks noChangeAspect="1"/>
          </p:cNvSpPr>
          <p:nvPr/>
        </p:nvSpPr>
        <p:spPr bwMode="auto">
          <a:xfrm>
            <a:off x="1707579" y="3345616"/>
            <a:ext cx="336550" cy="301625"/>
          </a:xfrm>
          <a:custGeom>
            <a:avLst/>
            <a:gdLst>
              <a:gd name="T0" fmla="*/ 2147483647 w 152"/>
              <a:gd name="T1" fmla="*/ 2147483647 h 144"/>
              <a:gd name="T2" fmla="*/ 2147483647 w 152"/>
              <a:gd name="T3" fmla="*/ 0 h 144"/>
              <a:gd name="T4" fmla="*/ 2147483647 w 152"/>
              <a:gd name="T5" fmla="*/ 0 h 144"/>
              <a:gd name="T6" fmla="*/ 2147483647 w 152"/>
              <a:gd name="T7" fmla="*/ 2147483647 h 144"/>
              <a:gd name="T8" fmla="*/ 2147483647 w 152"/>
              <a:gd name="T9" fmla="*/ 2147483647 h 144"/>
              <a:gd name="T10" fmla="*/ 2147483647 w 152"/>
              <a:gd name="T11" fmla="*/ 2147483647 h 144"/>
              <a:gd name="T12" fmla="*/ 2147483647 w 152"/>
              <a:gd name="T13" fmla="*/ 2147483647 h 144"/>
              <a:gd name="T14" fmla="*/ 2147483647 w 152"/>
              <a:gd name="T15" fmla="*/ 2147483647 h 144"/>
              <a:gd name="T16" fmla="*/ 2147483647 w 152"/>
              <a:gd name="T17" fmla="*/ 0 h 144"/>
              <a:gd name="T18" fmla="*/ 2147483647 w 152"/>
              <a:gd name="T19" fmla="*/ 0 h 144"/>
              <a:gd name="T20" fmla="*/ 2147483647 w 152"/>
              <a:gd name="T21" fmla="*/ 2147483647 h 144"/>
              <a:gd name="T22" fmla="*/ 2147483647 w 152"/>
              <a:gd name="T23" fmla="*/ 2147483647 h 144"/>
              <a:gd name="T24" fmla="*/ 2147483647 w 152"/>
              <a:gd name="T25" fmla="*/ 2147483647 h 144"/>
              <a:gd name="T26" fmla="*/ 0 w 152"/>
              <a:gd name="T27" fmla="*/ 2147483647 h 144"/>
              <a:gd name="T28" fmla="*/ 0 w 152"/>
              <a:gd name="T29" fmla="*/ 2147483647 h 144"/>
              <a:gd name="T30" fmla="*/ 2147483647 w 152"/>
              <a:gd name="T31" fmla="*/ 2147483647 h 144"/>
              <a:gd name="T32" fmla="*/ 2147483647 w 152"/>
              <a:gd name="T33" fmla="*/ 2147483647 h 144"/>
              <a:gd name="T34" fmla="*/ 2147483647 w 152"/>
              <a:gd name="T35" fmla="*/ 2147483647 h 144"/>
              <a:gd name="T36" fmla="*/ 2147483647 w 152"/>
              <a:gd name="T37" fmla="*/ 2147483647 h 144"/>
              <a:gd name="T38" fmla="*/ 2147483647 w 152"/>
              <a:gd name="T39" fmla="*/ 2147483647 h 144"/>
              <a:gd name="T40" fmla="*/ 2147483647 w 152"/>
              <a:gd name="T41" fmla="*/ 2147483647 h 144"/>
              <a:gd name="T42" fmla="*/ 2147483647 w 152"/>
              <a:gd name="T43" fmla="*/ 2147483647 h 144"/>
              <a:gd name="T44" fmla="*/ 2147483647 w 152"/>
              <a:gd name="T45" fmla="*/ 2147483647 h 144"/>
              <a:gd name="T46" fmla="*/ 2147483647 w 152"/>
              <a:gd name="T47" fmla="*/ 2147483647 h 144"/>
              <a:gd name="T48" fmla="*/ 2147483647 w 152"/>
              <a:gd name="T49" fmla="*/ 2147483647 h 144"/>
              <a:gd name="T50" fmla="*/ 2147483647 w 152"/>
              <a:gd name="T51" fmla="*/ 2147483647 h 144"/>
              <a:gd name="T52" fmla="*/ 2147483647 w 152"/>
              <a:gd name="T53" fmla="*/ 2147483647 h 144"/>
              <a:gd name="T54" fmla="*/ 2147483647 w 152"/>
              <a:gd name="T55" fmla="*/ 2147483647 h 144"/>
              <a:gd name="T56" fmla="*/ 2147483647 w 152"/>
              <a:gd name="T57" fmla="*/ 2147483647 h 144"/>
              <a:gd name="T58" fmla="*/ 2147483647 w 152"/>
              <a:gd name="T59" fmla="*/ 2147483647 h 14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2" h="144">
                <a:moveTo>
                  <a:pt x="152" y="8"/>
                </a:moveTo>
                <a:lnTo>
                  <a:pt x="144" y="0"/>
                </a:lnTo>
                <a:lnTo>
                  <a:pt x="136" y="0"/>
                </a:lnTo>
                <a:lnTo>
                  <a:pt x="128" y="8"/>
                </a:lnTo>
                <a:lnTo>
                  <a:pt x="104" y="8"/>
                </a:lnTo>
                <a:lnTo>
                  <a:pt x="88" y="16"/>
                </a:lnTo>
                <a:lnTo>
                  <a:pt x="72" y="8"/>
                </a:lnTo>
                <a:lnTo>
                  <a:pt x="56" y="8"/>
                </a:lnTo>
                <a:lnTo>
                  <a:pt x="40" y="0"/>
                </a:lnTo>
                <a:lnTo>
                  <a:pt x="24" y="0"/>
                </a:lnTo>
                <a:lnTo>
                  <a:pt x="16" y="16"/>
                </a:lnTo>
                <a:lnTo>
                  <a:pt x="16" y="32"/>
                </a:lnTo>
                <a:lnTo>
                  <a:pt x="16" y="48"/>
                </a:lnTo>
                <a:lnTo>
                  <a:pt x="0" y="80"/>
                </a:lnTo>
                <a:lnTo>
                  <a:pt x="0" y="112"/>
                </a:lnTo>
                <a:lnTo>
                  <a:pt x="16" y="112"/>
                </a:lnTo>
                <a:lnTo>
                  <a:pt x="32" y="120"/>
                </a:lnTo>
                <a:lnTo>
                  <a:pt x="40" y="136"/>
                </a:lnTo>
                <a:lnTo>
                  <a:pt x="40" y="144"/>
                </a:lnTo>
                <a:lnTo>
                  <a:pt x="80" y="136"/>
                </a:lnTo>
                <a:lnTo>
                  <a:pt x="96" y="104"/>
                </a:lnTo>
                <a:lnTo>
                  <a:pt x="104" y="104"/>
                </a:lnTo>
                <a:lnTo>
                  <a:pt x="112" y="112"/>
                </a:lnTo>
                <a:lnTo>
                  <a:pt x="120" y="104"/>
                </a:lnTo>
                <a:lnTo>
                  <a:pt x="128" y="80"/>
                </a:lnTo>
                <a:lnTo>
                  <a:pt x="136" y="72"/>
                </a:lnTo>
                <a:lnTo>
                  <a:pt x="144" y="40"/>
                </a:lnTo>
                <a:lnTo>
                  <a:pt x="152" y="32"/>
                </a:lnTo>
                <a:lnTo>
                  <a:pt x="152" y="16"/>
                </a:lnTo>
                <a:lnTo>
                  <a:pt x="152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5" name="Freeform 83"/>
          <p:cNvSpPr>
            <a:spLocks noChangeAspect="1"/>
          </p:cNvSpPr>
          <p:nvPr/>
        </p:nvSpPr>
        <p:spPr bwMode="auto">
          <a:xfrm>
            <a:off x="1653604" y="3380541"/>
            <a:ext cx="88900" cy="200025"/>
          </a:xfrm>
          <a:custGeom>
            <a:avLst/>
            <a:gdLst>
              <a:gd name="T0" fmla="*/ 2147483647 w 40"/>
              <a:gd name="T1" fmla="*/ 2147483647 h 96"/>
              <a:gd name="T2" fmla="*/ 2147483647 w 40"/>
              <a:gd name="T3" fmla="*/ 2147483647 h 96"/>
              <a:gd name="T4" fmla="*/ 0 w 40"/>
              <a:gd name="T5" fmla="*/ 2147483647 h 96"/>
              <a:gd name="T6" fmla="*/ 0 w 40"/>
              <a:gd name="T7" fmla="*/ 2147483647 h 96"/>
              <a:gd name="T8" fmla="*/ 2147483647 w 40"/>
              <a:gd name="T9" fmla="*/ 2147483647 h 96"/>
              <a:gd name="T10" fmla="*/ 2147483647 w 40"/>
              <a:gd name="T11" fmla="*/ 2147483647 h 96"/>
              <a:gd name="T12" fmla="*/ 2147483647 w 40"/>
              <a:gd name="T13" fmla="*/ 2147483647 h 96"/>
              <a:gd name="T14" fmla="*/ 2147483647 w 40"/>
              <a:gd name="T15" fmla="*/ 0 h 96"/>
              <a:gd name="T16" fmla="*/ 2147483647 w 40"/>
              <a:gd name="T17" fmla="*/ 2147483647 h 96"/>
              <a:gd name="T18" fmla="*/ 2147483647 w 40"/>
              <a:gd name="T19" fmla="*/ 2147483647 h 96"/>
              <a:gd name="T20" fmla="*/ 2147483647 w 40"/>
              <a:gd name="T21" fmla="*/ 2147483647 h 96"/>
              <a:gd name="T22" fmla="*/ 2147483647 w 40"/>
              <a:gd name="T23" fmla="*/ 2147483647 h 96"/>
              <a:gd name="T24" fmla="*/ 2147483647 w 40"/>
              <a:gd name="T25" fmla="*/ 2147483647 h 96"/>
              <a:gd name="T26" fmla="*/ 2147483647 w 40"/>
              <a:gd name="T27" fmla="*/ 2147483647 h 9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0" h="96">
                <a:moveTo>
                  <a:pt x="8" y="64"/>
                </a:moveTo>
                <a:lnTo>
                  <a:pt x="8" y="40"/>
                </a:lnTo>
                <a:lnTo>
                  <a:pt x="0" y="32"/>
                </a:lnTo>
                <a:lnTo>
                  <a:pt x="0" y="24"/>
                </a:lnTo>
                <a:lnTo>
                  <a:pt x="8" y="16"/>
                </a:lnTo>
                <a:lnTo>
                  <a:pt x="16" y="16"/>
                </a:lnTo>
                <a:lnTo>
                  <a:pt x="24" y="8"/>
                </a:lnTo>
                <a:lnTo>
                  <a:pt x="32" y="0"/>
                </a:lnTo>
                <a:lnTo>
                  <a:pt x="40" y="16"/>
                </a:lnTo>
                <a:lnTo>
                  <a:pt x="40" y="32"/>
                </a:lnTo>
                <a:lnTo>
                  <a:pt x="24" y="64"/>
                </a:lnTo>
                <a:lnTo>
                  <a:pt x="24" y="96"/>
                </a:lnTo>
                <a:lnTo>
                  <a:pt x="16" y="96"/>
                </a:lnTo>
                <a:lnTo>
                  <a:pt x="8" y="6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6" name="Freeform 84"/>
          <p:cNvSpPr>
            <a:spLocks noChangeAspect="1"/>
          </p:cNvSpPr>
          <p:nvPr/>
        </p:nvSpPr>
        <p:spPr bwMode="auto">
          <a:xfrm>
            <a:off x="1367854" y="3447216"/>
            <a:ext cx="196850" cy="200025"/>
          </a:xfrm>
          <a:custGeom>
            <a:avLst/>
            <a:gdLst>
              <a:gd name="T0" fmla="*/ 2147483647 w 88"/>
              <a:gd name="T1" fmla="*/ 2147483647 h 96"/>
              <a:gd name="T2" fmla="*/ 2147483647 w 88"/>
              <a:gd name="T3" fmla="*/ 2147483647 h 96"/>
              <a:gd name="T4" fmla="*/ 2147483647 w 88"/>
              <a:gd name="T5" fmla="*/ 2147483647 h 96"/>
              <a:gd name="T6" fmla="*/ 2147483647 w 88"/>
              <a:gd name="T7" fmla="*/ 2147483647 h 96"/>
              <a:gd name="T8" fmla="*/ 2147483647 w 88"/>
              <a:gd name="T9" fmla="*/ 2147483647 h 96"/>
              <a:gd name="T10" fmla="*/ 2147483647 w 88"/>
              <a:gd name="T11" fmla="*/ 2147483647 h 96"/>
              <a:gd name="T12" fmla="*/ 2147483647 w 88"/>
              <a:gd name="T13" fmla="*/ 0 h 96"/>
              <a:gd name="T14" fmla="*/ 2147483647 w 88"/>
              <a:gd name="T15" fmla="*/ 0 h 96"/>
              <a:gd name="T16" fmla="*/ 2147483647 w 88"/>
              <a:gd name="T17" fmla="*/ 0 h 96"/>
              <a:gd name="T18" fmla="*/ 2147483647 w 88"/>
              <a:gd name="T19" fmla="*/ 0 h 96"/>
              <a:gd name="T20" fmla="*/ 2147483647 w 88"/>
              <a:gd name="T21" fmla="*/ 0 h 96"/>
              <a:gd name="T22" fmla="*/ 2147483647 w 88"/>
              <a:gd name="T23" fmla="*/ 0 h 96"/>
              <a:gd name="T24" fmla="*/ 2147483647 w 88"/>
              <a:gd name="T25" fmla="*/ 2147483647 h 96"/>
              <a:gd name="T26" fmla="*/ 2147483647 w 88"/>
              <a:gd name="T27" fmla="*/ 2147483647 h 96"/>
              <a:gd name="T28" fmla="*/ 2147483647 w 88"/>
              <a:gd name="T29" fmla="*/ 2147483647 h 96"/>
              <a:gd name="T30" fmla="*/ 2147483647 w 88"/>
              <a:gd name="T31" fmla="*/ 2147483647 h 96"/>
              <a:gd name="T32" fmla="*/ 0 w 88"/>
              <a:gd name="T33" fmla="*/ 2147483647 h 96"/>
              <a:gd name="T34" fmla="*/ 2147483647 w 88"/>
              <a:gd name="T35" fmla="*/ 2147483647 h 96"/>
              <a:gd name="T36" fmla="*/ 2147483647 w 88"/>
              <a:gd name="T37" fmla="*/ 2147483647 h 96"/>
              <a:gd name="T38" fmla="*/ 2147483647 w 88"/>
              <a:gd name="T39" fmla="*/ 2147483647 h 96"/>
              <a:gd name="T40" fmla="*/ 2147483647 w 88"/>
              <a:gd name="T41" fmla="*/ 2147483647 h 96"/>
              <a:gd name="T42" fmla="*/ 2147483647 w 88"/>
              <a:gd name="T43" fmla="*/ 2147483647 h 96"/>
              <a:gd name="T44" fmla="*/ 2147483647 w 88"/>
              <a:gd name="T45" fmla="*/ 2147483647 h 96"/>
              <a:gd name="T46" fmla="*/ 2147483647 w 88"/>
              <a:gd name="T47" fmla="*/ 2147483647 h 9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8" h="96">
                <a:moveTo>
                  <a:pt x="80" y="80"/>
                </a:moveTo>
                <a:lnTo>
                  <a:pt x="72" y="56"/>
                </a:lnTo>
                <a:lnTo>
                  <a:pt x="88" y="32"/>
                </a:lnTo>
                <a:lnTo>
                  <a:pt x="80" y="16"/>
                </a:lnTo>
                <a:lnTo>
                  <a:pt x="72" y="8"/>
                </a:lnTo>
                <a:lnTo>
                  <a:pt x="56" y="8"/>
                </a:lnTo>
                <a:lnTo>
                  <a:pt x="48" y="0"/>
                </a:lnTo>
                <a:lnTo>
                  <a:pt x="40" y="0"/>
                </a:lnTo>
                <a:lnTo>
                  <a:pt x="32" y="0"/>
                </a:lnTo>
                <a:lnTo>
                  <a:pt x="24" y="0"/>
                </a:lnTo>
                <a:lnTo>
                  <a:pt x="16" y="0"/>
                </a:lnTo>
                <a:lnTo>
                  <a:pt x="8" y="0"/>
                </a:lnTo>
                <a:lnTo>
                  <a:pt x="8" y="16"/>
                </a:lnTo>
                <a:lnTo>
                  <a:pt x="16" y="32"/>
                </a:lnTo>
                <a:lnTo>
                  <a:pt x="8" y="32"/>
                </a:lnTo>
                <a:lnTo>
                  <a:pt x="8" y="40"/>
                </a:lnTo>
                <a:lnTo>
                  <a:pt x="0" y="48"/>
                </a:lnTo>
                <a:lnTo>
                  <a:pt x="8" y="64"/>
                </a:lnTo>
                <a:lnTo>
                  <a:pt x="16" y="72"/>
                </a:lnTo>
                <a:lnTo>
                  <a:pt x="16" y="96"/>
                </a:lnTo>
                <a:lnTo>
                  <a:pt x="40" y="80"/>
                </a:lnTo>
                <a:lnTo>
                  <a:pt x="56" y="80"/>
                </a:lnTo>
                <a:lnTo>
                  <a:pt x="72" y="80"/>
                </a:lnTo>
                <a:lnTo>
                  <a:pt x="80" y="8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7" name="Freeform 85"/>
          <p:cNvSpPr>
            <a:spLocks noChangeAspect="1"/>
          </p:cNvSpPr>
          <p:nvPr/>
        </p:nvSpPr>
        <p:spPr bwMode="auto">
          <a:xfrm>
            <a:off x="1278954" y="3512304"/>
            <a:ext cx="125413" cy="134937"/>
          </a:xfrm>
          <a:custGeom>
            <a:avLst/>
            <a:gdLst>
              <a:gd name="T0" fmla="*/ 2147483647 w 56"/>
              <a:gd name="T1" fmla="*/ 2147483647 h 64"/>
              <a:gd name="T2" fmla="*/ 2147483647 w 56"/>
              <a:gd name="T3" fmla="*/ 2147483647 h 64"/>
              <a:gd name="T4" fmla="*/ 2147483647 w 56"/>
              <a:gd name="T5" fmla="*/ 2147483647 h 64"/>
              <a:gd name="T6" fmla="*/ 2147483647 w 56"/>
              <a:gd name="T7" fmla="*/ 2147483647 h 64"/>
              <a:gd name="T8" fmla="*/ 2147483647 w 56"/>
              <a:gd name="T9" fmla="*/ 2147483647 h 64"/>
              <a:gd name="T10" fmla="*/ 0 w 56"/>
              <a:gd name="T11" fmla="*/ 2147483647 h 64"/>
              <a:gd name="T12" fmla="*/ 2147483647 w 56"/>
              <a:gd name="T13" fmla="*/ 0 h 64"/>
              <a:gd name="T14" fmla="*/ 2147483647 w 56"/>
              <a:gd name="T15" fmla="*/ 0 h 64"/>
              <a:gd name="T16" fmla="*/ 2147483647 w 56"/>
              <a:gd name="T17" fmla="*/ 2147483647 h 64"/>
              <a:gd name="T18" fmla="*/ 2147483647 w 56"/>
              <a:gd name="T19" fmla="*/ 2147483647 h 6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6" h="64">
                <a:moveTo>
                  <a:pt x="40" y="16"/>
                </a:moveTo>
                <a:lnTo>
                  <a:pt x="48" y="32"/>
                </a:lnTo>
                <a:lnTo>
                  <a:pt x="56" y="40"/>
                </a:lnTo>
                <a:lnTo>
                  <a:pt x="56" y="64"/>
                </a:lnTo>
                <a:lnTo>
                  <a:pt x="48" y="56"/>
                </a:lnTo>
                <a:lnTo>
                  <a:pt x="0" y="24"/>
                </a:lnTo>
                <a:lnTo>
                  <a:pt x="16" y="0"/>
                </a:lnTo>
                <a:lnTo>
                  <a:pt x="24" y="0"/>
                </a:lnTo>
                <a:lnTo>
                  <a:pt x="32" y="16"/>
                </a:lnTo>
                <a:lnTo>
                  <a:pt x="4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8" name="Freeform 86"/>
          <p:cNvSpPr>
            <a:spLocks noChangeAspect="1"/>
          </p:cNvSpPr>
          <p:nvPr/>
        </p:nvSpPr>
        <p:spPr bwMode="auto">
          <a:xfrm>
            <a:off x="1120204" y="3247191"/>
            <a:ext cx="177800" cy="133350"/>
          </a:xfrm>
          <a:custGeom>
            <a:avLst/>
            <a:gdLst>
              <a:gd name="T0" fmla="*/ 2147483647 w 80"/>
              <a:gd name="T1" fmla="*/ 2147483647 h 64"/>
              <a:gd name="T2" fmla="*/ 2147483647 w 80"/>
              <a:gd name="T3" fmla="*/ 2147483647 h 64"/>
              <a:gd name="T4" fmla="*/ 2147483647 w 80"/>
              <a:gd name="T5" fmla="*/ 2147483647 h 64"/>
              <a:gd name="T6" fmla="*/ 2147483647 w 80"/>
              <a:gd name="T7" fmla="*/ 2147483647 h 64"/>
              <a:gd name="T8" fmla="*/ 2147483647 w 80"/>
              <a:gd name="T9" fmla="*/ 2147483647 h 64"/>
              <a:gd name="T10" fmla="*/ 2147483647 w 80"/>
              <a:gd name="T11" fmla="*/ 2147483647 h 64"/>
              <a:gd name="T12" fmla="*/ 2147483647 w 80"/>
              <a:gd name="T13" fmla="*/ 2147483647 h 64"/>
              <a:gd name="T14" fmla="*/ 2147483647 w 80"/>
              <a:gd name="T15" fmla="*/ 2147483647 h 64"/>
              <a:gd name="T16" fmla="*/ 2147483647 w 80"/>
              <a:gd name="T17" fmla="*/ 2147483647 h 64"/>
              <a:gd name="T18" fmla="*/ 2147483647 w 80"/>
              <a:gd name="T19" fmla="*/ 2147483647 h 64"/>
              <a:gd name="T20" fmla="*/ 2147483647 w 80"/>
              <a:gd name="T21" fmla="*/ 2147483647 h 64"/>
              <a:gd name="T22" fmla="*/ 0 w 80"/>
              <a:gd name="T23" fmla="*/ 2147483647 h 64"/>
              <a:gd name="T24" fmla="*/ 2147483647 w 80"/>
              <a:gd name="T25" fmla="*/ 2147483647 h 64"/>
              <a:gd name="T26" fmla="*/ 2147483647 w 80"/>
              <a:gd name="T27" fmla="*/ 2147483647 h 64"/>
              <a:gd name="T28" fmla="*/ 2147483647 w 80"/>
              <a:gd name="T29" fmla="*/ 0 h 64"/>
              <a:gd name="T30" fmla="*/ 2147483647 w 80"/>
              <a:gd name="T31" fmla="*/ 2147483647 h 64"/>
              <a:gd name="T32" fmla="*/ 2147483647 w 80"/>
              <a:gd name="T33" fmla="*/ 2147483647 h 6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80" h="64">
                <a:moveTo>
                  <a:pt x="72" y="32"/>
                </a:moveTo>
                <a:lnTo>
                  <a:pt x="80" y="64"/>
                </a:lnTo>
                <a:lnTo>
                  <a:pt x="48" y="64"/>
                </a:lnTo>
                <a:lnTo>
                  <a:pt x="8" y="64"/>
                </a:lnTo>
                <a:lnTo>
                  <a:pt x="8" y="56"/>
                </a:lnTo>
                <a:lnTo>
                  <a:pt x="24" y="48"/>
                </a:lnTo>
                <a:lnTo>
                  <a:pt x="40" y="56"/>
                </a:lnTo>
                <a:lnTo>
                  <a:pt x="48" y="48"/>
                </a:lnTo>
                <a:lnTo>
                  <a:pt x="24" y="40"/>
                </a:lnTo>
                <a:lnTo>
                  <a:pt x="8" y="48"/>
                </a:lnTo>
                <a:lnTo>
                  <a:pt x="8" y="40"/>
                </a:lnTo>
                <a:lnTo>
                  <a:pt x="0" y="32"/>
                </a:lnTo>
                <a:lnTo>
                  <a:pt x="16" y="16"/>
                </a:lnTo>
                <a:lnTo>
                  <a:pt x="24" y="8"/>
                </a:lnTo>
                <a:lnTo>
                  <a:pt x="40" y="0"/>
                </a:lnTo>
                <a:lnTo>
                  <a:pt x="56" y="16"/>
                </a:lnTo>
                <a:lnTo>
                  <a:pt x="72" y="3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9" name="Freeform 87"/>
          <p:cNvSpPr>
            <a:spLocks noChangeAspect="1"/>
          </p:cNvSpPr>
          <p:nvPr/>
        </p:nvSpPr>
        <p:spPr bwMode="auto">
          <a:xfrm>
            <a:off x="1137667" y="2912229"/>
            <a:ext cx="357187" cy="400050"/>
          </a:xfrm>
          <a:custGeom>
            <a:avLst/>
            <a:gdLst>
              <a:gd name="T0" fmla="*/ 2147483647 w 160"/>
              <a:gd name="T1" fmla="*/ 2147483647 h 192"/>
              <a:gd name="T2" fmla="*/ 2147483647 w 160"/>
              <a:gd name="T3" fmla="*/ 2147483647 h 192"/>
              <a:gd name="T4" fmla="*/ 2147483647 w 160"/>
              <a:gd name="T5" fmla="*/ 2147483647 h 192"/>
              <a:gd name="T6" fmla="*/ 2147483647 w 160"/>
              <a:gd name="T7" fmla="*/ 2147483647 h 192"/>
              <a:gd name="T8" fmla="*/ 2147483647 w 160"/>
              <a:gd name="T9" fmla="*/ 2147483647 h 192"/>
              <a:gd name="T10" fmla="*/ 2147483647 w 160"/>
              <a:gd name="T11" fmla="*/ 2147483647 h 192"/>
              <a:gd name="T12" fmla="*/ 2147483647 w 160"/>
              <a:gd name="T13" fmla="*/ 2147483647 h 192"/>
              <a:gd name="T14" fmla="*/ 2147483647 w 160"/>
              <a:gd name="T15" fmla="*/ 2147483647 h 192"/>
              <a:gd name="T16" fmla="*/ 0 w 160"/>
              <a:gd name="T17" fmla="*/ 2147483647 h 192"/>
              <a:gd name="T18" fmla="*/ 2147483647 w 160"/>
              <a:gd name="T19" fmla="*/ 2147483647 h 192"/>
              <a:gd name="T20" fmla="*/ 2147483647 w 160"/>
              <a:gd name="T21" fmla="*/ 2147483647 h 192"/>
              <a:gd name="T22" fmla="*/ 2147483647 w 160"/>
              <a:gd name="T23" fmla="*/ 2147483647 h 192"/>
              <a:gd name="T24" fmla="*/ 2147483647 w 160"/>
              <a:gd name="T25" fmla="*/ 2147483647 h 192"/>
              <a:gd name="T26" fmla="*/ 2147483647 w 160"/>
              <a:gd name="T27" fmla="*/ 2147483647 h 192"/>
              <a:gd name="T28" fmla="*/ 2147483647 w 160"/>
              <a:gd name="T29" fmla="*/ 2147483647 h 192"/>
              <a:gd name="T30" fmla="*/ 2147483647 w 160"/>
              <a:gd name="T31" fmla="*/ 0 h 192"/>
              <a:gd name="T32" fmla="*/ 2147483647 w 160"/>
              <a:gd name="T33" fmla="*/ 2147483647 h 192"/>
              <a:gd name="T34" fmla="*/ 2147483647 w 160"/>
              <a:gd name="T35" fmla="*/ 2147483647 h 192"/>
              <a:gd name="T36" fmla="*/ 2147483647 w 160"/>
              <a:gd name="T37" fmla="*/ 2147483647 h 192"/>
              <a:gd name="T38" fmla="*/ 2147483647 w 160"/>
              <a:gd name="T39" fmla="*/ 2147483647 h 192"/>
              <a:gd name="T40" fmla="*/ 2147483647 w 160"/>
              <a:gd name="T41" fmla="*/ 2147483647 h 192"/>
              <a:gd name="T42" fmla="*/ 2147483647 w 160"/>
              <a:gd name="T43" fmla="*/ 2147483647 h 192"/>
              <a:gd name="T44" fmla="*/ 2147483647 w 160"/>
              <a:gd name="T45" fmla="*/ 2147483647 h 192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160" h="192">
                <a:moveTo>
                  <a:pt x="64" y="192"/>
                </a:moveTo>
                <a:lnTo>
                  <a:pt x="48" y="176"/>
                </a:lnTo>
                <a:lnTo>
                  <a:pt x="32" y="160"/>
                </a:lnTo>
                <a:lnTo>
                  <a:pt x="16" y="168"/>
                </a:lnTo>
                <a:lnTo>
                  <a:pt x="8" y="176"/>
                </a:lnTo>
                <a:lnTo>
                  <a:pt x="8" y="144"/>
                </a:lnTo>
                <a:lnTo>
                  <a:pt x="8" y="120"/>
                </a:lnTo>
                <a:lnTo>
                  <a:pt x="8" y="104"/>
                </a:lnTo>
                <a:lnTo>
                  <a:pt x="0" y="96"/>
                </a:lnTo>
                <a:lnTo>
                  <a:pt x="8" y="88"/>
                </a:lnTo>
                <a:lnTo>
                  <a:pt x="56" y="88"/>
                </a:lnTo>
                <a:lnTo>
                  <a:pt x="56" y="64"/>
                </a:lnTo>
                <a:lnTo>
                  <a:pt x="72" y="56"/>
                </a:lnTo>
                <a:lnTo>
                  <a:pt x="72" y="16"/>
                </a:lnTo>
                <a:lnTo>
                  <a:pt x="112" y="16"/>
                </a:lnTo>
                <a:lnTo>
                  <a:pt x="112" y="0"/>
                </a:lnTo>
                <a:lnTo>
                  <a:pt x="160" y="32"/>
                </a:lnTo>
                <a:lnTo>
                  <a:pt x="136" y="32"/>
                </a:lnTo>
                <a:lnTo>
                  <a:pt x="152" y="176"/>
                </a:lnTo>
                <a:lnTo>
                  <a:pt x="88" y="176"/>
                </a:lnTo>
                <a:lnTo>
                  <a:pt x="80" y="184"/>
                </a:lnTo>
                <a:lnTo>
                  <a:pt x="72" y="176"/>
                </a:lnTo>
                <a:lnTo>
                  <a:pt x="64" y="19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0" name="Freeform 88"/>
          <p:cNvSpPr>
            <a:spLocks noChangeAspect="1"/>
          </p:cNvSpPr>
          <p:nvPr/>
        </p:nvSpPr>
        <p:spPr bwMode="auto">
          <a:xfrm>
            <a:off x="1137667" y="2893179"/>
            <a:ext cx="249237" cy="219075"/>
          </a:xfrm>
          <a:custGeom>
            <a:avLst/>
            <a:gdLst>
              <a:gd name="T0" fmla="*/ 2147483647 w 112"/>
              <a:gd name="T1" fmla="*/ 0 h 104"/>
              <a:gd name="T2" fmla="*/ 2147483647 w 112"/>
              <a:gd name="T3" fmla="*/ 2147483647 h 104"/>
              <a:gd name="T4" fmla="*/ 2147483647 w 112"/>
              <a:gd name="T5" fmla="*/ 2147483647 h 104"/>
              <a:gd name="T6" fmla="*/ 2147483647 w 112"/>
              <a:gd name="T7" fmla="*/ 2147483647 h 104"/>
              <a:gd name="T8" fmla="*/ 2147483647 w 112"/>
              <a:gd name="T9" fmla="*/ 2147483647 h 104"/>
              <a:gd name="T10" fmla="*/ 2147483647 w 112"/>
              <a:gd name="T11" fmla="*/ 2147483647 h 104"/>
              <a:gd name="T12" fmla="*/ 2147483647 w 112"/>
              <a:gd name="T13" fmla="*/ 2147483647 h 104"/>
              <a:gd name="T14" fmla="*/ 2147483647 w 112"/>
              <a:gd name="T15" fmla="*/ 2147483647 h 104"/>
              <a:gd name="T16" fmla="*/ 0 w 112"/>
              <a:gd name="T17" fmla="*/ 2147483647 h 104"/>
              <a:gd name="T18" fmla="*/ 0 w 112"/>
              <a:gd name="T19" fmla="*/ 2147483647 h 104"/>
              <a:gd name="T20" fmla="*/ 2147483647 w 112"/>
              <a:gd name="T21" fmla="*/ 2147483647 h 104"/>
              <a:gd name="T22" fmla="*/ 2147483647 w 112"/>
              <a:gd name="T23" fmla="*/ 2147483647 h 104"/>
              <a:gd name="T24" fmla="*/ 2147483647 w 112"/>
              <a:gd name="T25" fmla="*/ 2147483647 h 104"/>
              <a:gd name="T26" fmla="*/ 2147483647 w 112"/>
              <a:gd name="T27" fmla="*/ 0 h 104"/>
              <a:gd name="T28" fmla="*/ 2147483647 w 112"/>
              <a:gd name="T29" fmla="*/ 0 h 10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2" h="104">
                <a:moveTo>
                  <a:pt x="112" y="0"/>
                </a:moveTo>
                <a:lnTo>
                  <a:pt x="112" y="8"/>
                </a:lnTo>
                <a:lnTo>
                  <a:pt x="112" y="24"/>
                </a:lnTo>
                <a:lnTo>
                  <a:pt x="72" y="24"/>
                </a:lnTo>
                <a:lnTo>
                  <a:pt x="72" y="64"/>
                </a:lnTo>
                <a:lnTo>
                  <a:pt x="56" y="72"/>
                </a:lnTo>
                <a:lnTo>
                  <a:pt x="56" y="96"/>
                </a:lnTo>
                <a:lnTo>
                  <a:pt x="8" y="96"/>
                </a:lnTo>
                <a:lnTo>
                  <a:pt x="0" y="104"/>
                </a:lnTo>
                <a:lnTo>
                  <a:pt x="0" y="88"/>
                </a:lnTo>
                <a:lnTo>
                  <a:pt x="32" y="48"/>
                </a:lnTo>
                <a:lnTo>
                  <a:pt x="40" y="24"/>
                </a:lnTo>
                <a:lnTo>
                  <a:pt x="48" y="16"/>
                </a:lnTo>
                <a:lnTo>
                  <a:pt x="56" y="0"/>
                </a:lnTo>
                <a:lnTo>
                  <a:pt x="112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1" name="Freeform 89"/>
          <p:cNvSpPr>
            <a:spLocks noChangeAspect="1"/>
          </p:cNvSpPr>
          <p:nvPr/>
        </p:nvSpPr>
        <p:spPr bwMode="auto">
          <a:xfrm>
            <a:off x="1847279" y="2593141"/>
            <a:ext cx="107950" cy="215900"/>
          </a:xfrm>
          <a:custGeom>
            <a:avLst/>
            <a:gdLst>
              <a:gd name="T0" fmla="*/ 2147483647 w 48"/>
              <a:gd name="T1" fmla="*/ 2147483647 h 104"/>
              <a:gd name="T2" fmla="*/ 2147483647 w 48"/>
              <a:gd name="T3" fmla="*/ 2147483647 h 104"/>
              <a:gd name="T4" fmla="*/ 2147483647 w 48"/>
              <a:gd name="T5" fmla="*/ 2147483647 h 104"/>
              <a:gd name="T6" fmla="*/ 2147483647 w 48"/>
              <a:gd name="T7" fmla="*/ 2147483647 h 104"/>
              <a:gd name="T8" fmla="*/ 2147483647 w 48"/>
              <a:gd name="T9" fmla="*/ 2147483647 h 104"/>
              <a:gd name="T10" fmla="*/ 2147483647 w 48"/>
              <a:gd name="T11" fmla="*/ 2147483647 h 104"/>
              <a:gd name="T12" fmla="*/ 2147483647 w 48"/>
              <a:gd name="T13" fmla="*/ 2147483647 h 104"/>
              <a:gd name="T14" fmla="*/ 0 w 48"/>
              <a:gd name="T15" fmla="*/ 2147483647 h 104"/>
              <a:gd name="T16" fmla="*/ 2147483647 w 48"/>
              <a:gd name="T17" fmla="*/ 2147483647 h 104"/>
              <a:gd name="T18" fmla="*/ 2147483647 w 48"/>
              <a:gd name="T19" fmla="*/ 2147483647 h 104"/>
              <a:gd name="T20" fmla="*/ 2147483647 w 48"/>
              <a:gd name="T21" fmla="*/ 2147483647 h 104"/>
              <a:gd name="T22" fmla="*/ 2147483647 w 48"/>
              <a:gd name="T23" fmla="*/ 0 h 104"/>
              <a:gd name="T24" fmla="*/ 2147483647 w 48"/>
              <a:gd name="T25" fmla="*/ 2147483647 h 104"/>
              <a:gd name="T26" fmla="*/ 2147483647 w 48"/>
              <a:gd name="T27" fmla="*/ 2147483647 h 104"/>
              <a:gd name="T28" fmla="*/ 2147483647 w 48"/>
              <a:gd name="T29" fmla="*/ 2147483647 h 104"/>
              <a:gd name="T30" fmla="*/ 2147483647 w 48"/>
              <a:gd name="T31" fmla="*/ 2147483647 h 104"/>
              <a:gd name="T32" fmla="*/ 2147483647 w 48"/>
              <a:gd name="T33" fmla="*/ 2147483647 h 104"/>
              <a:gd name="T34" fmla="*/ 2147483647 w 48"/>
              <a:gd name="T35" fmla="*/ 2147483647 h 104"/>
              <a:gd name="T36" fmla="*/ 2147483647 w 48"/>
              <a:gd name="T37" fmla="*/ 2147483647 h 104"/>
              <a:gd name="T38" fmla="*/ 2147483647 w 48"/>
              <a:gd name="T39" fmla="*/ 2147483647 h 104"/>
              <a:gd name="T40" fmla="*/ 2147483647 w 48"/>
              <a:gd name="T41" fmla="*/ 2147483647 h 10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48" h="104">
                <a:moveTo>
                  <a:pt x="48" y="64"/>
                </a:moveTo>
                <a:lnTo>
                  <a:pt x="48" y="80"/>
                </a:lnTo>
                <a:lnTo>
                  <a:pt x="32" y="88"/>
                </a:lnTo>
                <a:lnTo>
                  <a:pt x="32" y="104"/>
                </a:lnTo>
                <a:lnTo>
                  <a:pt x="24" y="104"/>
                </a:lnTo>
                <a:lnTo>
                  <a:pt x="24" y="80"/>
                </a:lnTo>
                <a:lnTo>
                  <a:pt x="8" y="72"/>
                </a:lnTo>
                <a:lnTo>
                  <a:pt x="0" y="56"/>
                </a:lnTo>
                <a:lnTo>
                  <a:pt x="16" y="40"/>
                </a:lnTo>
                <a:lnTo>
                  <a:pt x="16" y="16"/>
                </a:lnTo>
                <a:lnTo>
                  <a:pt x="16" y="8"/>
                </a:lnTo>
                <a:lnTo>
                  <a:pt x="32" y="0"/>
                </a:lnTo>
                <a:lnTo>
                  <a:pt x="32" y="8"/>
                </a:lnTo>
                <a:lnTo>
                  <a:pt x="40" y="8"/>
                </a:lnTo>
                <a:lnTo>
                  <a:pt x="48" y="8"/>
                </a:lnTo>
                <a:lnTo>
                  <a:pt x="40" y="16"/>
                </a:lnTo>
                <a:lnTo>
                  <a:pt x="48" y="32"/>
                </a:lnTo>
                <a:lnTo>
                  <a:pt x="32" y="48"/>
                </a:lnTo>
                <a:lnTo>
                  <a:pt x="32" y="56"/>
                </a:lnTo>
                <a:lnTo>
                  <a:pt x="48" y="56"/>
                </a:lnTo>
                <a:lnTo>
                  <a:pt x="48" y="6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2" name="Freeform 90"/>
          <p:cNvSpPr>
            <a:spLocks noChangeAspect="1"/>
          </p:cNvSpPr>
          <p:nvPr/>
        </p:nvSpPr>
        <p:spPr bwMode="auto">
          <a:xfrm>
            <a:off x="1404367" y="2389941"/>
            <a:ext cx="338137" cy="250825"/>
          </a:xfrm>
          <a:custGeom>
            <a:avLst/>
            <a:gdLst>
              <a:gd name="T0" fmla="*/ 2147483647 w 152"/>
              <a:gd name="T1" fmla="*/ 2147483647 h 120"/>
              <a:gd name="T2" fmla="*/ 2147483647 w 152"/>
              <a:gd name="T3" fmla="*/ 2147483647 h 120"/>
              <a:gd name="T4" fmla="*/ 2147483647 w 152"/>
              <a:gd name="T5" fmla="*/ 2147483647 h 120"/>
              <a:gd name="T6" fmla="*/ 2147483647 w 152"/>
              <a:gd name="T7" fmla="*/ 2147483647 h 120"/>
              <a:gd name="T8" fmla="*/ 2147483647 w 152"/>
              <a:gd name="T9" fmla="*/ 2147483647 h 120"/>
              <a:gd name="T10" fmla="*/ 2147483647 w 152"/>
              <a:gd name="T11" fmla="*/ 2147483647 h 120"/>
              <a:gd name="T12" fmla="*/ 2147483647 w 152"/>
              <a:gd name="T13" fmla="*/ 2147483647 h 120"/>
              <a:gd name="T14" fmla="*/ 2147483647 w 152"/>
              <a:gd name="T15" fmla="*/ 2147483647 h 120"/>
              <a:gd name="T16" fmla="*/ 2147483647 w 152"/>
              <a:gd name="T17" fmla="*/ 2147483647 h 120"/>
              <a:gd name="T18" fmla="*/ 2147483647 w 152"/>
              <a:gd name="T19" fmla="*/ 2147483647 h 120"/>
              <a:gd name="T20" fmla="*/ 2147483647 w 152"/>
              <a:gd name="T21" fmla="*/ 2147483647 h 120"/>
              <a:gd name="T22" fmla="*/ 2147483647 w 152"/>
              <a:gd name="T23" fmla="*/ 2147483647 h 120"/>
              <a:gd name="T24" fmla="*/ 2147483647 w 152"/>
              <a:gd name="T25" fmla="*/ 2147483647 h 120"/>
              <a:gd name="T26" fmla="*/ 2147483647 w 152"/>
              <a:gd name="T27" fmla="*/ 2147483647 h 120"/>
              <a:gd name="T28" fmla="*/ 2147483647 w 152"/>
              <a:gd name="T29" fmla="*/ 2147483647 h 120"/>
              <a:gd name="T30" fmla="*/ 2147483647 w 152"/>
              <a:gd name="T31" fmla="*/ 2147483647 h 120"/>
              <a:gd name="T32" fmla="*/ 2147483647 w 152"/>
              <a:gd name="T33" fmla="*/ 2147483647 h 120"/>
              <a:gd name="T34" fmla="*/ 0 w 152"/>
              <a:gd name="T35" fmla="*/ 2147483647 h 120"/>
              <a:gd name="T36" fmla="*/ 2147483647 w 152"/>
              <a:gd name="T37" fmla="*/ 2147483647 h 120"/>
              <a:gd name="T38" fmla="*/ 2147483647 w 152"/>
              <a:gd name="T39" fmla="*/ 0 h 120"/>
              <a:gd name="T40" fmla="*/ 2147483647 w 152"/>
              <a:gd name="T41" fmla="*/ 2147483647 h 120"/>
              <a:gd name="T42" fmla="*/ 2147483647 w 152"/>
              <a:gd name="T43" fmla="*/ 2147483647 h 120"/>
              <a:gd name="T44" fmla="*/ 2147483647 w 152"/>
              <a:gd name="T45" fmla="*/ 2147483647 h 120"/>
              <a:gd name="T46" fmla="*/ 2147483647 w 152"/>
              <a:gd name="T47" fmla="*/ 2147483647 h 12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52" h="120">
                <a:moveTo>
                  <a:pt x="112" y="16"/>
                </a:moveTo>
                <a:lnTo>
                  <a:pt x="152" y="16"/>
                </a:lnTo>
                <a:lnTo>
                  <a:pt x="152" y="32"/>
                </a:lnTo>
                <a:lnTo>
                  <a:pt x="128" y="40"/>
                </a:lnTo>
                <a:lnTo>
                  <a:pt x="104" y="64"/>
                </a:lnTo>
                <a:lnTo>
                  <a:pt x="112" y="80"/>
                </a:lnTo>
                <a:lnTo>
                  <a:pt x="80" y="104"/>
                </a:lnTo>
                <a:lnTo>
                  <a:pt x="56" y="104"/>
                </a:lnTo>
                <a:lnTo>
                  <a:pt x="40" y="120"/>
                </a:lnTo>
                <a:lnTo>
                  <a:pt x="24" y="96"/>
                </a:lnTo>
                <a:lnTo>
                  <a:pt x="24" y="80"/>
                </a:lnTo>
                <a:lnTo>
                  <a:pt x="24" y="64"/>
                </a:lnTo>
                <a:lnTo>
                  <a:pt x="32" y="56"/>
                </a:lnTo>
                <a:lnTo>
                  <a:pt x="32" y="48"/>
                </a:lnTo>
                <a:lnTo>
                  <a:pt x="40" y="32"/>
                </a:lnTo>
                <a:lnTo>
                  <a:pt x="32" y="32"/>
                </a:lnTo>
                <a:lnTo>
                  <a:pt x="8" y="32"/>
                </a:lnTo>
                <a:lnTo>
                  <a:pt x="0" y="16"/>
                </a:lnTo>
                <a:lnTo>
                  <a:pt x="8" y="8"/>
                </a:lnTo>
                <a:lnTo>
                  <a:pt x="16" y="0"/>
                </a:lnTo>
                <a:lnTo>
                  <a:pt x="64" y="8"/>
                </a:lnTo>
                <a:lnTo>
                  <a:pt x="88" y="8"/>
                </a:lnTo>
                <a:lnTo>
                  <a:pt x="96" y="8"/>
                </a:lnTo>
                <a:lnTo>
                  <a:pt x="112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3" name="Freeform 91"/>
          <p:cNvSpPr>
            <a:spLocks noChangeAspect="1"/>
          </p:cNvSpPr>
          <p:nvPr/>
        </p:nvSpPr>
        <p:spPr bwMode="auto">
          <a:xfrm>
            <a:off x="1386904" y="2458204"/>
            <a:ext cx="107950" cy="150812"/>
          </a:xfrm>
          <a:custGeom>
            <a:avLst/>
            <a:gdLst>
              <a:gd name="T0" fmla="*/ 2147483647 w 48"/>
              <a:gd name="T1" fmla="*/ 2147483647 h 72"/>
              <a:gd name="T2" fmla="*/ 2147483647 w 48"/>
              <a:gd name="T3" fmla="*/ 2147483647 h 72"/>
              <a:gd name="T4" fmla="*/ 2147483647 w 48"/>
              <a:gd name="T5" fmla="*/ 2147483647 h 72"/>
              <a:gd name="T6" fmla="*/ 2147483647 w 48"/>
              <a:gd name="T7" fmla="*/ 2147483647 h 72"/>
              <a:gd name="T8" fmla="*/ 2147483647 w 48"/>
              <a:gd name="T9" fmla="*/ 0 h 72"/>
              <a:gd name="T10" fmla="*/ 2147483647 w 48"/>
              <a:gd name="T11" fmla="*/ 0 h 72"/>
              <a:gd name="T12" fmla="*/ 2147483647 w 48"/>
              <a:gd name="T13" fmla="*/ 0 h 72"/>
              <a:gd name="T14" fmla="*/ 2147483647 w 48"/>
              <a:gd name="T15" fmla="*/ 2147483647 h 72"/>
              <a:gd name="T16" fmla="*/ 0 w 48"/>
              <a:gd name="T17" fmla="*/ 2147483647 h 72"/>
              <a:gd name="T18" fmla="*/ 2147483647 w 48"/>
              <a:gd name="T19" fmla="*/ 2147483647 h 72"/>
              <a:gd name="T20" fmla="*/ 2147483647 w 48"/>
              <a:gd name="T21" fmla="*/ 2147483647 h 72"/>
              <a:gd name="T22" fmla="*/ 2147483647 w 48"/>
              <a:gd name="T23" fmla="*/ 2147483647 h 72"/>
              <a:gd name="T24" fmla="*/ 2147483647 w 48"/>
              <a:gd name="T25" fmla="*/ 2147483647 h 7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8" h="72">
                <a:moveTo>
                  <a:pt x="32" y="48"/>
                </a:moveTo>
                <a:lnTo>
                  <a:pt x="32" y="32"/>
                </a:lnTo>
                <a:lnTo>
                  <a:pt x="40" y="24"/>
                </a:lnTo>
                <a:lnTo>
                  <a:pt x="40" y="16"/>
                </a:lnTo>
                <a:lnTo>
                  <a:pt x="48" y="0"/>
                </a:lnTo>
                <a:lnTo>
                  <a:pt x="40" y="0"/>
                </a:lnTo>
                <a:lnTo>
                  <a:pt x="16" y="0"/>
                </a:lnTo>
                <a:lnTo>
                  <a:pt x="16" y="8"/>
                </a:lnTo>
                <a:lnTo>
                  <a:pt x="0" y="40"/>
                </a:lnTo>
                <a:lnTo>
                  <a:pt x="8" y="48"/>
                </a:lnTo>
                <a:lnTo>
                  <a:pt x="8" y="72"/>
                </a:lnTo>
                <a:lnTo>
                  <a:pt x="32" y="64"/>
                </a:lnTo>
                <a:lnTo>
                  <a:pt x="32" y="4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4" name="Freeform 92"/>
          <p:cNvSpPr>
            <a:spLocks noChangeAspect="1"/>
          </p:cNvSpPr>
          <p:nvPr/>
        </p:nvSpPr>
        <p:spPr bwMode="auto">
          <a:xfrm>
            <a:off x="1545654" y="2156579"/>
            <a:ext cx="322263" cy="266700"/>
          </a:xfrm>
          <a:custGeom>
            <a:avLst/>
            <a:gdLst>
              <a:gd name="T0" fmla="*/ 2147483647 w 144"/>
              <a:gd name="T1" fmla="*/ 2147483647 h 128"/>
              <a:gd name="T2" fmla="*/ 2147483647 w 144"/>
              <a:gd name="T3" fmla="*/ 2147483647 h 128"/>
              <a:gd name="T4" fmla="*/ 2147483647 w 144"/>
              <a:gd name="T5" fmla="*/ 2147483647 h 128"/>
              <a:gd name="T6" fmla="*/ 2147483647 w 144"/>
              <a:gd name="T7" fmla="*/ 2147483647 h 128"/>
              <a:gd name="T8" fmla="*/ 2147483647 w 144"/>
              <a:gd name="T9" fmla="*/ 2147483647 h 128"/>
              <a:gd name="T10" fmla="*/ 2147483647 w 144"/>
              <a:gd name="T11" fmla="*/ 2147483647 h 128"/>
              <a:gd name="T12" fmla="*/ 2147483647 w 144"/>
              <a:gd name="T13" fmla="*/ 2147483647 h 128"/>
              <a:gd name="T14" fmla="*/ 2147483647 w 144"/>
              <a:gd name="T15" fmla="*/ 2147483647 h 128"/>
              <a:gd name="T16" fmla="*/ 2147483647 w 144"/>
              <a:gd name="T17" fmla="*/ 0 h 128"/>
              <a:gd name="T18" fmla="*/ 2147483647 w 144"/>
              <a:gd name="T19" fmla="*/ 2147483647 h 128"/>
              <a:gd name="T20" fmla="*/ 2147483647 w 144"/>
              <a:gd name="T21" fmla="*/ 2147483647 h 128"/>
              <a:gd name="T22" fmla="*/ 2147483647 w 144"/>
              <a:gd name="T23" fmla="*/ 2147483647 h 128"/>
              <a:gd name="T24" fmla="*/ 2147483647 w 144"/>
              <a:gd name="T25" fmla="*/ 2147483647 h 128"/>
              <a:gd name="T26" fmla="*/ 2147483647 w 144"/>
              <a:gd name="T27" fmla="*/ 2147483647 h 128"/>
              <a:gd name="T28" fmla="*/ 2147483647 w 144"/>
              <a:gd name="T29" fmla="*/ 2147483647 h 128"/>
              <a:gd name="T30" fmla="*/ 2147483647 w 144"/>
              <a:gd name="T31" fmla="*/ 2147483647 h 128"/>
              <a:gd name="T32" fmla="*/ 2147483647 w 144"/>
              <a:gd name="T33" fmla="*/ 2147483647 h 128"/>
              <a:gd name="T34" fmla="*/ 2147483647 w 144"/>
              <a:gd name="T35" fmla="*/ 2147483647 h 128"/>
              <a:gd name="T36" fmla="*/ 2147483647 w 144"/>
              <a:gd name="T37" fmla="*/ 2147483647 h 128"/>
              <a:gd name="T38" fmla="*/ 0 w 144"/>
              <a:gd name="T39" fmla="*/ 2147483647 h 128"/>
              <a:gd name="T40" fmla="*/ 0 w 144"/>
              <a:gd name="T41" fmla="*/ 2147483647 h 128"/>
              <a:gd name="T42" fmla="*/ 2147483647 w 144"/>
              <a:gd name="T43" fmla="*/ 2147483647 h 128"/>
              <a:gd name="T44" fmla="*/ 2147483647 w 144"/>
              <a:gd name="T45" fmla="*/ 2147483647 h 128"/>
              <a:gd name="T46" fmla="*/ 2147483647 w 144"/>
              <a:gd name="T47" fmla="*/ 2147483647 h 128"/>
              <a:gd name="T48" fmla="*/ 2147483647 w 144"/>
              <a:gd name="T49" fmla="*/ 2147483647 h 128"/>
              <a:gd name="T50" fmla="*/ 2147483647 w 144"/>
              <a:gd name="T51" fmla="*/ 2147483647 h 128"/>
              <a:gd name="T52" fmla="*/ 2147483647 w 144"/>
              <a:gd name="T53" fmla="*/ 2147483647 h 128"/>
              <a:gd name="T54" fmla="*/ 2147483647 w 144"/>
              <a:gd name="T55" fmla="*/ 2147483647 h 128"/>
              <a:gd name="T56" fmla="*/ 2147483647 w 144"/>
              <a:gd name="T57" fmla="*/ 2147483647 h 128"/>
              <a:gd name="T58" fmla="*/ 2147483647 w 144"/>
              <a:gd name="T59" fmla="*/ 2147483647 h 128"/>
              <a:gd name="T60" fmla="*/ 2147483647 w 144"/>
              <a:gd name="T61" fmla="*/ 2147483647 h 128"/>
              <a:gd name="T62" fmla="*/ 2147483647 w 144"/>
              <a:gd name="T63" fmla="*/ 2147483647 h 128"/>
              <a:gd name="T64" fmla="*/ 2147483647 w 144"/>
              <a:gd name="T65" fmla="*/ 2147483647 h 128"/>
              <a:gd name="T66" fmla="*/ 2147483647 w 144"/>
              <a:gd name="T67" fmla="*/ 2147483647 h 128"/>
              <a:gd name="T68" fmla="*/ 2147483647 w 144"/>
              <a:gd name="T69" fmla="*/ 2147483647 h 128"/>
              <a:gd name="T70" fmla="*/ 2147483647 w 144"/>
              <a:gd name="T71" fmla="*/ 2147483647 h 128"/>
              <a:gd name="T72" fmla="*/ 2147483647 w 144"/>
              <a:gd name="T73" fmla="*/ 2147483647 h 128"/>
              <a:gd name="T74" fmla="*/ 2147483647 w 144"/>
              <a:gd name="T75" fmla="*/ 2147483647 h 12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44" h="128">
                <a:moveTo>
                  <a:pt x="144" y="56"/>
                </a:moveTo>
                <a:lnTo>
                  <a:pt x="144" y="40"/>
                </a:lnTo>
                <a:lnTo>
                  <a:pt x="128" y="24"/>
                </a:lnTo>
                <a:lnTo>
                  <a:pt x="120" y="24"/>
                </a:lnTo>
                <a:lnTo>
                  <a:pt x="112" y="24"/>
                </a:lnTo>
                <a:lnTo>
                  <a:pt x="112" y="16"/>
                </a:lnTo>
                <a:lnTo>
                  <a:pt x="104" y="24"/>
                </a:lnTo>
                <a:lnTo>
                  <a:pt x="88" y="8"/>
                </a:lnTo>
                <a:lnTo>
                  <a:pt x="88" y="0"/>
                </a:lnTo>
                <a:lnTo>
                  <a:pt x="80" y="8"/>
                </a:lnTo>
                <a:lnTo>
                  <a:pt x="72" y="16"/>
                </a:lnTo>
                <a:lnTo>
                  <a:pt x="56" y="24"/>
                </a:lnTo>
                <a:lnTo>
                  <a:pt x="56" y="32"/>
                </a:lnTo>
                <a:lnTo>
                  <a:pt x="40" y="32"/>
                </a:lnTo>
                <a:lnTo>
                  <a:pt x="40" y="24"/>
                </a:lnTo>
                <a:lnTo>
                  <a:pt x="32" y="24"/>
                </a:lnTo>
                <a:lnTo>
                  <a:pt x="40" y="40"/>
                </a:lnTo>
                <a:lnTo>
                  <a:pt x="24" y="40"/>
                </a:lnTo>
                <a:lnTo>
                  <a:pt x="16" y="40"/>
                </a:lnTo>
                <a:lnTo>
                  <a:pt x="0" y="40"/>
                </a:lnTo>
                <a:lnTo>
                  <a:pt x="0" y="48"/>
                </a:lnTo>
                <a:lnTo>
                  <a:pt x="24" y="56"/>
                </a:lnTo>
                <a:lnTo>
                  <a:pt x="40" y="72"/>
                </a:lnTo>
                <a:lnTo>
                  <a:pt x="40" y="80"/>
                </a:lnTo>
                <a:lnTo>
                  <a:pt x="32" y="112"/>
                </a:lnTo>
                <a:lnTo>
                  <a:pt x="32" y="120"/>
                </a:lnTo>
                <a:lnTo>
                  <a:pt x="48" y="128"/>
                </a:lnTo>
                <a:lnTo>
                  <a:pt x="88" y="128"/>
                </a:lnTo>
                <a:lnTo>
                  <a:pt x="96" y="120"/>
                </a:lnTo>
                <a:lnTo>
                  <a:pt x="128" y="120"/>
                </a:lnTo>
                <a:lnTo>
                  <a:pt x="144" y="112"/>
                </a:lnTo>
                <a:lnTo>
                  <a:pt x="128" y="96"/>
                </a:lnTo>
                <a:lnTo>
                  <a:pt x="136" y="80"/>
                </a:lnTo>
                <a:lnTo>
                  <a:pt x="128" y="72"/>
                </a:lnTo>
                <a:lnTo>
                  <a:pt x="128" y="80"/>
                </a:lnTo>
                <a:lnTo>
                  <a:pt x="120" y="72"/>
                </a:lnTo>
                <a:lnTo>
                  <a:pt x="136" y="56"/>
                </a:lnTo>
                <a:lnTo>
                  <a:pt x="144" y="5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5" name="Freeform 93"/>
          <p:cNvSpPr>
            <a:spLocks noChangeAspect="1"/>
          </p:cNvSpPr>
          <p:nvPr/>
        </p:nvSpPr>
        <p:spPr bwMode="auto">
          <a:xfrm>
            <a:off x="1832992" y="2291516"/>
            <a:ext cx="319087" cy="282575"/>
          </a:xfrm>
          <a:custGeom>
            <a:avLst/>
            <a:gdLst>
              <a:gd name="T0" fmla="*/ 0 w 144"/>
              <a:gd name="T1" fmla="*/ 2147483647 h 136"/>
              <a:gd name="T2" fmla="*/ 2147483647 w 144"/>
              <a:gd name="T3" fmla="*/ 2147483647 h 136"/>
              <a:gd name="T4" fmla="*/ 2147483647 w 144"/>
              <a:gd name="T5" fmla="*/ 2147483647 h 136"/>
              <a:gd name="T6" fmla="*/ 2147483647 w 144"/>
              <a:gd name="T7" fmla="*/ 2147483647 h 136"/>
              <a:gd name="T8" fmla="*/ 2147483647 w 144"/>
              <a:gd name="T9" fmla="*/ 2147483647 h 136"/>
              <a:gd name="T10" fmla="*/ 2147483647 w 144"/>
              <a:gd name="T11" fmla="*/ 2147483647 h 136"/>
              <a:gd name="T12" fmla="*/ 2147483647 w 144"/>
              <a:gd name="T13" fmla="*/ 0 h 136"/>
              <a:gd name="T14" fmla="*/ 2147483647 w 144"/>
              <a:gd name="T15" fmla="*/ 0 h 136"/>
              <a:gd name="T16" fmla="*/ 2147483647 w 144"/>
              <a:gd name="T17" fmla="*/ 0 h 136"/>
              <a:gd name="T18" fmla="*/ 2147483647 w 144"/>
              <a:gd name="T19" fmla="*/ 2147483647 h 136"/>
              <a:gd name="T20" fmla="*/ 2147483647 w 144"/>
              <a:gd name="T21" fmla="*/ 2147483647 h 136"/>
              <a:gd name="T22" fmla="*/ 2147483647 w 144"/>
              <a:gd name="T23" fmla="*/ 2147483647 h 136"/>
              <a:gd name="T24" fmla="*/ 2147483647 w 144"/>
              <a:gd name="T25" fmla="*/ 2147483647 h 136"/>
              <a:gd name="T26" fmla="*/ 2147483647 w 144"/>
              <a:gd name="T27" fmla="*/ 2147483647 h 136"/>
              <a:gd name="T28" fmla="*/ 2147483647 w 144"/>
              <a:gd name="T29" fmla="*/ 2147483647 h 136"/>
              <a:gd name="T30" fmla="*/ 2147483647 w 144"/>
              <a:gd name="T31" fmla="*/ 2147483647 h 136"/>
              <a:gd name="T32" fmla="*/ 2147483647 w 144"/>
              <a:gd name="T33" fmla="*/ 2147483647 h 136"/>
              <a:gd name="T34" fmla="*/ 2147483647 w 144"/>
              <a:gd name="T35" fmla="*/ 2147483647 h 136"/>
              <a:gd name="T36" fmla="*/ 2147483647 w 144"/>
              <a:gd name="T37" fmla="*/ 2147483647 h 136"/>
              <a:gd name="T38" fmla="*/ 2147483647 w 144"/>
              <a:gd name="T39" fmla="*/ 2147483647 h 136"/>
              <a:gd name="T40" fmla="*/ 2147483647 w 144"/>
              <a:gd name="T41" fmla="*/ 2147483647 h 136"/>
              <a:gd name="T42" fmla="*/ 2147483647 w 144"/>
              <a:gd name="T43" fmla="*/ 2147483647 h 136"/>
              <a:gd name="T44" fmla="*/ 2147483647 w 144"/>
              <a:gd name="T45" fmla="*/ 2147483647 h 136"/>
              <a:gd name="T46" fmla="*/ 2147483647 w 144"/>
              <a:gd name="T47" fmla="*/ 2147483647 h 136"/>
              <a:gd name="T48" fmla="*/ 2147483647 w 144"/>
              <a:gd name="T49" fmla="*/ 2147483647 h 136"/>
              <a:gd name="T50" fmla="*/ 2147483647 w 144"/>
              <a:gd name="T51" fmla="*/ 2147483647 h 136"/>
              <a:gd name="T52" fmla="*/ 2147483647 w 144"/>
              <a:gd name="T53" fmla="*/ 2147483647 h 136"/>
              <a:gd name="T54" fmla="*/ 2147483647 w 144"/>
              <a:gd name="T55" fmla="*/ 2147483647 h 136"/>
              <a:gd name="T56" fmla="*/ 2147483647 w 144"/>
              <a:gd name="T57" fmla="*/ 2147483647 h 136"/>
              <a:gd name="T58" fmla="*/ 2147483647 w 144"/>
              <a:gd name="T59" fmla="*/ 2147483647 h 136"/>
              <a:gd name="T60" fmla="*/ 2147483647 w 144"/>
              <a:gd name="T61" fmla="*/ 2147483647 h 136"/>
              <a:gd name="T62" fmla="*/ 2147483647 w 144"/>
              <a:gd name="T63" fmla="*/ 2147483647 h 136"/>
              <a:gd name="T64" fmla="*/ 2147483647 w 144"/>
              <a:gd name="T65" fmla="*/ 2147483647 h 136"/>
              <a:gd name="T66" fmla="*/ 2147483647 w 144"/>
              <a:gd name="T67" fmla="*/ 2147483647 h 136"/>
              <a:gd name="T68" fmla="*/ 2147483647 w 144"/>
              <a:gd name="T69" fmla="*/ 2147483647 h 136"/>
              <a:gd name="T70" fmla="*/ 2147483647 w 144"/>
              <a:gd name="T71" fmla="*/ 2147483647 h 136"/>
              <a:gd name="T72" fmla="*/ 2147483647 w 144"/>
              <a:gd name="T73" fmla="*/ 2147483647 h 136"/>
              <a:gd name="T74" fmla="*/ 0 w 144"/>
              <a:gd name="T75" fmla="*/ 2147483647 h 1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44" h="136">
                <a:moveTo>
                  <a:pt x="0" y="32"/>
                </a:moveTo>
                <a:lnTo>
                  <a:pt x="8" y="16"/>
                </a:lnTo>
                <a:lnTo>
                  <a:pt x="24" y="8"/>
                </a:lnTo>
                <a:lnTo>
                  <a:pt x="32" y="16"/>
                </a:lnTo>
                <a:lnTo>
                  <a:pt x="32" y="8"/>
                </a:lnTo>
                <a:lnTo>
                  <a:pt x="40" y="8"/>
                </a:lnTo>
                <a:lnTo>
                  <a:pt x="48" y="0"/>
                </a:lnTo>
                <a:lnTo>
                  <a:pt x="64" y="0"/>
                </a:lnTo>
                <a:lnTo>
                  <a:pt x="72" y="0"/>
                </a:lnTo>
                <a:lnTo>
                  <a:pt x="88" y="8"/>
                </a:lnTo>
                <a:lnTo>
                  <a:pt x="88" y="16"/>
                </a:lnTo>
                <a:lnTo>
                  <a:pt x="88" y="24"/>
                </a:lnTo>
                <a:lnTo>
                  <a:pt x="80" y="16"/>
                </a:lnTo>
                <a:lnTo>
                  <a:pt x="72" y="24"/>
                </a:lnTo>
                <a:lnTo>
                  <a:pt x="72" y="40"/>
                </a:lnTo>
                <a:lnTo>
                  <a:pt x="88" y="56"/>
                </a:lnTo>
                <a:lnTo>
                  <a:pt x="96" y="72"/>
                </a:lnTo>
                <a:lnTo>
                  <a:pt x="104" y="80"/>
                </a:lnTo>
                <a:lnTo>
                  <a:pt x="120" y="80"/>
                </a:lnTo>
                <a:lnTo>
                  <a:pt x="112" y="80"/>
                </a:lnTo>
                <a:lnTo>
                  <a:pt x="144" y="104"/>
                </a:lnTo>
                <a:lnTo>
                  <a:pt x="128" y="96"/>
                </a:lnTo>
                <a:lnTo>
                  <a:pt x="120" y="112"/>
                </a:lnTo>
                <a:lnTo>
                  <a:pt x="128" y="112"/>
                </a:lnTo>
                <a:lnTo>
                  <a:pt x="128" y="120"/>
                </a:lnTo>
                <a:lnTo>
                  <a:pt x="120" y="120"/>
                </a:lnTo>
                <a:lnTo>
                  <a:pt x="120" y="136"/>
                </a:lnTo>
                <a:lnTo>
                  <a:pt x="112" y="136"/>
                </a:lnTo>
                <a:lnTo>
                  <a:pt x="120" y="120"/>
                </a:lnTo>
                <a:lnTo>
                  <a:pt x="112" y="104"/>
                </a:lnTo>
                <a:lnTo>
                  <a:pt x="88" y="88"/>
                </a:lnTo>
                <a:lnTo>
                  <a:pt x="72" y="80"/>
                </a:lnTo>
                <a:lnTo>
                  <a:pt x="64" y="72"/>
                </a:lnTo>
                <a:lnTo>
                  <a:pt x="56" y="72"/>
                </a:lnTo>
                <a:lnTo>
                  <a:pt x="40" y="48"/>
                </a:lnTo>
                <a:lnTo>
                  <a:pt x="24" y="40"/>
                </a:lnTo>
                <a:lnTo>
                  <a:pt x="16" y="48"/>
                </a:lnTo>
                <a:lnTo>
                  <a:pt x="0" y="3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6" name="Freeform 94"/>
          <p:cNvSpPr>
            <a:spLocks noChangeAspect="1"/>
          </p:cNvSpPr>
          <p:nvPr/>
        </p:nvSpPr>
        <p:spPr bwMode="auto">
          <a:xfrm>
            <a:off x="2256854" y="2374066"/>
            <a:ext cx="177800" cy="100013"/>
          </a:xfrm>
          <a:custGeom>
            <a:avLst/>
            <a:gdLst>
              <a:gd name="T0" fmla="*/ 2147483647 w 80"/>
              <a:gd name="T1" fmla="*/ 0 h 48"/>
              <a:gd name="T2" fmla="*/ 2147483647 w 80"/>
              <a:gd name="T3" fmla="*/ 2147483647 h 48"/>
              <a:gd name="T4" fmla="*/ 2147483647 w 80"/>
              <a:gd name="T5" fmla="*/ 2147483647 h 48"/>
              <a:gd name="T6" fmla="*/ 2147483647 w 80"/>
              <a:gd name="T7" fmla="*/ 0 h 48"/>
              <a:gd name="T8" fmla="*/ 0 w 80"/>
              <a:gd name="T9" fmla="*/ 2147483647 h 48"/>
              <a:gd name="T10" fmla="*/ 0 w 80"/>
              <a:gd name="T11" fmla="*/ 2147483647 h 48"/>
              <a:gd name="T12" fmla="*/ 0 w 80"/>
              <a:gd name="T13" fmla="*/ 2147483647 h 48"/>
              <a:gd name="T14" fmla="*/ 2147483647 w 80"/>
              <a:gd name="T15" fmla="*/ 2147483647 h 48"/>
              <a:gd name="T16" fmla="*/ 2147483647 w 80"/>
              <a:gd name="T17" fmla="*/ 2147483647 h 48"/>
              <a:gd name="T18" fmla="*/ 2147483647 w 80"/>
              <a:gd name="T19" fmla="*/ 2147483647 h 48"/>
              <a:gd name="T20" fmla="*/ 2147483647 w 80"/>
              <a:gd name="T21" fmla="*/ 2147483647 h 48"/>
              <a:gd name="T22" fmla="*/ 2147483647 w 80"/>
              <a:gd name="T23" fmla="*/ 2147483647 h 48"/>
              <a:gd name="T24" fmla="*/ 2147483647 w 80"/>
              <a:gd name="T25" fmla="*/ 2147483647 h 48"/>
              <a:gd name="T26" fmla="*/ 2147483647 w 80"/>
              <a:gd name="T27" fmla="*/ 2147483647 h 48"/>
              <a:gd name="T28" fmla="*/ 2147483647 w 80"/>
              <a:gd name="T29" fmla="*/ 2147483647 h 48"/>
              <a:gd name="T30" fmla="*/ 2147483647 w 80"/>
              <a:gd name="T31" fmla="*/ 0 h 4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0" h="48">
                <a:moveTo>
                  <a:pt x="56" y="0"/>
                </a:moveTo>
                <a:lnTo>
                  <a:pt x="40" y="8"/>
                </a:lnTo>
                <a:lnTo>
                  <a:pt x="16" y="8"/>
                </a:lnTo>
                <a:lnTo>
                  <a:pt x="8" y="0"/>
                </a:lnTo>
                <a:lnTo>
                  <a:pt x="0" y="8"/>
                </a:lnTo>
                <a:lnTo>
                  <a:pt x="0" y="24"/>
                </a:lnTo>
                <a:lnTo>
                  <a:pt x="0" y="32"/>
                </a:lnTo>
                <a:lnTo>
                  <a:pt x="8" y="48"/>
                </a:lnTo>
                <a:lnTo>
                  <a:pt x="24" y="40"/>
                </a:lnTo>
                <a:lnTo>
                  <a:pt x="40" y="48"/>
                </a:lnTo>
                <a:lnTo>
                  <a:pt x="48" y="40"/>
                </a:lnTo>
                <a:lnTo>
                  <a:pt x="72" y="40"/>
                </a:lnTo>
                <a:lnTo>
                  <a:pt x="64" y="24"/>
                </a:lnTo>
                <a:lnTo>
                  <a:pt x="72" y="16"/>
                </a:lnTo>
                <a:lnTo>
                  <a:pt x="80" y="8"/>
                </a:lnTo>
                <a:lnTo>
                  <a:pt x="56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7" name="Freeform 95"/>
          <p:cNvSpPr>
            <a:spLocks noChangeAspect="1"/>
          </p:cNvSpPr>
          <p:nvPr/>
        </p:nvSpPr>
        <p:spPr bwMode="auto">
          <a:xfrm>
            <a:off x="2202879" y="2458204"/>
            <a:ext cx="161925" cy="134937"/>
          </a:xfrm>
          <a:custGeom>
            <a:avLst/>
            <a:gdLst>
              <a:gd name="T0" fmla="*/ 2147483647 w 72"/>
              <a:gd name="T1" fmla="*/ 0 h 64"/>
              <a:gd name="T2" fmla="*/ 2147483647 w 72"/>
              <a:gd name="T3" fmla="*/ 2147483647 h 64"/>
              <a:gd name="T4" fmla="*/ 2147483647 w 72"/>
              <a:gd name="T5" fmla="*/ 0 h 64"/>
              <a:gd name="T6" fmla="*/ 2147483647 w 72"/>
              <a:gd name="T7" fmla="*/ 2147483647 h 64"/>
              <a:gd name="T8" fmla="*/ 2147483647 w 72"/>
              <a:gd name="T9" fmla="*/ 2147483647 h 64"/>
              <a:gd name="T10" fmla="*/ 0 w 72"/>
              <a:gd name="T11" fmla="*/ 2147483647 h 64"/>
              <a:gd name="T12" fmla="*/ 2147483647 w 72"/>
              <a:gd name="T13" fmla="*/ 2147483647 h 64"/>
              <a:gd name="T14" fmla="*/ 2147483647 w 72"/>
              <a:gd name="T15" fmla="*/ 2147483647 h 64"/>
              <a:gd name="T16" fmla="*/ 2147483647 w 72"/>
              <a:gd name="T17" fmla="*/ 2147483647 h 64"/>
              <a:gd name="T18" fmla="*/ 2147483647 w 72"/>
              <a:gd name="T19" fmla="*/ 2147483647 h 64"/>
              <a:gd name="T20" fmla="*/ 2147483647 w 72"/>
              <a:gd name="T21" fmla="*/ 2147483647 h 64"/>
              <a:gd name="T22" fmla="*/ 2147483647 w 72"/>
              <a:gd name="T23" fmla="*/ 2147483647 h 64"/>
              <a:gd name="T24" fmla="*/ 2147483647 w 72"/>
              <a:gd name="T25" fmla="*/ 2147483647 h 64"/>
              <a:gd name="T26" fmla="*/ 2147483647 w 72"/>
              <a:gd name="T27" fmla="*/ 2147483647 h 64"/>
              <a:gd name="T28" fmla="*/ 2147483647 w 72"/>
              <a:gd name="T29" fmla="*/ 2147483647 h 64"/>
              <a:gd name="T30" fmla="*/ 2147483647 w 72"/>
              <a:gd name="T31" fmla="*/ 2147483647 h 64"/>
              <a:gd name="T32" fmla="*/ 2147483647 w 72"/>
              <a:gd name="T33" fmla="*/ 2147483647 h 64"/>
              <a:gd name="T34" fmla="*/ 2147483647 w 72"/>
              <a:gd name="T35" fmla="*/ 2147483647 h 64"/>
              <a:gd name="T36" fmla="*/ 2147483647 w 72"/>
              <a:gd name="T37" fmla="*/ 2147483647 h 64"/>
              <a:gd name="T38" fmla="*/ 2147483647 w 72"/>
              <a:gd name="T39" fmla="*/ 0 h 6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72" h="64">
                <a:moveTo>
                  <a:pt x="72" y="0"/>
                </a:moveTo>
                <a:lnTo>
                  <a:pt x="64" y="8"/>
                </a:lnTo>
                <a:lnTo>
                  <a:pt x="48" y="0"/>
                </a:lnTo>
                <a:lnTo>
                  <a:pt x="32" y="8"/>
                </a:lnTo>
                <a:lnTo>
                  <a:pt x="8" y="16"/>
                </a:lnTo>
                <a:lnTo>
                  <a:pt x="0" y="32"/>
                </a:lnTo>
                <a:lnTo>
                  <a:pt x="16" y="48"/>
                </a:lnTo>
                <a:lnTo>
                  <a:pt x="32" y="48"/>
                </a:lnTo>
                <a:lnTo>
                  <a:pt x="48" y="64"/>
                </a:lnTo>
                <a:lnTo>
                  <a:pt x="48" y="56"/>
                </a:lnTo>
                <a:lnTo>
                  <a:pt x="56" y="56"/>
                </a:lnTo>
                <a:lnTo>
                  <a:pt x="40" y="40"/>
                </a:lnTo>
                <a:lnTo>
                  <a:pt x="32" y="24"/>
                </a:lnTo>
                <a:lnTo>
                  <a:pt x="32" y="16"/>
                </a:lnTo>
                <a:lnTo>
                  <a:pt x="40" y="24"/>
                </a:lnTo>
                <a:lnTo>
                  <a:pt x="40" y="16"/>
                </a:lnTo>
                <a:lnTo>
                  <a:pt x="48" y="8"/>
                </a:lnTo>
                <a:lnTo>
                  <a:pt x="64" y="16"/>
                </a:lnTo>
                <a:lnTo>
                  <a:pt x="72" y="16"/>
                </a:lnTo>
                <a:lnTo>
                  <a:pt x="72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8" name="Freeform 96"/>
          <p:cNvSpPr>
            <a:spLocks noChangeAspect="1"/>
          </p:cNvSpPr>
          <p:nvPr/>
        </p:nvSpPr>
        <p:spPr bwMode="auto">
          <a:xfrm>
            <a:off x="2187004" y="2256591"/>
            <a:ext cx="266700" cy="133350"/>
          </a:xfrm>
          <a:custGeom>
            <a:avLst/>
            <a:gdLst>
              <a:gd name="T0" fmla="*/ 2147483647 w 120"/>
              <a:gd name="T1" fmla="*/ 2147483647 h 64"/>
              <a:gd name="T2" fmla="*/ 2147483647 w 120"/>
              <a:gd name="T3" fmla="*/ 2147483647 h 64"/>
              <a:gd name="T4" fmla="*/ 2147483647 w 120"/>
              <a:gd name="T5" fmla="*/ 2147483647 h 64"/>
              <a:gd name="T6" fmla="*/ 2147483647 w 120"/>
              <a:gd name="T7" fmla="*/ 2147483647 h 64"/>
              <a:gd name="T8" fmla="*/ 2147483647 w 120"/>
              <a:gd name="T9" fmla="*/ 2147483647 h 64"/>
              <a:gd name="T10" fmla="*/ 2147483647 w 120"/>
              <a:gd name="T11" fmla="*/ 2147483647 h 64"/>
              <a:gd name="T12" fmla="*/ 2147483647 w 120"/>
              <a:gd name="T13" fmla="*/ 2147483647 h 64"/>
              <a:gd name="T14" fmla="*/ 2147483647 w 120"/>
              <a:gd name="T15" fmla="*/ 2147483647 h 64"/>
              <a:gd name="T16" fmla="*/ 2147483647 w 120"/>
              <a:gd name="T17" fmla="*/ 2147483647 h 64"/>
              <a:gd name="T18" fmla="*/ 2147483647 w 120"/>
              <a:gd name="T19" fmla="*/ 2147483647 h 64"/>
              <a:gd name="T20" fmla="*/ 2147483647 w 120"/>
              <a:gd name="T21" fmla="*/ 2147483647 h 64"/>
              <a:gd name="T22" fmla="*/ 0 w 120"/>
              <a:gd name="T23" fmla="*/ 2147483647 h 64"/>
              <a:gd name="T24" fmla="*/ 2147483647 w 120"/>
              <a:gd name="T25" fmla="*/ 2147483647 h 64"/>
              <a:gd name="T26" fmla="*/ 2147483647 w 120"/>
              <a:gd name="T27" fmla="*/ 2147483647 h 64"/>
              <a:gd name="T28" fmla="*/ 2147483647 w 120"/>
              <a:gd name="T29" fmla="*/ 2147483647 h 64"/>
              <a:gd name="T30" fmla="*/ 2147483647 w 120"/>
              <a:gd name="T31" fmla="*/ 0 h 64"/>
              <a:gd name="T32" fmla="*/ 2147483647 w 120"/>
              <a:gd name="T33" fmla="*/ 2147483647 h 64"/>
              <a:gd name="T34" fmla="*/ 2147483647 w 120"/>
              <a:gd name="T35" fmla="*/ 0 h 64"/>
              <a:gd name="T36" fmla="*/ 2147483647 w 120"/>
              <a:gd name="T37" fmla="*/ 2147483647 h 64"/>
              <a:gd name="T38" fmla="*/ 2147483647 w 120"/>
              <a:gd name="T39" fmla="*/ 2147483647 h 6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20" h="64">
                <a:moveTo>
                  <a:pt x="104" y="40"/>
                </a:moveTo>
                <a:lnTo>
                  <a:pt x="120" y="40"/>
                </a:lnTo>
                <a:lnTo>
                  <a:pt x="120" y="48"/>
                </a:lnTo>
                <a:lnTo>
                  <a:pt x="104" y="56"/>
                </a:lnTo>
                <a:lnTo>
                  <a:pt x="112" y="64"/>
                </a:lnTo>
                <a:lnTo>
                  <a:pt x="88" y="56"/>
                </a:lnTo>
                <a:lnTo>
                  <a:pt x="72" y="64"/>
                </a:lnTo>
                <a:lnTo>
                  <a:pt x="48" y="64"/>
                </a:lnTo>
                <a:lnTo>
                  <a:pt x="40" y="56"/>
                </a:lnTo>
                <a:lnTo>
                  <a:pt x="32" y="48"/>
                </a:lnTo>
                <a:lnTo>
                  <a:pt x="24" y="48"/>
                </a:lnTo>
                <a:lnTo>
                  <a:pt x="0" y="32"/>
                </a:lnTo>
                <a:lnTo>
                  <a:pt x="8" y="32"/>
                </a:lnTo>
                <a:lnTo>
                  <a:pt x="16" y="24"/>
                </a:lnTo>
                <a:lnTo>
                  <a:pt x="24" y="8"/>
                </a:lnTo>
                <a:lnTo>
                  <a:pt x="32" y="0"/>
                </a:lnTo>
                <a:lnTo>
                  <a:pt x="56" y="8"/>
                </a:lnTo>
                <a:lnTo>
                  <a:pt x="80" y="0"/>
                </a:lnTo>
                <a:lnTo>
                  <a:pt x="96" y="16"/>
                </a:lnTo>
                <a:lnTo>
                  <a:pt x="104" y="4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9" name="Freeform 97"/>
          <p:cNvSpPr>
            <a:spLocks noChangeAspect="1"/>
          </p:cNvSpPr>
          <p:nvPr/>
        </p:nvSpPr>
        <p:spPr bwMode="auto">
          <a:xfrm>
            <a:off x="2026667" y="2291516"/>
            <a:ext cx="71437" cy="47625"/>
          </a:xfrm>
          <a:custGeom>
            <a:avLst/>
            <a:gdLst>
              <a:gd name="T0" fmla="*/ 0 w 32"/>
              <a:gd name="T1" fmla="*/ 2147483647 h 24"/>
              <a:gd name="T2" fmla="*/ 0 w 32"/>
              <a:gd name="T3" fmla="*/ 2147483647 h 24"/>
              <a:gd name="T4" fmla="*/ 0 w 32"/>
              <a:gd name="T5" fmla="*/ 2147483647 h 24"/>
              <a:gd name="T6" fmla="*/ 2147483647 w 32"/>
              <a:gd name="T7" fmla="*/ 0 h 24"/>
              <a:gd name="T8" fmla="*/ 2147483647 w 32"/>
              <a:gd name="T9" fmla="*/ 2147483647 h 24"/>
              <a:gd name="T10" fmla="*/ 2147483647 w 32"/>
              <a:gd name="T11" fmla="*/ 2147483647 h 24"/>
              <a:gd name="T12" fmla="*/ 2147483647 w 32"/>
              <a:gd name="T13" fmla="*/ 2147483647 h 24"/>
              <a:gd name="T14" fmla="*/ 2147483647 w 32"/>
              <a:gd name="T15" fmla="*/ 2147483647 h 24"/>
              <a:gd name="T16" fmla="*/ 0 w 32"/>
              <a:gd name="T17" fmla="*/ 2147483647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2" h="24">
                <a:moveTo>
                  <a:pt x="0" y="24"/>
                </a:moveTo>
                <a:lnTo>
                  <a:pt x="0" y="16"/>
                </a:lnTo>
                <a:lnTo>
                  <a:pt x="0" y="8"/>
                </a:lnTo>
                <a:lnTo>
                  <a:pt x="24" y="0"/>
                </a:lnTo>
                <a:lnTo>
                  <a:pt x="32" y="8"/>
                </a:lnTo>
                <a:lnTo>
                  <a:pt x="16" y="16"/>
                </a:lnTo>
                <a:lnTo>
                  <a:pt x="16" y="24"/>
                </a:lnTo>
                <a:lnTo>
                  <a:pt x="8" y="16"/>
                </a:lnTo>
                <a:lnTo>
                  <a:pt x="0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0" name="Freeform 98"/>
          <p:cNvSpPr>
            <a:spLocks noChangeAspect="1"/>
          </p:cNvSpPr>
          <p:nvPr/>
        </p:nvSpPr>
        <p:spPr bwMode="auto">
          <a:xfrm>
            <a:off x="2026667" y="2307391"/>
            <a:ext cx="141287" cy="115888"/>
          </a:xfrm>
          <a:custGeom>
            <a:avLst/>
            <a:gdLst>
              <a:gd name="T0" fmla="*/ 2147483647 w 64"/>
              <a:gd name="T1" fmla="*/ 2147483647 h 56"/>
              <a:gd name="T2" fmla="*/ 2147483647 w 64"/>
              <a:gd name="T3" fmla="*/ 2147483647 h 56"/>
              <a:gd name="T4" fmla="*/ 2147483647 w 64"/>
              <a:gd name="T5" fmla="*/ 0 h 56"/>
              <a:gd name="T6" fmla="*/ 2147483647 w 64"/>
              <a:gd name="T7" fmla="*/ 2147483647 h 56"/>
              <a:gd name="T8" fmla="*/ 2147483647 w 64"/>
              <a:gd name="T9" fmla="*/ 2147483647 h 56"/>
              <a:gd name="T10" fmla="*/ 2147483647 w 64"/>
              <a:gd name="T11" fmla="*/ 2147483647 h 56"/>
              <a:gd name="T12" fmla="*/ 0 w 64"/>
              <a:gd name="T13" fmla="*/ 2147483647 h 56"/>
              <a:gd name="T14" fmla="*/ 0 w 64"/>
              <a:gd name="T15" fmla="*/ 2147483647 h 56"/>
              <a:gd name="T16" fmla="*/ 2147483647 w 64"/>
              <a:gd name="T17" fmla="*/ 2147483647 h 56"/>
              <a:gd name="T18" fmla="*/ 2147483647 w 64"/>
              <a:gd name="T19" fmla="*/ 2147483647 h 56"/>
              <a:gd name="T20" fmla="*/ 2147483647 w 64"/>
              <a:gd name="T21" fmla="*/ 2147483647 h 56"/>
              <a:gd name="T22" fmla="*/ 2147483647 w 64"/>
              <a:gd name="T23" fmla="*/ 2147483647 h 56"/>
              <a:gd name="T24" fmla="*/ 2147483647 w 64"/>
              <a:gd name="T25" fmla="*/ 2147483647 h 56"/>
              <a:gd name="T26" fmla="*/ 2147483647 w 64"/>
              <a:gd name="T27" fmla="*/ 2147483647 h 56"/>
              <a:gd name="T28" fmla="*/ 2147483647 w 64"/>
              <a:gd name="T29" fmla="*/ 2147483647 h 56"/>
              <a:gd name="T30" fmla="*/ 2147483647 w 64"/>
              <a:gd name="T31" fmla="*/ 2147483647 h 56"/>
              <a:gd name="T32" fmla="*/ 2147483647 w 64"/>
              <a:gd name="T33" fmla="*/ 2147483647 h 56"/>
              <a:gd name="T34" fmla="*/ 2147483647 w 64"/>
              <a:gd name="T35" fmla="*/ 2147483647 h 56"/>
              <a:gd name="T36" fmla="*/ 2147483647 w 64"/>
              <a:gd name="T37" fmla="*/ 2147483647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4" h="56">
                <a:moveTo>
                  <a:pt x="56" y="8"/>
                </a:moveTo>
                <a:lnTo>
                  <a:pt x="48" y="8"/>
                </a:lnTo>
                <a:lnTo>
                  <a:pt x="32" y="0"/>
                </a:lnTo>
                <a:lnTo>
                  <a:pt x="16" y="8"/>
                </a:lnTo>
                <a:lnTo>
                  <a:pt x="16" y="16"/>
                </a:lnTo>
                <a:lnTo>
                  <a:pt x="8" y="8"/>
                </a:lnTo>
                <a:lnTo>
                  <a:pt x="0" y="16"/>
                </a:lnTo>
                <a:lnTo>
                  <a:pt x="0" y="24"/>
                </a:lnTo>
                <a:lnTo>
                  <a:pt x="8" y="16"/>
                </a:lnTo>
                <a:lnTo>
                  <a:pt x="16" y="24"/>
                </a:lnTo>
                <a:lnTo>
                  <a:pt x="16" y="40"/>
                </a:lnTo>
                <a:lnTo>
                  <a:pt x="56" y="56"/>
                </a:lnTo>
                <a:lnTo>
                  <a:pt x="32" y="32"/>
                </a:lnTo>
                <a:lnTo>
                  <a:pt x="24" y="24"/>
                </a:lnTo>
                <a:lnTo>
                  <a:pt x="32" y="16"/>
                </a:lnTo>
                <a:lnTo>
                  <a:pt x="56" y="24"/>
                </a:lnTo>
                <a:lnTo>
                  <a:pt x="64" y="24"/>
                </a:lnTo>
                <a:lnTo>
                  <a:pt x="64" y="16"/>
                </a:lnTo>
                <a:lnTo>
                  <a:pt x="56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1" name="Freeform 99"/>
          <p:cNvSpPr>
            <a:spLocks noChangeAspect="1"/>
          </p:cNvSpPr>
          <p:nvPr/>
        </p:nvSpPr>
        <p:spPr bwMode="auto">
          <a:xfrm>
            <a:off x="2079054" y="2339141"/>
            <a:ext cx="107950" cy="84138"/>
          </a:xfrm>
          <a:custGeom>
            <a:avLst/>
            <a:gdLst>
              <a:gd name="T0" fmla="*/ 2147483647 w 48"/>
              <a:gd name="T1" fmla="*/ 2147483647 h 40"/>
              <a:gd name="T2" fmla="*/ 2147483647 w 48"/>
              <a:gd name="T3" fmla="*/ 2147483647 h 40"/>
              <a:gd name="T4" fmla="*/ 2147483647 w 48"/>
              <a:gd name="T5" fmla="*/ 2147483647 h 40"/>
              <a:gd name="T6" fmla="*/ 2147483647 w 48"/>
              <a:gd name="T7" fmla="*/ 2147483647 h 40"/>
              <a:gd name="T8" fmla="*/ 2147483647 w 48"/>
              <a:gd name="T9" fmla="*/ 2147483647 h 40"/>
              <a:gd name="T10" fmla="*/ 2147483647 w 48"/>
              <a:gd name="T11" fmla="*/ 2147483647 h 40"/>
              <a:gd name="T12" fmla="*/ 2147483647 w 48"/>
              <a:gd name="T13" fmla="*/ 2147483647 h 40"/>
              <a:gd name="T14" fmla="*/ 0 w 48"/>
              <a:gd name="T15" fmla="*/ 2147483647 h 40"/>
              <a:gd name="T16" fmla="*/ 2147483647 w 48"/>
              <a:gd name="T17" fmla="*/ 0 h 40"/>
              <a:gd name="T18" fmla="*/ 2147483647 w 48"/>
              <a:gd name="T19" fmla="*/ 2147483647 h 40"/>
              <a:gd name="T20" fmla="*/ 2147483647 w 48"/>
              <a:gd name="T21" fmla="*/ 2147483647 h 4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48" h="40">
                <a:moveTo>
                  <a:pt x="40" y="8"/>
                </a:moveTo>
                <a:lnTo>
                  <a:pt x="40" y="16"/>
                </a:lnTo>
                <a:lnTo>
                  <a:pt x="48" y="24"/>
                </a:lnTo>
                <a:lnTo>
                  <a:pt x="40" y="24"/>
                </a:lnTo>
                <a:lnTo>
                  <a:pt x="32" y="32"/>
                </a:lnTo>
                <a:lnTo>
                  <a:pt x="32" y="40"/>
                </a:lnTo>
                <a:lnTo>
                  <a:pt x="8" y="16"/>
                </a:lnTo>
                <a:lnTo>
                  <a:pt x="0" y="8"/>
                </a:lnTo>
                <a:lnTo>
                  <a:pt x="8" y="0"/>
                </a:lnTo>
                <a:lnTo>
                  <a:pt x="32" y="8"/>
                </a:lnTo>
                <a:lnTo>
                  <a:pt x="4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2" name="Freeform 100"/>
          <p:cNvSpPr>
            <a:spLocks noChangeAspect="1"/>
          </p:cNvSpPr>
          <p:nvPr/>
        </p:nvSpPr>
        <p:spPr bwMode="auto">
          <a:xfrm>
            <a:off x="2152079" y="2389941"/>
            <a:ext cx="50800" cy="68263"/>
          </a:xfrm>
          <a:custGeom>
            <a:avLst/>
            <a:gdLst>
              <a:gd name="T0" fmla="*/ 0 w 24"/>
              <a:gd name="T1" fmla="*/ 2147483647 h 32"/>
              <a:gd name="T2" fmla="*/ 2147483647 w 24"/>
              <a:gd name="T3" fmla="*/ 2147483647 h 32"/>
              <a:gd name="T4" fmla="*/ 2147483647 w 24"/>
              <a:gd name="T5" fmla="*/ 2147483647 h 32"/>
              <a:gd name="T6" fmla="*/ 2147483647 w 24"/>
              <a:gd name="T7" fmla="*/ 2147483647 h 32"/>
              <a:gd name="T8" fmla="*/ 2147483647 w 24"/>
              <a:gd name="T9" fmla="*/ 0 h 32"/>
              <a:gd name="T10" fmla="*/ 0 w 24"/>
              <a:gd name="T11" fmla="*/ 2147483647 h 32"/>
              <a:gd name="T12" fmla="*/ 0 w 24"/>
              <a:gd name="T13" fmla="*/ 2147483647 h 3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" h="32">
                <a:moveTo>
                  <a:pt x="0" y="16"/>
                </a:moveTo>
                <a:lnTo>
                  <a:pt x="16" y="32"/>
                </a:lnTo>
                <a:lnTo>
                  <a:pt x="16" y="16"/>
                </a:lnTo>
                <a:lnTo>
                  <a:pt x="24" y="16"/>
                </a:lnTo>
                <a:lnTo>
                  <a:pt x="8" y="0"/>
                </a:lnTo>
                <a:lnTo>
                  <a:pt x="0" y="8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3" name="Freeform 101"/>
          <p:cNvSpPr>
            <a:spLocks noChangeAspect="1"/>
          </p:cNvSpPr>
          <p:nvPr/>
        </p:nvSpPr>
        <p:spPr bwMode="auto">
          <a:xfrm>
            <a:off x="2152079" y="2324854"/>
            <a:ext cx="122238" cy="133350"/>
          </a:xfrm>
          <a:custGeom>
            <a:avLst/>
            <a:gdLst>
              <a:gd name="T0" fmla="*/ 2147483647 w 56"/>
              <a:gd name="T1" fmla="*/ 2147483647 h 64"/>
              <a:gd name="T2" fmla="*/ 2147483647 w 56"/>
              <a:gd name="T3" fmla="*/ 2147483647 h 64"/>
              <a:gd name="T4" fmla="*/ 2147483647 w 56"/>
              <a:gd name="T5" fmla="*/ 2147483647 h 64"/>
              <a:gd name="T6" fmla="*/ 2147483647 w 56"/>
              <a:gd name="T7" fmla="*/ 2147483647 h 64"/>
              <a:gd name="T8" fmla="*/ 2147483647 w 56"/>
              <a:gd name="T9" fmla="*/ 2147483647 h 64"/>
              <a:gd name="T10" fmla="*/ 2147483647 w 56"/>
              <a:gd name="T11" fmla="*/ 2147483647 h 64"/>
              <a:gd name="T12" fmla="*/ 2147483647 w 56"/>
              <a:gd name="T13" fmla="*/ 2147483647 h 64"/>
              <a:gd name="T14" fmla="*/ 2147483647 w 56"/>
              <a:gd name="T15" fmla="*/ 2147483647 h 64"/>
              <a:gd name="T16" fmla="*/ 2147483647 w 56"/>
              <a:gd name="T17" fmla="*/ 2147483647 h 64"/>
              <a:gd name="T18" fmla="*/ 0 w 56"/>
              <a:gd name="T19" fmla="*/ 0 h 64"/>
              <a:gd name="T20" fmla="*/ 2147483647 w 56"/>
              <a:gd name="T21" fmla="*/ 0 h 64"/>
              <a:gd name="T22" fmla="*/ 2147483647 w 56"/>
              <a:gd name="T23" fmla="*/ 2147483647 h 64"/>
              <a:gd name="T24" fmla="*/ 2147483647 w 56"/>
              <a:gd name="T25" fmla="*/ 2147483647 h 64"/>
              <a:gd name="T26" fmla="*/ 2147483647 w 56"/>
              <a:gd name="T27" fmla="*/ 2147483647 h 64"/>
              <a:gd name="T28" fmla="*/ 2147483647 w 56"/>
              <a:gd name="T29" fmla="*/ 2147483647 h 64"/>
              <a:gd name="T30" fmla="*/ 2147483647 w 56"/>
              <a:gd name="T31" fmla="*/ 2147483647 h 64"/>
              <a:gd name="T32" fmla="*/ 2147483647 w 56"/>
              <a:gd name="T33" fmla="*/ 2147483647 h 64"/>
              <a:gd name="T34" fmla="*/ 2147483647 w 56"/>
              <a:gd name="T35" fmla="*/ 2147483647 h 64"/>
              <a:gd name="T36" fmla="*/ 2147483647 w 56"/>
              <a:gd name="T37" fmla="*/ 2147483647 h 6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56" h="64">
                <a:moveTo>
                  <a:pt x="24" y="64"/>
                </a:moveTo>
                <a:lnTo>
                  <a:pt x="24" y="48"/>
                </a:lnTo>
                <a:lnTo>
                  <a:pt x="16" y="48"/>
                </a:lnTo>
                <a:lnTo>
                  <a:pt x="24" y="48"/>
                </a:lnTo>
                <a:lnTo>
                  <a:pt x="8" y="32"/>
                </a:lnTo>
                <a:lnTo>
                  <a:pt x="16" y="32"/>
                </a:lnTo>
                <a:lnTo>
                  <a:pt x="8" y="24"/>
                </a:lnTo>
                <a:lnTo>
                  <a:pt x="8" y="16"/>
                </a:lnTo>
                <a:lnTo>
                  <a:pt x="8" y="8"/>
                </a:lnTo>
                <a:lnTo>
                  <a:pt x="0" y="0"/>
                </a:lnTo>
                <a:lnTo>
                  <a:pt x="16" y="0"/>
                </a:lnTo>
                <a:lnTo>
                  <a:pt x="40" y="16"/>
                </a:lnTo>
                <a:lnTo>
                  <a:pt x="48" y="16"/>
                </a:lnTo>
                <a:lnTo>
                  <a:pt x="56" y="24"/>
                </a:lnTo>
                <a:lnTo>
                  <a:pt x="48" y="32"/>
                </a:lnTo>
                <a:lnTo>
                  <a:pt x="48" y="48"/>
                </a:lnTo>
                <a:lnTo>
                  <a:pt x="48" y="56"/>
                </a:lnTo>
                <a:lnTo>
                  <a:pt x="40" y="56"/>
                </a:lnTo>
                <a:lnTo>
                  <a:pt x="24" y="6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4" name="Freeform 102"/>
          <p:cNvSpPr>
            <a:spLocks noChangeAspect="1"/>
          </p:cNvSpPr>
          <p:nvPr/>
        </p:nvSpPr>
        <p:spPr bwMode="auto">
          <a:xfrm>
            <a:off x="2202879" y="2440741"/>
            <a:ext cx="71438" cy="50800"/>
          </a:xfrm>
          <a:custGeom>
            <a:avLst/>
            <a:gdLst>
              <a:gd name="T0" fmla="*/ 2147483647 w 32"/>
              <a:gd name="T1" fmla="*/ 2147483647 h 24"/>
              <a:gd name="T2" fmla="*/ 2147483647 w 32"/>
              <a:gd name="T3" fmla="*/ 0 h 24"/>
              <a:gd name="T4" fmla="*/ 2147483647 w 32"/>
              <a:gd name="T5" fmla="*/ 0 h 24"/>
              <a:gd name="T6" fmla="*/ 0 w 32"/>
              <a:gd name="T7" fmla="*/ 2147483647 h 24"/>
              <a:gd name="T8" fmla="*/ 2147483647 w 32"/>
              <a:gd name="T9" fmla="*/ 2147483647 h 24"/>
              <a:gd name="T10" fmla="*/ 2147483647 w 32"/>
              <a:gd name="T11" fmla="*/ 2147483647 h 2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2" h="24">
                <a:moveTo>
                  <a:pt x="32" y="16"/>
                </a:moveTo>
                <a:lnTo>
                  <a:pt x="24" y="0"/>
                </a:lnTo>
                <a:lnTo>
                  <a:pt x="16" y="0"/>
                </a:lnTo>
                <a:lnTo>
                  <a:pt x="0" y="8"/>
                </a:lnTo>
                <a:lnTo>
                  <a:pt x="8" y="24"/>
                </a:lnTo>
                <a:lnTo>
                  <a:pt x="32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5" name="Freeform 103"/>
          <p:cNvSpPr>
            <a:spLocks noChangeAspect="1"/>
          </p:cNvSpPr>
          <p:nvPr/>
        </p:nvSpPr>
        <p:spPr bwMode="auto">
          <a:xfrm>
            <a:off x="2026667" y="2056566"/>
            <a:ext cx="266700" cy="166688"/>
          </a:xfrm>
          <a:custGeom>
            <a:avLst/>
            <a:gdLst>
              <a:gd name="T0" fmla="*/ 2147483647 w 120"/>
              <a:gd name="T1" fmla="*/ 2147483647 h 80"/>
              <a:gd name="T2" fmla="*/ 2147483647 w 120"/>
              <a:gd name="T3" fmla="*/ 2147483647 h 80"/>
              <a:gd name="T4" fmla="*/ 2147483647 w 120"/>
              <a:gd name="T5" fmla="*/ 2147483647 h 80"/>
              <a:gd name="T6" fmla="*/ 2147483647 w 120"/>
              <a:gd name="T7" fmla="*/ 2147483647 h 80"/>
              <a:gd name="T8" fmla="*/ 2147483647 w 120"/>
              <a:gd name="T9" fmla="*/ 2147483647 h 80"/>
              <a:gd name="T10" fmla="*/ 2147483647 w 120"/>
              <a:gd name="T11" fmla="*/ 0 h 80"/>
              <a:gd name="T12" fmla="*/ 2147483647 w 120"/>
              <a:gd name="T13" fmla="*/ 2147483647 h 80"/>
              <a:gd name="T14" fmla="*/ 2147483647 w 120"/>
              <a:gd name="T15" fmla="*/ 0 h 80"/>
              <a:gd name="T16" fmla="*/ 0 w 120"/>
              <a:gd name="T17" fmla="*/ 2147483647 h 80"/>
              <a:gd name="T18" fmla="*/ 2147483647 w 120"/>
              <a:gd name="T19" fmla="*/ 2147483647 h 80"/>
              <a:gd name="T20" fmla="*/ 2147483647 w 120"/>
              <a:gd name="T21" fmla="*/ 2147483647 h 80"/>
              <a:gd name="T22" fmla="*/ 2147483647 w 120"/>
              <a:gd name="T23" fmla="*/ 2147483647 h 80"/>
              <a:gd name="T24" fmla="*/ 2147483647 w 120"/>
              <a:gd name="T25" fmla="*/ 2147483647 h 80"/>
              <a:gd name="T26" fmla="*/ 2147483647 w 120"/>
              <a:gd name="T27" fmla="*/ 2147483647 h 80"/>
              <a:gd name="T28" fmla="*/ 2147483647 w 120"/>
              <a:gd name="T29" fmla="*/ 2147483647 h 80"/>
              <a:gd name="T30" fmla="*/ 2147483647 w 120"/>
              <a:gd name="T31" fmla="*/ 2147483647 h 80"/>
              <a:gd name="T32" fmla="*/ 2147483647 w 120"/>
              <a:gd name="T33" fmla="*/ 2147483647 h 80"/>
              <a:gd name="T34" fmla="*/ 2147483647 w 120"/>
              <a:gd name="T35" fmla="*/ 2147483647 h 8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120" h="80">
                <a:moveTo>
                  <a:pt x="112" y="48"/>
                </a:moveTo>
                <a:lnTo>
                  <a:pt x="104" y="40"/>
                </a:lnTo>
                <a:lnTo>
                  <a:pt x="112" y="24"/>
                </a:lnTo>
                <a:lnTo>
                  <a:pt x="104" y="8"/>
                </a:lnTo>
                <a:lnTo>
                  <a:pt x="96" y="8"/>
                </a:lnTo>
                <a:lnTo>
                  <a:pt x="64" y="0"/>
                </a:lnTo>
                <a:lnTo>
                  <a:pt x="56" y="8"/>
                </a:lnTo>
                <a:lnTo>
                  <a:pt x="48" y="0"/>
                </a:lnTo>
                <a:lnTo>
                  <a:pt x="0" y="16"/>
                </a:lnTo>
                <a:lnTo>
                  <a:pt x="8" y="56"/>
                </a:lnTo>
                <a:lnTo>
                  <a:pt x="24" y="56"/>
                </a:lnTo>
                <a:lnTo>
                  <a:pt x="32" y="64"/>
                </a:lnTo>
                <a:lnTo>
                  <a:pt x="48" y="72"/>
                </a:lnTo>
                <a:lnTo>
                  <a:pt x="72" y="80"/>
                </a:lnTo>
                <a:lnTo>
                  <a:pt x="88" y="80"/>
                </a:lnTo>
                <a:lnTo>
                  <a:pt x="96" y="80"/>
                </a:lnTo>
                <a:lnTo>
                  <a:pt x="120" y="64"/>
                </a:lnTo>
                <a:lnTo>
                  <a:pt x="112" y="4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6" name="Freeform 104"/>
          <p:cNvSpPr>
            <a:spLocks noChangeAspect="1"/>
          </p:cNvSpPr>
          <p:nvPr/>
        </p:nvSpPr>
        <p:spPr bwMode="auto">
          <a:xfrm>
            <a:off x="1832992" y="2056566"/>
            <a:ext cx="211137" cy="215900"/>
          </a:xfrm>
          <a:custGeom>
            <a:avLst/>
            <a:gdLst>
              <a:gd name="T0" fmla="*/ 2147483647 w 96"/>
              <a:gd name="T1" fmla="*/ 2147483647 h 104"/>
              <a:gd name="T2" fmla="*/ 2147483647 w 96"/>
              <a:gd name="T3" fmla="*/ 0 h 104"/>
              <a:gd name="T4" fmla="*/ 2147483647 w 96"/>
              <a:gd name="T5" fmla="*/ 0 h 104"/>
              <a:gd name="T6" fmla="*/ 2147483647 w 96"/>
              <a:gd name="T7" fmla="*/ 2147483647 h 104"/>
              <a:gd name="T8" fmla="*/ 2147483647 w 96"/>
              <a:gd name="T9" fmla="*/ 2147483647 h 104"/>
              <a:gd name="T10" fmla="*/ 2147483647 w 96"/>
              <a:gd name="T11" fmla="*/ 2147483647 h 104"/>
              <a:gd name="T12" fmla="*/ 0 w 96"/>
              <a:gd name="T13" fmla="*/ 2147483647 h 104"/>
              <a:gd name="T14" fmla="*/ 0 w 96"/>
              <a:gd name="T15" fmla="*/ 2147483647 h 104"/>
              <a:gd name="T16" fmla="*/ 0 w 96"/>
              <a:gd name="T17" fmla="*/ 2147483647 h 104"/>
              <a:gd name="T18" fmla="*/ 0 w 96"/>
              <a:gd name="T19" fmla="*/ 2147483647 h 104"/>
              <a:gd name="T20" fmla="*/ 2147483647 w 96"/>
              <a:gd name="T21" fmla="*/ 2147483647 h 104"/>
              <a:gd name="T22" fmla="*/ 2147483647 w 96"/>
              <a:gd name="T23" fmla="*/ 2147483647 h 104"/>
              <a:gd name="T24" fmla="*/ 2147483647 w 96"/>
              <a:gd name="T25" fmla="*/ 2147483647 h 104"/>
              <a:gd name="T26" fmla="*/ 2147483647 w 96"/>
              <a:gd name="T27" fmla="*/ 2147483647 h 104"/>
              <a:gd name="T28" fmla="*/ 2147483647 w 96"/>
              <a:gd name="T29" fmla="*/ 2147483647 h 104"/>
              <a:gd name="T30" fmla="*/ 2147483647 w 96"/>
              <a:gd name="T31" fmla="*/ 2147483647 h 104"/>
              <a:gd name="T32" fmla="*/ 2147483647 w 96"/>
              <a:gd name="T33" fmla="*/ 2147483647 h 104"/>
              <a:gd name="T34" fmla="*/ 2147483647 w 96"/>
              <a:gd name="T35" fmla="*/ 2147483647 h 104"/>
              <a:gd name="T36" fmla="*/ 2147483647 w 96"/>
              <a:gd name="T37" fmla="*/ 2147483647 h 104"/>
              <a:gd name="T38" fmla="*/ 2147483647 w 96"/>
              <a:gd name="T39" fmla="*/ 2147483647 h 104"/>
              <a:gd name="T40" fmla="*/ 2147483647 w 96"/>
              <a:gd name="T41" fmla="*/ 2147483647 h 104"/>
              <a:gd name="T42" fmla="*/ 2147483647 w 96"/>
              <a:gd name="T43" fmla="*/ 2147483647 h 104"/>
              <a:gd name="T44" fmla="*/ 2147483647 w 96"/>
              <a:gd name="T45" fmla="*/ 2147483647 h 104"/>
              <a:gd name="T46" fmla="*/ 2147483647 w 96"/>
              <a:gd name="T47" fmla="*/ 0 h 104"/>
              <a:gd name="T48" fmla="*/ 2147483647 w 96"/>
              <a:gd name="T49" fmla="*/ 2147483647 h 104"/>
              <a:gd name="T50" fmla="*/ 2147483647 w 96"/>
              <a:gd name="T51" fmla="*/ 2147483647 h 10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96" h="104">
                <a:moveTo>
                  <a:pt x="56" y="8"/>
                </a:moveTo>
                <a:lnTo>
                  <a:pt x="40" y="0"/>
                </a:lnTo>
                <a:lnTo>
                  <a:pt x="32" y="0"/>
                </a:lnTo>
                <a:lnTo>
                  <a:pt x="24" y="16"/>
                </a:lnTo>
                <a:lnTo>
                  <a:pt x="16" y="16"/>
                </a:lnTo>
                <a:lnTo>
                  <a:pt x="8" y="32"/>
                </a:lnTo>
                <a:lnTo>
                  <a:pt x="0" y="40"/>
                </a:lnTo>
                <a:lnTo>
                  <a:pt x="0" y="56"/>
                </a:lnTo>
                <a:lnTo>
                  <a:pt x="0" y="64"/>
                </a:lnTo>
                <a:lnTo>
                  <a:pt x="0" y="72"/>
                </a:lnTo>
                <a:lnTo>
                  <a:pt x="16" y="88"/>
                </a:lnTo>
                <a:lnTo>
                  <a:pt x="16" y="104"/>
                </a:lnTo>
                <a:lnTo>
                  <a:pt x="40" y="104"/>
                </a:lnTo>
                <a:lnTo>
                  <a:pt x="80" y="104"/>
                </a:lnTo>
                <a:lnTo>
                  <a:pt x="72" y="96"/>
                </a:lnTo>
                <a:lnTo>
                  <a:pt x="88" y="88"/>
                </a:lnTo>
                <a:lnTo>
                  <a:pt x="72" y="72"/>
                </a:lnTo>
                <a:lnTo>
                  <a:pt x="64" y="64"/>
                </a:lnTo>
                <a:lnTo>
                  <a:pt x="96" y="48"/>
                </a:lnTo>
                <a:lnTo>
                  <a:pt x="96" y="56"/>
                </a:lnTo>
                <a:lnTo>
                  <a:pt x="88" y="16"/>
                </a:lnTo>
                <a:lnTo>
                  <a:pt x="80" y="8"/>
                </a:lnTo>
                <a:lnTo>
                  <a:pt x="88" y="8"/>
                </a:lnTo>
                <a:lnTo>
                  <a:pt x="80" y="0"/>
                </a:lnTo>
                <a:lnTo>
                  <a:pt x="56" y="16"/>
                </a:lnTo>
                <a:lnTo>
                  <a:pt x="56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7" name="Freeform 105"/>
          <p:cNvSpPr>
            <a:spLocks noChangeAspect="1"/>
          </p:cNvSpPr>
          <p:nvPr/>
        </p:nvSpPr>
        <p:spPr bwMode="auto">
          <a:xfrm>
            <a:off x="1742504" y="2156579"/>
            <a:ext cx="90488" cy="50800"/>
          </a:xfrm>
          <a:custGeom>
            <a:avLst/>
            <a:gdLst>
              <a:gd name="T0" fmla="*/ 2147483647 w 40"/>
              <a:gd name="T1" fmla="*/ 0 h 24"/>
              <a:gd name="T2" fmla="*/ 2147483647 w 40"/>
              <a:gd name="T3" fmla="*/ 0 h 24"/>
              <a:gd name="T4" fmla="*/ 2147483647 w 40"/>
              <a:gd name="T5" fmla="*/ 2147483647 h 24"/>
              <a:gd name="T6" fmla="*/ 2147483647 w 40"/>
              <a:gd name="T7" fmla="*/ 2147483647 h 24"/>
              <a:gd name="T8" fmla="*/ 2147483647 w 40"/>
              <a:gd name="T9" fmla="*/ 2147483647 h 24"/>
              <a:gd name="T10" fmla="*/ 2147483647 w 40"/>
              <a:gd name="T11" fmla="*/ 2147483647 h 24"/>
              <a:gd name="T12" fmla="*/ 2147483647 w 40"/>
              <a:gd name="T13" fmla="*/ 2147483647 h 24"/>
              <a:gd name="T14" fmla="*/ 2147483647 w 40"/>
              <a:gd name="T15" fmla="*/ 2147483647 h 24"/>
              <a:gd name="T16" fmla="*/ 0 w 40"/>
              <a:gd name="T17" fmla="*/ 2147483647 h 24"/>
              <a:gd name="T18" fmla="*/ 2147483647 w 40"/>
              <a:gd name="T19" fmla="*/ 0 h 2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24">
                <a:moveTo>
                  <a:pt x="8" y="0"/>
                </a:moveTo>
                <a:lnTo>
                  <a:pt x="24" y="0"/>
                </a:lnTo>
                <a:lnTo>
                  <a:pt x="40" y="8"/>
                </a:lnTo>
                <a:lnTo>
                  <a:pt x="40" y="16"/>
                </a:lnTo>
                <a:lnTo>
                  <a:pt x="32" y="24"/>
                </a:lnTo>
                <a:lnTo>
                  <a:pt x="24" y="24"/>
                </a:lnTo>
                <a:lnTo>
                  <a:pt x="24" y="16"/>
                </a:lnTo>
                <a:lnTo>
                  <a:pt x="16" y="24"/>
                </a:lnTo>
                <a:lnTo>
                  <a:pt x="0" y="8"/>
                </a:lnTo>
                <a:lnTo>
                  <a:pt x="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8" name="Freeform 106"/>
          <p:cNvSpPr>
            <a:spLocks noChangeAspect="1"/>
          </p:cNvSpPr>
          <p:nvPr/>
        </p:nvSpPr>
        <p:spPr bwMode="auto">
          <a:xfrm>
            <a:off x="1812354" y="1586666"/>
            <a:ext cx="569913" cy="368300"/>
          </a:xfrm>
          <a:custGeom>
            <a:avLst/>
            <a:gdLst>
              <a:gd name="T0" fmla="*/ 2147483647 w 256"/>
              <a:gd name="T1" fmla="*/ 2147483647 h 176"/>
              <a:gd name="T2" fmla="*/ 2147483647 w 256"/>
              <a:gd name="T3" fmla="*/ 2147483647 h 176"/>
              <a:gd name="T4" fmla="*/ 2147483647 w 256"/>
              <a:gd name="T5" fmla="*/ 2147483647 h 176"/>
              <a:gd name="T6" fmla="*/ 2147483647 w 256"/>
              <a:gd name="T7" fmla="*/ 2147483647 h 176"/>
              <a:gd name="T8" fmla="*/ 2147483647 w 256"/>
              <a:gd name="T9" fmla="*/ 2147483647 h 176"/>
              <a:gd name="T10" fmla="*/ 2147483647 w 256"/>
              <a:gd name="T11" fmla="*/ 2147483647 h 176"/>
              <a:gd name="T12" fmla="*/ 2147483647 w 256"/>
              <a:gd name="T13" fmla="*/ 2147483647 h 176"/>
              <a:gd name="T14" fmla="*/ 2147483647 w 256"/>
              <a:gd name="T15" fmla="*/ 2147483647 h 176"/>
              <a:gd name="T16" fmla="*/ 2147483647 w 256"/>
              <a:gd name="T17" fmla="*/ 2147483647 h 176"/>
              <a:gd name="T18" fmla="*/ 2147483647 w 256"/>
              <a:gd name="T19" fmla="*/ 2147483647 h 176"/>
              <a:gd name="T20" fmla="*/ 2147483647 w 256"/>
              <a:gd name="T21" fmla="*/ 2147483647 h 176"/>
              <a:gd name="T22" fmla="*/ 2147483647 w 256"/>
              <a:gd name="T23" fmla="*/ 2147483647 h 176"/>
              <a:gd name="T24" fmla="*/ 0 w 256"/>
              <a:gd name="T25" fmla="*/ 2147483647 h 176"/>
              <a:gd name="T26" fmla="*/ 2147483647 w 256"/>
              <a:gd name="T27" fmla="*/ 2147483647 h 176"/>
              <a:gd name="T28" fmla="*/ 2147483647 w 256"/>
              <a:gd name="T29" fmla="*/ 2147483647 h 176"/>
              <a:gd name="T30" fmla="*/ 2147483647 w 256"/>
              <a:gd name="T31" fmla="*/ 2147483647 h 176"/>
              <a:gd name="T32" fmla="*/ 2147483647 w 256"/>
              <a:gd name="T33" fmla="*/ 2147483647 h 176"/>
              <a:gd name="T34" fmla="*/ 2147483647 w 256"/>
              <a:gd name="T35" fmla="*/ 2147483647 h 176"/>
              <a:gd name="T36" fmla="*/ 2147483647 w 256"/>
              <a:gd name="T37" fmla="*/ 2147483647 h 176"/>
              <a:gd name="T38" fmla="*/ 2147483647 w 256"/>
              <a:gd name="T39" fmla="*/ 2147483647 h 176"/>
              <a:gd name="T40" fmla="*/ 2147483647 w 256"/>
              <a:gd name="T41" fmla="*/ 2147483647 h 176"/>
              <a:gd name="T42" fmla="*/ 2147483647 w 256"/>
              <a:gd name="T43" fmla="*/ 2147483647 h 176"/>
              <a:gd name="T44" fmla="*/ 2147483647 w 256"/>
              <a:gd name="T45" fmla="*/ 2147483647 h 176"/>
              <a:gd name="T46" fmla="*/ 2147483647 w 256"/>
              <a:gd name="T47" fmla="*/ 0 h 176"/>
              <a:gd name="T48" fmla="*/ 2147483647 w 256"/>
              <a:gd name="T49" fmla="*/ 2147483647 h 176"/>
              <a:gd name="T50" fmla="*/ 2147483647 w 256"/>
              <a:gd name="T51" fmla="*/ 0 h 176"/>
              <a:gd name="T52" fmla="*/ 2147483647 w 256"/>
              <a:gd name="T53" fmla="*/ 2147483647 h 176"/>
              <a:gd name="T54" fmla="*/ 2147483647 w 256"/>
              <a:gd name="T55" fmla="*/ 2147483647 h 176"/>
              <a:gd name="T56" fmla="*/ 2147483647 w 256"/>
              <a:gd name="T57" fmla="*/ 2147483647 h 176"/>
              <a:gd name="T58" fmla="*/ 2147483647 w 256"/>
              <a:gd name="T59" fmla="*/ 2147483647 h 176"/>
              <a:gd name="T60" fmla="*/ 2147483647 w 256"/>
              <a:gd name="T61" fmla="*/ 2147483647 h 176"/>
              <a:gd name="T62" fmla="*/ 2147483647 w 256"/>
              <a:gd name="T63" fmla="*/ 2147483647 h 17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56" h="176">
                <a:moveTo>
                  <a:pt x="152" y="32"/>
                </a:moveTo>
                <a:lnTo>
                  <a:pt x="152" y="40"/>
                </a:lnTo>
                <a:lnTo>
                  <a:pt x="136" y="32"/>
                </a:lnTo>
                <a:lnTo>
                  <a:pt x="128" y="40"/>
                </a:lnTo>
                <a:lnTo>
                  <a:pt x="120" y="40"/>
                </a:lnTo>
                <a:lnTo>
                  <a:pt x="112" y="56"/>
                </a:lnTo>
                <a:lnTo>
                  <a:pt x="96" y="64"/>
                </a:lnTo>
                <a:lnTo>
                  <a:pt x="88" y="88"/>
                </a:lnTo>
                <a:lnTo>
                  <a:pt x="96" y="96"/>
                </a:lnTo>
                <a:lnTo>
                  <a:pt x="72" y="96"/>
                </a:lnTo>
                <a:lnTo>
                  <a:pt x="72" y="112"/>
                </a:lnTo>
                <a:lnTo>
                  <a:pt x="80" y="136"/>
                </a:lnTo>
                <a:lnTo>
                  <a:pt x="72" y="136"/>
                </a:lnTo>
                <a:lnTo>
                  <a:pt x="80" y="152"/>
                </a:lnTo>
                <a:lnTo>
                  <a:pt x="72" y="152"/>
                </a:lnTo>
                <a:lnTo>
                  <a:pt x="64" y="168"/>
                </a:lnTo>
                <a:lnTo>
                  <a:pt x="64" y="160"/>
                </a:lnTo>
                <a:lnTo>
                  <a:pt x="56" y="160"/>
                </a:lnTo>
                <a:lnTo>
                  <a:pt x="24" y="176"/>
                </a:lnTo>
                <a:lnTo>
                  <a:pt x="8" y="176"/>
                </a:lnTo>
                <a:lnTo>
                  <a:pt x="8" y="168"/>
                </a:lnTo>
                <a:lnTo>
                  <a:pt x="8" y="160"/>
                </a:lnTo>
                <a:lnTo>
                  <a:pt x="0" y="160"/>
                </a:lnTo>
                <a:lnTo>
                  <a:pt x="8" y="152"/>
                </a:lnTo>
                <a:lnTo>
                  <a:pt x="0" y="144"/>
                </a:lnTo>
                <a:lnTo>
                  <a:pt x="0" y="136"/>
                </a:lnTo>
                <a:lnTo>
                  <a:pt x="0" y="128"/>
                </a:lnTo>
                <a:lnTo>
                  <a:pt x="24" y="112"/>
                </a:lnTo>
                <a:lnTo>
                  <a:pt x="32" y="112"/>
                </a:lnTo>
                <a:lnTo>
                  <a:pt x="40" y="96"/>
                </a:lnTo>
                <a:lnTo>
                  <a:pt x="48" y="104"/>
                </a:lnTo>
                <a:lnTo>
                  <a:pt x="72" y="80"/>
                </a:lnTo>
                <a:lnTo>
                  <a:pt x="88" y="56"/>
                </a:lnTo>
                <a:lnTo>
                  <a:pt x="112" y="40"/>
                </a:lnTo>
                <a:lnTo>
                  <a:pt x="80" y="48"/>
                </a:lnTo>
                <a:lnTo>
                  <a:pt x="104" y="40"/>
                </a:lnTo>
                <a:lnTo>
                  <a:pt x="96" y="32"/>
                </a:lnTo>
                <a:lnTo>
                  <a:pt x="112" y="24"/>
                </a:lnTo>
                <a:lnTo>
                  <a:pt x="112" y="32"/>
                </a:lnTo>
                <a:lnTo>
                  <a:pt x="120" y="32"/>
                </a:lnTo>
                <a:lnTo>
                  <a:pt x="128" y="32"/>
                </a:lnTo>
                <a:lnTo>
                  <a:pt x="120" y="32"/>
                </a:lnTo>
                <a:lnTo>
                  <a:pt x="120" y="24"/>
                </a:lnTo>
                <a:lnTo>
                  <a:pt x="136" y="16"/>
                </a:lnTo>
                <a:lnTo>
                  <a:pt x="160" y="16"/>
                </a:lnTo>
                <a:lnTo>
                  <a:pt x="176" y="8"/>
                </a:lnTo>
                <a:lnTo>
                  <a:pt x="192" y="8"/>
                </a:lnTo>
                <a:lnTo>
                  <a:pt x="200" y="0"/>
                </a:lnTo>
                <a:lnTo>
                  <a:pt x="200" y="8"/>
                </a:lnTo>
                <a:lnTo>
                  <a:pt x="208" y="8"/>
                </a:lnTo>
                <a:lnTo>
                  <a:pt x="216" y="8"/>
                </a:lnTo>
                <a:lnTo>
                  <a:pt x="224" y="0"/>
                </a:lnTo>
                <a:lnTo>
                  <a:pt x="232" y="8"/>
                </a:lnTo>
                <a:lnTo>
                  <a:pt x="256" y="8"/>
                </a:lnTo>
                <a:lnTo>
                  <a:pt x="232" y="16"/>
                </a:lnTo>
                <a:lnTo>
                  <a:pt x="256" y="24"/>
                </a:lnTo>
                <a:lnTo>
                  <a:pt x="240" y="32"/>
                </a:lnTo>
                <a:lnTo>
                  <a:pt x="240" y="24"/>
                </a:lnTo>
                <a:lnTo>
                  <a:pt x="224" y="16"/>
                </a:lnTo>
                <a:lnTo>
                  <a:pt x="208" y="16"/>
                </a:lnTo>
                <a:lnTo>
                  <a:pt x="208" y="32"/>
                </a:lnTo>
                <a:lnTo>
                  <a:pt x="200" y="32"/>
                </a:lnTo>
                <a:lnTo>
                  <a:pt x="176" y="32"/>
                </a:lnTo>
                <a:lnTo>
                  <a:pt x="160" y="24"/>
                </a:lnTo>
                <a:lnTo>
                  <a:pt x="152" y="3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9" name="Freeform 107"/>
          <p:cNvSpPr>
            <a:spLocks noChangeAspect="1"/>
          </p:cNvSpPr>
          <p:nvPr/>
        </p:nvSpPr>
        <p:spPr bwMode="auto">
          <a:xfrm>
            <a:off x="1955229" y="1653341"/>
            <a:ext cx="284163" cy="384175"/>
          </a:xfrm>
          <a:custGeom>
            <a:avLst/>
            <a:gdLst>
              <a:gd name="T0" fmla="*/ 0 w 128"/>
              <a:gd name="T1" fmla="*/ 2147483647 h 184"/>
              <a:gd name="T2" fmla="*/ 2147483647 w 128"/>
              <a:gd name="T3" fmla="*/ 2147483647 h 184"/>
              <a:gd name="T4" fmla="*/ 2147483647 w 128"/>
              <a:gd name="T5" fmla="*/ 2147483647 h 184"/>
              <a:gd name="T6" fmla="*/ 2147483647 w 128"/>
              <a:gd name="T7" fmla="*/ 2147483647 h 184"/>
              <a:gd name="T8" fmla="*/ 2147483647 w 128"/>
              <a:gd name="T9" fmla="*/ 2147483647 h 184"/>
              <a:gd name="T10" fmla="*/ 2147483647 w 128"/>
              <a:gd name="T11" fmla="*/ 2147483647 h 184"/>
              <a:gd name="T12" fmla="*/ 2147483647 w 128"/>
              <a:gd name="T13" fmla="*/ 2147483647 h 184"/>
              <a:gd name="T14" fmla="*/ 2147483647 w 128"/>
              <a:gd name="T15" fmla="*/ 2147483647 h 184"/>
              <a:gd name="T16" fmla="*/ 2147483647 w 128"/>
              <a:gd name="T17" fmla="*/ 2147483647 h 184"/>
              <a:gd name="T18" fmla="*/ 2147483647 w 128"/>
              <a:gd name="T19" fmla="*/ 2147483647 h 184"/>
              <a:gd name="T20" fmla="*/ 2147483647 w 128"/>
              <a:gd name="T21" fmla="*/ 2147483647 h 184"/>
              <a:gd name="T22" fmla="*/ 2147483647 w 128"/>
              <a:gd name="T23" fmla="*/ 2147483647 h 184"/>
              <a:gd name="T24" fmla="*/ 2147483647 w 128"/>
              <a:gd name="T25" fmla="*/ 2147483647 h 184"/>
              <a:gd name="T26" fmla="*/ 2147483647 w 128"/>
              <a:gd name="T27" fmla="*/ 0 h 184"/>
              <a:gd name="T28" fmla="*/ 2147483647 w 128"/>
              <a:gd name="T29" fmla="*/ 2147483647 h 184"/>
              <a:gd name="T30" fmla="*/ 2147483647 w 128"/>
              <a:gd name="T31" fmla="*/ 0 h 184"/>
              <a:gd name="T32" fmla="*/ 2147483647 w 128"/>
              <a:gd name="T33" fmla="*/ 2147483647 h 184"/>
              <a:gd name="T34" fmla="*/ 2147483647 w 128"/>
              <a:gd name="T35" fmla="*/ 2147483647 h 184"/>
              <a:gd name="T36" fmla="*/ 2147483647 w 128"/>
              <a:gd name="T37" fmla="*/ 2147483647 h 184"/>
              <a:gd name="T38" fmla="*/ 2147483647 w 128"/>
              <a:gd name="T39" fmla="*/ 2147483647 h 184"/>
              <a:gd name="T40" fmla="*/ 2147483647 w 128"/>
              <a:gd name="T41" fmla="*/ 2147483647 h 184"/>
              <a:gd name="T42" fmla="*/ 2147483647 w 128"/>
              <a:gd name="T43" fmla="*/ 2147483647 h 184"/>
              <a:gd name="T44" fmla="*/ 2147483647 w 128"/>
              <a:gd name="T45" fmla="*/ 2147483647 h 184"/>
              <a:gd name="T46" fmla="*/ 2147483647 w 128"/>
              <a:gd name="T47" fmla="*/ 2147483647 h 184"/>
              <a:gd name="T48" fmla="*/ 2147483647 w 128"/>
              <a:gd name="T49" fmla="*/ 2147483647 h 184"/>
              <a:gd name="T50" fmla="*/ 2147483647 w 128"/>
              <a:gd name="T51" fmla="*/ 2147483647 h 184"/>
              <a:gd name="T52" fmla="*/ 2147483647 w 128"/>
              <a:gd name="T53" fmla="*/ 2147483647 h 184"/>
              <a:gd name="T54" fmla="*/ 2147483647 w 128"/>
              <a:gd name="T55" fmla="*/ 2147483647 h 184"/>
              <a:gd name="T56" fmla="*/ 2147483647 w 128"/>
              <a:gd name="T57" fmla="*/ 2147483647 h 184"/>
              <a:gd name="T58" fmla="*/ 2147483647 w 128"/>
              <a:gd name="T59" fmla="*/ 2147483647 h 184"/>
              <a:gd name="T60" fmla="*/ 2147483647 w 128"/>
              <a:gd name="T61" fmla="*/ 2147483647 h 184"/>
              <a:gd name="T62" fmla="*/ 0 w 128"/>
              <a:gd name="T63" fmla="*/ 2147483647 h 184"/>
              <a:gd name="T64" fmla="*/ 0 w 128"/>
              <a:gd name="T65" fmla="*/ 2147483647 h 18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8" h="184">
                <a:moveTo>
                  <a:pt x="0" y="136"/>
                </a:moveTo>
                <a:lnTo>
                  <a:pt x="8" y="120"/>
                </a:lnTo>
                <a:lnTo>
                  <a:pt x="16" y="120"/>
                </a:lnTo>
                <a:lnTo>
                  <a:pt x="8" y="104"/>
                </a:lnTo>
                <a:lnTo>
                  <a:pt x="16" y="104"/>
                </a:lnTo>
                <a:lnTo>
                  <a:pt x="8" y="80"/>
                </a:lnTo>
                <a:lnTo>
                  <a:pt x="8" y="64"/>
                </a:lnTo>
                <a:lnTo>
                  <a:pt x="32" y="64"/>
                </a:lnTo>
                <a:lnTo>
                  <a:pt x="24" y="56"/>
                </a:lnTo>
                <a:lnTo>
                  <a:pt x="32" y="32"/>
                </a:lnTo>
                <a:lnTo>
                  <a:pt x="48" y="24"/>
                </a:lnTo>
                <a:lnTo>
                  <a:pt x="56" y="8"/>
                </a:lnTo>
                <a:lnTo>
                  <a:pt x="64" y="8"/>
                </a:lnTo>
                <a:lnTo>
                  <a:pt x="72" y="0"/>
                </a:lnTo>
                <a:lnTo>
                  <a:pt x="88" y="8"/>
                </a:lnTo>
                <a:lnTo>
                  <a:pt x="88" y="0"/>
                </a:lnTo>
                <a:lnTo>
                  <a:pt x="120" y="8"/>
                </a:lnTo>
                <a:lnTo>
                  <a:pt x="128" y="40"/>
                </a:lnTo>
                <a:lnTo>
                  <a:pt x="112" y="40"/>
                </a:lnTo>
                <a:lnTo>
                  <a:pt x="104" y="56"/>
                </a:lnTo>
                <a:lnTo>
                  <a:pt x="64" y="88"/>
                </a:lnTo>
                <a:lnTo>
                  <a:pt x="64" y="104"/>
                </a:lnTo>
                <a:lnTo>
                  <a:pt x="80" y="120"/>
                </a:lnTo>
                <a:lnTo>
                  <a:pt x="72" y="128"/>
                </a:lnTo>
                <a:lnTo>
                  <a:pt x="80" y="128"/>
                </a:lnTo>
                <a:lnTo>
                  <a:pt x="64" y="136"/>
                </a:lnTo>
                <a:lnTo>
                  <a:pt x="56" y="168"/>
                </a:lnTo>
                <a:lnTo>
                  <a:pt x="40" y="168"/>
                </a:lnTo>
                <a:lnTo>
                  <a:pt x="32" y="184"/>
                </a:lnTo>
                <a:lnTo>
                  <a:pt x="24" y="184"/>
                </a:lnTo>
                <a:lnTo>
                  <a:pt x="16" y="168"/>
                </a:lnTo>
                <a:lnTo>
                  <a:pt x="0" y="128"/>
                </a:lnTo>
                <a:lnTo>
                  <a:pt x="0" y="13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30" name="Freeform 108"/>
          <p:cNvSpPr>
            <a:spLocks noChangeAspect="1"/>
          </p:cNvSpPr>
          <p:nvPr/>
        </p:nvSpPr>
        <p:spPr bwMode="auto">
          <a:xfrm>
            <a:off x="2152079" y="1618416"/>
            <a:ext cx="265113" cy="287338"/>
          </a:xfrm>
          <a:custGeom>
            <a:avLst/>
            <a:gdLst>
              <a:gd name="T0" fmla="*/ 2147483647 w 120"/>
              <a:gd name="T1" fmla="*/ 2147483647 h 136"/>
              <a:gd name="T2" fmla="*/ 2147483647 w 120"/>
              <a:gd name="T3" fmla="*/ 2147483647 h 136"/>
              <a:gd name="T4" fmla="*/ 2147483647 w 120"/>
              <a:gd name="T5" fmla="*/ 2147483647 h 136"/>
              <a:gd name="T6" fmla="*/ 2147483647 w 120"/>
              <a:gd name="T7" fmla="*/ 2147483647 h 136"/>
              <a:gd name="T8" fmla="*/ 2147483647 w 120"/>
              <a:gd name="T9" fmla="*/ 2147483647 h 136"/>
              <a:gd name="T10" fmla="*/ 2147483647 w 120"/>
              <a:gd name="T11" fmla="*/ 2147483647 h 136"/>
              <a:gd name="T12" fmla="*/ 2147483647 w 120"/>
              <a:gd name="T13" fmla="*/ 2147483647 h 136"/>
              <a:gd name="T14" fmla="*/ 2147483647 w 120"/>
              <a:gd name="T15" fmla="*/ 2147483647 h 136"/>
              <a:gd name="T16" fmla="*/ 2147483647 w 120"/>
              <a:gd name="T17" fmla="*/ 2147483647 h 136"/>
              <a:gd name="T18" fmla="*/ 2147483647 w 120"/>
              <a:gd name="T19" fmla="*/ 2147483647 h 136"/>
              <a:gd name="T20" fmla="*/ 2147483647 w 120"/>
              <a:gd name="T21" fmla="*/ 2147483647 h 136"/>
              <a:gd name="T22" fmla="*/ 2147483647 w 120"/>
              <a:gd name="T23" fmla="*/ 2147483647 h 136"/>
              <a:gd name="T24" fmla="*/ 2147483647 w 120"/>
              <a:gd name="T25" fmla="*/ 2147483647 h 136"/>
              <a:gd name="T26" fmla="*/ 2147483647 w 120"/>
              <a:gd name="T27" fmla="*/ 2147483647 h 136"/>
              <a:gd name="T28" fmla="*/ 2147483647 w 120"/>
              <a:gd name="T29" fmla="*/ 2147483647 h 136"/>
              <a:gd name="T30" fmla="*/ 2147483647 w 120"/>
              <a:gd name="T31" fmla="*/ 2147483647 h 136"/>
              <a:gd name="T32" fmla="*/ 2147483647 w 120"/>
              <a:gd name="T33" fmla="*/ 2147483647 h 136"/>
              <a:gd name="T34" fmla="*/ 2147483647 w 120"/>
              <a:gd name="T35" fmla="*/ 2147483647 h 136"/>
              <a:gd name="T36" fmla="*/ 2147483647 w 120"/>
              <a:gd name="T37" fmla="*/ 2147483647 h 136"/>
              <a:gd name="T38" fmla="*/ 2147483647 w 120"/>
              <a:gd name="T39" fmla="*/ 2147483647 h 136"/>
              <a:gd name="T40" fmla="*/ 2147483647 w 120"/>
              <a:gd name="T41" fmla="*/ 2147483647 h 136"/>
              <a:gd name="T42" fmla="*/ 0 w 120"/>
              <a:gd name="T43" fmla="*/ 2147483647 h 136"/>
              <a:gd name="T44" fmla="*/ 2147483647 w 120"/>
              <a:gd name="T45" fmla="*/ 2147483647 h 136"/>
              <a:gd name="T46" fmla="*/ 2147483647 w 120"/>
              <a:gd name="T47" fmla="*/ 2147483647 h 136"/>
              <a:gd name="T48" fmla="*/ 2147483647 w 120"/>
              <a:gd name="T49" fmla="*/ 2147483647 h 136"/>
              <a:gd name="T50" fmla="*/ 2147483647 w 120"/>
              <a:gd name="T51" fmla="*/ 2147483647 h 136"/>
              <a:gd name="T52" fmla="*/ 2147483647 w 120"/>
              <a:gd name="T53" fmla="*/ 0 h 136"/>
              <a:gd name="T54" fmla="*/ 2147483647 w 120"/>
              <a:gd name="T55" fmla="*/ 0 h 136"/>
              <a:gd name="T56" fmla="*/ 2147483647 w 120"/>
              <a:gd name="T57" fmla="*/ 2147483647 h 136"/>
              <a:gd name="T58" fmla="*/ 2147483647 w 120"/>
              <a:gd name="T59" fmla="*/ 2147483647 h 1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136">
                <a:moveTo>
                  <a:pt x="88" y="16"/>
                </a:moveTo>
                <a:lnTo>
                  <a:pt x="80" y="16"/>
                </a:lnTo>
                <a:lnTo>
                  <a:pt x="80" y="24"/>
                </a:lnTo>
                <a:lnTo>
                  <a:pt x="96" y="32"/>
                </a:lnTo>
                <a:lnTo>
                  <a:pt x="96" y="40"/>
                </a:lnTo>
                <a:lnTo>
                  <a:pt x="104" y="56"/>
                </a:lnTo>
                <a:lnTo>
                  <a:pt x="104" y="64"/>
                </a:lnTo>
                <a:lnTo>
                  <a:pt x="112" y="72"/>
                </a:lnTo>
                <a:lnTo>
                  <a:pt x="112" y="80"/>
                </a:lnTo>
                <a:lnTo>
                  <a:pt x="120" y="96"/>
                </a:lnTo>
                <a:lnTo>
                  <a:pt x="88" y="128"/>
                </a:lnTo>
                <a:lnTo>
                  <a:pt x="48" y="136"/>
                </a:lnTo>
                <a:lnTo>
                  <a:pt x="24" y="128"/>
                </a:lnTo>
                <a:lnTo>
                  <a:pt x="24" y="112"/>
                </a:lnTo>
                <a:lnTo>
                  <a:pt x="16" y="96"/>
                </a:lnTo>
                <a:lnTo>
                  <a:pt x="24" y="96"/>
                </a:lnTo>
                <a:lnTo>
                  <a:pt x="56" y="64"/>
                </a:lnTo>
                <a:lnTo>
                  <a:pt x="56" y="56"/>
                </a:lnTo>
                <a:lnTo>
                  <a:pt x="48" y="56"/>
                </a:lnTo>
                <a:lnTo>
                  <a:pt x="40" y="56"/>
                </a:lnTo>
                <a:lnTo>
                  <a:pt x="32" y="24"/>
                </a:lnTo>
                <a:lnTo>
                  <a:pt x="0" y="16"/>
                </a:lnTo>
                <a:lnTo>
                  <a:pt x="8" y="8"/>
                </a:lnTo>
                <a:lnTo>
                  <a:pt x="24" y="16"/>
                </a:lnTo>
                <a:lnTo>
                  <a:pt x="48" y="16"/>
                </a:lnTo>
                <a:lnTo>
                  <a:pt x="56" y="16"/>
                </a:lnTo>
                <a:lnTo>
                  <a:pt x="56" y="0"/>
                </a:lnTo>
                <a:lnTo>
                  <a:pt x="72" y="0"/>
                </a:lnTo>
                <a:lnTo>
                  <a:pt x="88" y="8"/>
                </a:lnTo>
                <a:lnTo>
                  <a:pt x="88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31" name="Freeform 109"/>
          <p:cNvSpPr>
            <a:spLocks noChangeAspect="1"/>
          </p:cNvSpPr>
          <p:nvPr/>
        </p:nvSpPr>
        <p:spPr bwMode="auto">
          <a:xfrm>
            <a:off x="1918717" y="2272466"/>
            <a:ext cx="3175" cy="19050"/>
          </a:xfrm>
          <a:custGeom>
            <a:avLst/>
            <a:gdLst>
              <a:gd name="T0" fmla="*/ 0 w 3175"/>
              <a:gd name="T1" fmla="*/ 0 h 8"/>
              <a:gd name="T2" fmla="*/ 0 w 3175"/>
              <a:gd name="T3" fmla="*/ 2147483647 h 8"/>
              <a:gd name="T4" fmla="*/ 0 w 3175"/>
              <a:gd name="T5" fmla="*/ 0 h 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3175" h="8">
                <a:moveTo>
                  <a:pt x="0" y="0"/>
                </a:move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32" name="Freeform 110"/>
          <p:cNvSpPr>
            <a:spLocks noChangeAspect="1"/>
          </p:cNvSpPr>
          <p:nvPr/>
        </p:nvSpPr>
        <p:spPr bwMode="auto">
          <a:xfrm>
            <a:off x="1918717" y="2272466"/>
            <a:ext cx="3175" cy="19050"/>
          </a:xfrm>
          <a:custGeom>
            <a:avLst/>
            <a:gdLst>
              <a:gd name="T0" fmla="*/ 0 w 3175"/>
              <a:gd name="T1" fmla="*/ 0 h 8"/>
              <a:gd name="T2" fmla="*/ 0 w 3175"/>
              <a:gd name="T3" fmla="*/ 2147483647 h 8"/>
              <a:gd name="T4" fmla="*/ 0 w 3175"/>
              <a:gd name="T5" fmla="*/ 0 h 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3175" h="8">
                <a:moveTo>
                  <a:pt x="0" y="0"/>
                </a:move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133" name="Group 111"/>
          <p:cNvGrpSpPr>
            <a:grpSpLocks noChangeAspect="1"/>
          </p:cNvGrpSpPr>
          <p:nvPr/>
        </p:nvGrpSpPr>
        <p:grpSpPr bwMode="auto">
          <a:xfrm>
            <a:off x="2167954" y="1435854"/>
            <a:ext cx="3789363" cy="1222375"/>
            <a:chOff x="3380" y="1512"/>
            <a:chExt cx="1704" cy="584"/>
          </a:xfrm>
        </p:grpSpPr>
        <p:sp>
          <p:nvSpPr>
            <p:cNvPr id="134" name="Freeform 112"/>
            <p:cNvSpPr>
              <a:spLocks noChangeAspect="1"/>
            </p:cNvSpPr>
            <p:nvPr/>
          </p:nvSpPr>
          <p:spPr bwMode="auto">
            <a:xfrm>
              <a:off x="3412" y="1840"/>
              <a:ext cx="208" cy="120"/>
            </a:xfrm>
            <a:custGeom>
              <a:avLst/>
              <a:gdLst>
                <a:gd name="T0" fmla="*/ 80 w 208"/>
                <a:gd name="T1" fmla="*/ 104 h 120"/>
                <a:gd name="T2" fmla="*/ 96 w 208"/>
                <a:gd name="T3" fmla="*/ 104 h 120"/>
                <a:gd name="T4" fmla="*/ 96 w 208"/>
                <a:gd name="T5" fmla="*/ 96 h 120"/>
                <a:gd name="T6" fmla="*/ 104 w 208"/>
                <a:gd name="T7" fmla="*/ 88 h 120"/>
                <a:gd name="T8" fmla="*/ 120 w 208"/>
                <a:gd name="T9" fmla="*/ 88 h 120"/>
                <a:gd name="T10" fmla="*/ 144 w 208"/>
                <a:gd name="T11" fmla="*/ 96 h 120"/>
                <a:gd name="T12" fmla="*/ 128 w 208"/>
                <a:gd name="T13" fmla="*/ 104 h 120"/>
                <a:gd name="T14" fmla="*/ 144 w 208"/>
                <a:gd name="T15" fmla="*/ 112 h 120"/>
                <a:gd name="T16" fmla="*/ 144 w 208"/>
                <a:gd name="T17" fmla="*/ 120 h 120"/>
                <a:gd name="T18" fmla="*/ 168 w 208"/>
                <a:gd name="T19" fmla="*/ 112 h 120"/>
                <a:gd name="T20" fmla="*/ 176 w 208"/>
                <a:gd name="T21" fmla="*/ 112 h 120"/>
                <a:gd name="T22" fmla="*/ 176 w 208"/>
                <a:gd name="T23" fmla="*/ 104 h 120"/>
                <a:gd name="T24" fmla="*/ 168 w 208"/>
                <a:gd name="T25" fmla="*/ 104 h 120"/>
                <a:gd name="T26" fmla="*/ 152 w 208"/>
                <a:gd name="T27" fmla="*/ 96 h 120"/>
                <a:gd name="T28" fmla="*/ 184 w 208"/>
                <a:gd name="T29" fmla="*/ 80 h 120"/>
                <a:gd name="T30" fmla="*/ 192 w 208"/>
                <a:gd name="T31" fmla="*/ 80 h 120"/>
                <a:gd name="T32" fmla="*/ 192 w 208"/>
                <a:gd name="T33" fmla="*/ 72 h 120"/>
                <a:gd name="T34" fmla="*/ 200 w 208"/>
                <a:gd name="T35" fmla="*/ 64 h 120"/>
                <a:gd name="T36" fmla="*/ 208 w 208"/>
                <a:gd name="T37" fmla="*/ 72 h 120"/>
                <a:gd name="T38" fmla="*/ 208 w 208"/>
                <a:gd name="T39" fmla="*/ 56 h 120"/>
                <a:gd name="T40" fmla="*/ 208 w 208"/>
                <a:gd name="T41" fmla="*/ 48 h 120"/>
                <a:gd name="T42" fmla="*/ 208 w 208"/>
                <a:gd name="T43" fmla="*/ 40 h 120"/>
                <a:gd name="T44" fmla="*/ 184 w 208"/>
                <a:gd name="T45" fmla="*/ 40 h 120"/>
                <a:gd name="T46" fmla="*/ 176 w 208"/>
                <a:gd name="T47" fmla="*/ 32 h 120"/>
                <a:gd name="T48" fmla="*/ 152 w 208"/>
                <a:gd name="T49" fmla="*/ 32 h 120"/>
                <a:gd name="T50" fmla="*/ 144 w 208"/>
                <a:gd name="T51" fmla="*/ 16 h 120"/>
                <a:gd name="T52" fmla="*/ 136 w 208"/>
                <a:gd name="T53" fmla="*/ 16 h 120"/>
                <a:gd name="T54" fmla="*/ 136 w 208"/>
                <a:gd name="T55" fmla="*/ 8 h 120"/>
                <a:gd name="T56" fmla="*/ 128 w 208"/>
                <a:gd name="T57" fmla="*/ 0 h 120"/>
                <a:gd name="T58" fmla="*/ 104 w 208"/>
                <a:gd name="T59" fmla="*/ 8 h 120"/>
                <a:gd name="T60" fmla="*/ 96 w 208"/>
                <a:gd name="T61" fmla="*/ 8 h 120"/>
                <a:gd name="T62" fmla="*/ 96 w 208"/>
                <a:gd name="T63" fmla="*/ 16 h 120"/>
                <a:gd name="T64" fmla="*/ 80 w 208"/>
                <a:gd name="T65" fmla="*/ 16 h 120"/>
                <a:gd name="T66" fmla="*/ 64 w 208"/>
                <a:gd name="T67" fmla="*/ 16 h 120"/>
                <a:gd name="T68" fmla="*/ 40 w 208"/>
                <a:gd name="T69" fmla="*/ 8 h 120"/>
                <a:gd name="T70" fmla="*/ 16 w 208"/>
                <a:gd name="T71" fmla="*/ 16 h 120"/>
                <a:gd name="T72" fmla="*/ 24 w 208"/>
                <a:gd name="T73" fmla="*/ 32 h 120"/>
                <a:gd name="T74" fmla="*/ 0 w 208"/>
                <a:gd name="T75" fmla="*/ 48 h 120"/>
                <a:gd name="T76" fmla="*/ 0 w 208"/>
                <a:gd name="T77" fmla="*/ 56 h 120"/>
                <a:gd name="T78" fmla="*/ 0 w 208"/>
                <a:gd name="T79" fmla="*/ 64 h 120"/>
                <a:gd name="T80" fmla="*/ 8 w 208"/>
                <a:gd name="T81" fmla="*/ 64 h 120"/>
                <a:gd name="T82" fmla="*/ 32 w 208"/>
                <a:gd name="T83" fmla="*/ 72 h 120"/>
                <a:gd name="T84" fmla="*/ 56 w 208"/>
                <a:gd name="T85" fmla="*/ 64 h 120"/>
                <a:gd name="T86" fmla="*/ 64 w 208"/>
                <a:gd name="T87" fmla="*/ 56 h 120"/>
                <a:gd name="T88" fmla="*/ 80 w 208"/>
                <a:gd name="T89" fmla="*/ 64 h 120"/>
                <a:gd name="T90" fmla="*/ 88 w 208"/>
                <a:gd name="T91" fmla="*/ 72 h 120"/>
                <a:gd name="T92" fmla="*/ 96 w 208"/>
                <a:gd name="T93" fmla="*/ 80 h 120"/>
                <a:gd name="T94" fmla="*/ 96 w 208"/>
                <a:gd name="T95" fmla="*/ 88 h 120"/>
                <a:gd name="T96" fmla="*/ 88 w 208"/>
                <a:gd name="T97" fmla="*/ 88 h 120"/>
                <a:gd name="T98" fmla="*/ 80 w 208"/>
                <a:gd name="T99" fmla="*/ 104 h 12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208" h="120">
                  <a:moveTo>
                    <a:pt x="80" y="104"/>
                  </a:moveTo>
                  <a:lnTo>
                    <a:pt x="96" y="104"/>
                  </a:lnTo>
                  <a:lnTo>
                    <a:pt x="96" y="96"/>
                  </a:lnTo>
                  <a:lnTo>
                    <a:pt x="104" y="88"/>
                  </a:lnTo>
                  <a:lnTo>
                    <a:pt x="120" y="88"/>
                  </a:lnTo>
                  <a:lnTo>
                    <a:pt x="144" y="96"/>
                  </a:lnTo>
                  <a:lnTo>
                    <a:pt x="128" y="104"/>
                  </a:lnTo>
                  <a:lnTo>
                    <a:pt x="144" y="112"/>
                  </a:lnTo>
                  <a:lnTo>
                    <a:pt x="144" y="120"/>
                  </a:lnTo>
                  <a:lnTo>
                    <a:pt x="168" y="112"/>
                  </a:lnTo>
                  <a:lnTo>
                    <a:pt x="176" y="112"/>
                  </a:lnTo>
                  <a:lnTo>
                    <a:pt x="176" y="104"/>
                  </a:lnTo>
                  <a:lnTo>
                    <a:pt x="168" y="104"/>
                  </a:lnTo>
                  <a:lnTo>
                    <a:pt x="152" y="96"/>
                  </a:lnTo>
                  <a:lnTo>
                    <a:pt x="184" y="80"/>
                  </a:lnTo>
                  <a:lnTo>
                    <a:pt x="192" y="80"/>
                  </a:lnTo>
                  <a:lnTo>
                    <a:pt x="192" y="72"/>
                  </a:lnTo>
                  <a:lnTo>
                    <a:pt x="200" y="64"/>
                  </a:lnTo>
                  <a:lnTo>
                    <a:pt x="208" y="72"/>
                  </a:lnTo>
                  <a:lnTo>
                    <a:pt x="208" y="56"/>
                  </a:lnTo>
                  <a:lnTo>
                    <a:pt x="208" y="48"/>
                  </a:lnTo>
                  <a:lnTo>
                    <a:pt x="208" y="40"/>
                  </a:lnTo>
                  <a:lnTo>
                    <a:pt x="184" y="40"/>
                  </a:lnTo>
                  <a:lnTo>
                    <a:pt x="176" y="32"/>
                  </a:lnTo>
                  <a:lnTo>
                    <a:pt x="152" y="32"/>
                  </a:lnTo>
                  <a:lnTo>
                    <a:pt x="144" y="16"/>
                  </a:lnTo>
                  <a:lnTo>
                    <a:pt x="136" y="16"/>
                  </a:lnTo>
                  <a:lnTo>
                    <a:pt x="136" y="8"/>
                  </a:lnTo>
                  <a:lnTo>
                    <a:pt x="128" y="0"/>
                  </a:lnTo>
                  <a:lnTo>
                    <a:pt x="104" y="8"/>
                  </a:lnTo>
                  <a:lnTo>
                    <a:pt x="96" y="8"/>
                  </a:lnTo>
                  <a:lnTo>
                    <a:pt x="96" y="16"/>
                  </a:lnTo>
                  <a:lnTo>
                    <a:pt x="80" y="16"/>
                  </a:lnTo>
                  <a:lnTo>
                    <a:pt x="64" y="16"/>
                  </a:lnTo>
                  <a:lnTo>
                    <a:pt x="40" y="8"/>
                  </a:lnTo>
                  <a:lnTo>
                    <a:pt x="16" y="16"/>
                  </a:lnTo>
                  <a:lnTo>
                    <a:pt x="24" y="32"/>
                  </a:lnTo>
                  <a:lnTo>
                    <a:pt x="0" y="48"/>
                  </a:lnTo>
                  <a:lnTo>
                    <a:pt x="0" y="56"/>
                  </a:lnTo>
                  <a:lnTo>
                    <a:pt x="0" y="64"/>
                  </a:lnTo>
                  <a:lnTo>
                    <a:pt x="8" y="64"/>
                  </a:lnTo>
                  <a:lnTo>
                    <a:pt x="32" y="72"/>
                  </a:lnTo>
                  <a:lnTo>
                    <a:pt x="56" y="64"/>
                  </a:lnTo>
                  <a:lnTo>
                    <a:pt x="64" y="56"/>
                  </a:lnTo>
                  <a:lnTo>
                    <a:pt x="80" y="64"/>
                  </a:lnTo>
                  <a:lnTo>
                    <a:pt x="88" y="72"/>
                  </a:lnTo>
                  <a:lnTo>
                    <a:pt x="96" y="80"/>
                  </a:lnTo>
                  <a:lnTo>
                    <a:pt x="96" y="88"/>
                  </a:lnTo>
                  <a:lnTo>
                    <a:pt x="88" y="88"/>
                  </a:lnTo>
                  <a:lnTo>
                    <a:pt x="80" y="104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35" name="Freeform 113"/>
            <p:cNvSpPr>
              <a:spLocks noChangeAspect="1"/>
            </p:cNvSpPr>
            <p:nvPr/>
          </p:nvSpPr>
          <p:spPr bwMode="auto">
            <a:xfrm>
              <a:off x="3700" y="1800"/>
              <a:ext cx="472" cy="208"/>
            </a:xfrm>
            <a:custGeom>
              <a:avLst/>
              <a:gdLst>
                <a:gd name="T0" fmla="*/ 472 w 472"/>
                <a:gd name="T1" fmla="*/ 88 h 208"/>
                <a:gd name="T2" fmla="*/ 456 w 472"/>
                <a:gd name="T3" fmla="*/ 88 h 208"/>
                <a:gd name="T4" fmla="*/ 416 w 472"/>
                <a:gd name="T5" fmla="*/ 64 h 208"/>
                <a:gd name="T6" fmla="*/ 384 w 472"/>
                <a:gd name="T7" fmla="*/ 56 h 208"/>
                <a:gd name="T8" fmla="*/ 344 w 472"/>
                <a:gd name="T9" fmla="*/ 32 h 208"/>
                <a:gd name="T10" fmla="*/ 312 w 472"/>
                <a:gd name="T11" fmla="*/ 16 h 208"/>
                <a:gd name="T12" fmla="*/ 288 w 472"/>
                <a:gd name="T13" fmla="*/ 24 h 208"/>
                <a:gd name="T14" fmla="*/ 272 w 472"/>
                <a:gd name="T15" fmla="*/ 16 h 208"/>
                <a:gd name="T16" fmla="*/ 256 w 472"/>
                <a:gd name="T17" fmla="*/ 8 h 208"/>
                <a:gd name="T18" fmla="*/ 224 w 472"/>
                <a:gd name="T19" fmla="*/ 0 h 208"/>
                <a:gd name="T20" fmla="*/ 200 w 472"/>
                <a:gd name="T21" fmla="*/ 8 h 208"/>
                <a:gd name="T22" fmla="*/ 144 w 472"/>
                <a:gd name="T23" fmla="*/ 16 h 208"/>
                <a:gd name="T24" fmla="*/ 152 w 472"/>
                <a:gd name="T25" fmla="*/ 24 h 208"/>
                <a:gd name="T26" fmla="*/ 144 w 472"/>
                <a:gd name="T27" fmla="*/ 40 h 208"/>
                <a:gd name="T28" fmla="*/ 144 w 472"/>
                <a:gd name="T29" fmla="*/ 48 h 208"/>
                <a:gd name="T30" fmla="*/ 160 w 472"/>
                <a:gd name="T31" fmla="*/ 64 h 208"/>
                <a:gd name="T32" fmla="*/ 128 w 472"/>
                <a:gd name="T33" fmla="*/ 64 h 208"/>
                <a:gd name="T34" fmla="*/ 96 w 472"/>
                <a:gd name="T35" fmla="*/ 64 h 208"/>
                <a:gd name="T36" fmla="*/ 88 w 472"/>
                <a:gd name="T37" fmla="*/ 72 h 208"/>
                <a:gd name="T38" fmla="*/ 56 w 472"/>
                <a:gd name="T39" fmla="*/ 48 h 208"/>
                <a:gd name="T40" fmla="*/ 40 w 472"/>
                <a:gd name="T41" fmla="*/ 56 h 208"/>
                <a:gd name="T42" fmla="*/ 16 w 472"/>
                <a:gd name="T43" fmla="*/ 64 h 208"/>
                <a:gd name="T44" fmla="*/ 16 w 472"/>
                <a:gd name="T45" fmla="*/ 80 h 208"/>
                <a:gd name="T46" fmla="*/ 0 w 472"/>
                <a:gd name="T47" fmla="*/ 96 h 208"/>
                <a:gd name="T48" fmla="*/ 8 w 472"/>
                <a:gd name="T49" fmla="*/ 112 h 208"/>
                <a:gd name="T50" fmla="*/ 32 w 472"/>
                <a:gd name="T51" fmla="*/ 128 h 208"/>
                <a:gd name="T52" fmla="*/ 32 w 472"/>
                <a:gd name="T53" fmla="*/ 128 h 208"/>
                <a:gd name="T54" fmla="*/ 72 w 472"/>
                <a:gd name="T55" fmla="*/ 120 h 208"/>
                <a:gd name="T56" fmla="*/ 104 w 472"/>
                <a:gd name="T57" fmla="*/ 144 h 208"/>
                <a:gd name="T58" fmla="*/ 64 w 472"/>
                <a:gd name="T59" fmla="*/ 152 h 208"/>
                <a:gd name="T60" fmla="*/ 56 w 472"/>
                <a:gd name="T61" fmla="*/ 160 h 208"/>
                <a:gd name="T62" fmla="*/ 80 w 472"/>
                <a:gd name="T63" fmla="*/ 184 h 208"/>
                <a:gd name="T64" fmla="*/ 88 w 472"/>
                <a:gd name="T65" fmla="*/ 192 h 208"/>
                <a:gd name="T66" fmla="*/ 96 w 472"/>
                <a:gd name="T67" fmla="*/ 192 h 208"/>
                <a:gd name="T68" fmla="*/ 128 w 472"/>
                <a:gd name="T69" fmla="*/ 208 h 208"/>
                <a:gd name="T70" fmla="*/ 120 w 472"/>
                <a:gd name="T71" fmla="*/ 152 h 208"/>
                <a:gd name="T72" fmla="*/ 200 w 472"/>
                <a:gd name="T73" fmla="*/ 176 h 208"/>
                <a:gd name="T74" fmla="*/ 248 w 472"/>
                <a:gd name="T75" fmla="*/ 184 h 208"/>
                <a:gd name="T76" fmla="*/ 264 w 472"/>
                <a:gd name="T77" fmla="*/ 200 h 208"/>
                <a:gd name="T78" fmla="*/ 288 w 472"/>
                <a:gd name="T79" fmla="*/ 208 h 208"/>
                <a:gd name="T80" fmla="*/ 312 w 472"/>
                <a:gd name="T81" fmla="*/ 184 h 208"/>
                <a:gd name="T82" fmla="*/ 344 w 472"/>
                <a:gd name="T83" fmla="*/ 184 h 208"/>
                <a:gd name="T84" fmla="*/ 360 w 472"/>
                <a:gd name="T85" fmla="*/ 184 h 208"/>
                <a:gd name="T86" fmla="*/ 424 w 472"/>
                <a:gd name="T87" fmla="*/ 192 h 208"/>
                <a:gd name="T88" fmla="*/ 416 w 472"/>
                <a:gd name="T89" fmla="*/ 152 h 208"/>
                <a:gd name="T90" fmla="*/ 432 w 472"/>
                <a:gd name="T91" fmla="*/ 120 h 208"/>
                <a:gd name="T92" fmla="*/ 464 w 472"/>
                <a:gd name="T93" fmla="*/ 120 h 208"/>
                <a:gd name="T94" fmla="*/ 472 w 472"/>
                <a:gd name="T95" fmla="*/ 96 h 20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472" h="208">
                  <a:moveTo>
                    <a:pt x="472" y="96"/>
                  </a:moveTo>
                  <a:lnTo>
                    <a:pt x="472" y="88"/>
                  </a:lnTo>
                  <a:lnTo>
                    <a:pt x="464" y="80"/>
                  </a:lnTo>
                  <a:lnTo>
                    <a:pt x="456" y="88"/>
                  </a:lnTo>
                  <a:lnTo>
                    <a:pt x="448" y="80"/>
                  </a:lnTo>
                  <a:lnTo>
                    <a:pt x="416" y="64"/>
                  </a:lnTo>
                  <a:lnTo>
                    <a:pt x="392" y="64"/>
                  </a:lnTo>
                  <a:lnTo>
                    <a:pt x="384" y="56"/>
                  </a:lnTo>
                  <a:lnTo>
                    <a:pt x="376" y="64"/>
                  </a:lnTo>
                  <a:lnTo>
                    <a:pt x="344" y="32"/>
                  </a:lnTo>
                  <a:lnTo>
                    <a:pt x="320" y="16"/>
                  </a:lnTo>
                  <a:lnTo>
                    <a:pt x="312" y="16"/>
                  </a:lnTo>
                  <a:lnTo>
                    <a:pt x="296" y="24"/>
                  </a:lnTo>
                  <a:lnTo>
                    <a:pt x="288" y="24"/>
                  </a:lnTo>
                  <a:lnTo>
                    <a:pt x="288" y="16"/>
                  </a:lnTo>
                  <a:lnTo>
                    <a:pt x="272" y="16"/>
                  </a:lnTo>
                  <a:lnTo>
                    <a:pt x="256" y="16"/>
                  </a:lnTo>
                  <a:lnTo>
                    <a:pt x="256" y="8"/>
                  </a:lnTo>
                  <a:lnTo>
                    <a:pt x="248" y="0"/>
                  </a:lnTo>
                  <a:lnTo>
                    <a:pt x="224" y="0"/>
                  </a:lnTo>
                  <a:lnTo>
                    <a:pt x="224" y="8"/>
                  </a:lnTo>
                  <a:lnTo>
                    <a:pt x="200" y="8"/>
                  </a:lnTo>
                  <a:lnTo>
                    <a:pt x="160" y="16"/>
                  </a:lnTo>
                  <a:lnTo>
                    <a:pt x="144" y="16"/>
                  </a:lnTo>
                  <a:lnTo>
                    <a:pt x="144" y="24"/>
                  </a:lnTo>
                  <a:lnTo>
                    <a:pt x="152" y="24"/>
                  </a:lnTo>
                  <a:lnTo>
                    <a:pt x="152" y="32"/>
                  </a:lnTo>
                  <a:lnTo>
                    <a:pt x="144" y="40"/>
                  </a:lnTo>
                  <a:lnTo>
                    <a:pt x="152" y="40"/>
                  </a:lnTo>
                  <a:lnTo>
                    <a:pt x="144" y="48"/>
                  </a:lnTo>
                  <a:lnTo>
                    <a:pt x="168" y="56"/>
                  </a:lnTo>
                  <a:lnTo>
                    <a:pt x="160" y="64"/>
                  </a:lnTo>
                  <a:lnTo>
                    <a:pt x="144" y="64"/>
                  </a:lnTo>
                  <a:lnTo>
                    <a:pt x="128" y="64"/>
                  </a:lnTo>
                  <a:lnTo>
                    <a:pt x="112" y="64"/>
                  </a:lnTo>
                  <a:lnTo>
                    <a:pt x="96" y="64"/>
                  </a:lnTo>
                  <a:lnTo>
                    <a:pt x="88" y="64"/>
                  </a:lnTo>
                  <a:lnTo>
                    <a:pt x="88" y="72"/>
                  </a:lnTo>
                  <a:lnTo>
                    <a:pt x="72" y="56"/>
                  </a:lnTo>
                  <a:lnTo>
                    <a:pt x="56" y="48"/>
                  </a:lnTo>
                  <a:lnTo>
                    <a:pt x="48" y="56"/>
                  </a:lnTo>
                  <a:lnTo>
                    <a:pt x="40" y="56"/>
                  </a:lnTo>
                  <a:lnTo>
                    <a:pt x="24" y="64"/>
                  </a:lnTo>
                  <a:lnTo>
                    <a:pt x="16" y="64"/>
                  </a:lnTo>
                  <a:lnTo>
                    <a:pt x="24" y="80"/>
                  </a:lnTo>
                  <a:lnTo>
                    <a:pt x="16" y="80"/>
                  </a:lnTo>
                  <a:lnTo>
                    <a:pt x="8" y="72"/>
                  </a:lnTo>
                  <a:lnTo>
                    <a:pt x="0" y="96"/>
                  </a:lnTo>
                  <a:lnTo>
                    <a:pt x="8" y="104"/>
                  </a:lnTo>
                  <a:lnTo>
                    <a:pt x="8" y="112"/>
                  </a:lnTo>
                  <a:lnTo>
                    <a:pt x="24" y="112"/>
                  </a:lnTo>
                  <a:lnTo>
                    <a:pt x="32" y="128"/>
                  </a:lnTo>
                  <a:lnTo>
                    <a:pt x="24" y="128"/>
                  </a:lnTo>
                  <a:lnTo>
                    <a:pt x="32" y="128"/>
                  </a:lnTo>
                  <a:lnTo>
                    <a:pt x="56" y="120"/>
                  </a:lnTo>
                  <a:lnTo>
                    <a:pt x="72" y="120"/>
                  </a:lnTo>
                  <a:lnTo>
                    <a:pt x="88" y="128"/>
                  </a:lnTo>
                  <a:lnTo>
                    <a:pt x="104" y="144"/>
                  </a:lnTo>
                  <a:lnTo>
                    <a:pt x="72" y="144"/>
                  </a:lnTo>
                  <a:lnTo>
                    <a:pt x="64" y="152"/>
                  </a:lnTo>
                  <a:lnTo>
                    <a:pt x="72" y="160"/>
                  </a:lnTo>
                  <a:lnTo>
                    <a:pt x="56" y="160"/>
                  </a:lnTo>
                  <a:lnTo>
                    <a:pt x="64" y="160"/>
                  </a:lnTo>
                  <a:lnTo>
                    <a:pt x="80" y="184"/>
                  </a:lnTo>
                  <a:lnTo>
                    <a:pt x="88" y="184"/>
                  </a:lnTo>
                  <a:lnTo>
                    <a:pt x="88" y="192"/>
                  </a:lnTo>
                  <a:lnTo>
                    <a:pt x="88" y="200"/>
                  </a:lnTo>
                  <a:lnTo>
                    <a:pt x="96" y="192"/>
                  </a:lnTo>
                  <a:lnTo>
                    <a:pt x="104" y="192"/>
                  </a:lnTo>
                  <a:lnTo>
                    <a:pt x="128" y="208"/>
                  </a:lnTo>
                  <a:lnTo>
                    <a:pt x="136" y="208"/>
                  </a:lnTo>
                  <a:lnTo>
                    <a:pt x="120" y="152"/>
                  </a:lnTo>
                  <a:lnTo>
                    <a:pt x="152" y="144"/>
                  </a:lnTo>
                  <a:lnTo>
                    <a:pt x="200" y="176"/>
                  </a:lnTo>
                  <a:lnTo>
                    <a:pt x="232" y="168"/>
                  </a:lnTo>
                  <a:lnTo>
                    <a:pt x="248" y="184"/>
                  </a:lnTo>
                  <a:lnTo>
                    <a:pt x="256" y="200"/>
                  </a:lnTo>
                  <a:lnTo>
                    <a:pt x="264" y="200"/>
                  </a:lnTo>
                  <a:lnTo>
                    <a:pt x="264" y="208"/>
                  </a:lnTo>
                  <a:lnTo>
                    <a:pt x="288" y="208"/>
                  </a:lnTo>
                  <a:lnTo>
                    <a:pt x="312" y="192"/>
                  </a:lnTo>
                  <a:lnTo>
                    <a:pt x="312" y="184"/>
                  </a:lnTo>
                  <a:lnTo>
                    <a:pt x="336" y="192"/>
                  </a:lnTo>
                  <a:lnTo>
                    <a:pt x="344" y="184"/>
                  </a:lnTo>
                  <a:lnTo>
                    <a:pt x="344" y="176"/>
                  </a:lnTo>
                  <a:lnTo>
                    <a:pt x="360" y="184"/>
                  </a:lnTo>
                  <a:lnTo>
                    <a:pt x="408" y="184"/>
                  </a:lnTo>
                  <a:lnTo>
                    <a:pt x="424" y="192"/>
                  </a:lnTo>
                  <a:lnTo>
                    <a:pt x="424" y="176"/>
                  </a:lnTo>
                  <a:lnTo>
                    <a:pt x="416" y="152"/>
                  </a:lnTo>
                  <a:lnTo>
                    <a:pt x="432" y="144"/>
                  </a:lnTo>
                  <a:lnTo>
                    <a:pt x="432" y="120"/>
                  </a:lnTo>
                  <a:lnTo>
                    <a:pt x="456" y="120"/>
                  </a:lnTo>
                  <a:lnTo>
                    <a:pt x="464" y="120"/>
                  </a:lnTo>
                  <a:lnTo>
                    <a:pt x="464" y="104"/>
                  </a:lnTo>
                  <a:lnTo>
                    <a:pt x="472" y="96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36" name="Freeform 114"/>
            <p:cNvSpPr>
              <a:spLocks noChangeAspect="1"/>
            </p:cNvSpPr>
            <p:nvPr/>
          </p:nvSpPr>
          <p:spPr bwMode="auto">
            <a:xfrm>
              <a:off x="3452" y="1512"/>
              <a:ext cx="1632" cy="496"/>
            </a:xfrm>
            <a:custGeom>
              <a:avLst/>
              <a:gdLst>
                <a:gd name="T0" fmla="*/ 448 w 1632"/>
                <a:gd name="T1" fmla="*/ 104 h 496"/>
                <a:gd name="T2" fmla="*/ 440 w 1632"/>
                <a:gd name="T3" fmla="*/ 104 h 496"/>
                <a:gd name="T4" fmla="*/ 384 w 1632"/>
                <a:gd name="T5" fmla="*/ 48 h 496"/>
                <a:gd name="T6" fmla="*/ 392 w 1632"/>
                <a:gd name="T7" fmla="*/ 112 h 496"/>
                <a:gd name="T8" fmla="*/ 304 w 1632"/>
                <a:gd name="T9" fmla="*/ 112 h 496"/>
                <a:gd name="T10" fmla="*/ 200 w 1632"/>
                <a:gd name="T11" fmla="*/ 128 h 496"/>
                <a:gd name="T12" fmla="*/ 160 w 1632"/>
                <a:gd name="T13" fmla="*/ 112 h 496"/>
                <a:gd name="T14" fmla="*/ 136 w 1632"/>
                <a:gd name="T15" fmla="*/ 160 h 496"/>
                <a:gd name="T16" fmla="*/ 72 w 1632"/>
                <a:gd name="T17" fmla="*/ 160 h 496"/>
                <a:gd name="T18" fmla="*/ 80 w 1632"/>
                <a:gd name="T19" fmla="*/ 104 h 496"/>
                <a:gd name="T20" fmla="*/ 16 w 1632"/>
                <a:gd name="T21" fmla="*/ 120 h 496"/>
                <a:gd name="T22" fmla="*/ 40 w 1632"/>
                <a:gd name="T23" fmla="*/ 184 h 496"/>
                <a:gd name="T24" fmla="*/ 0 w 1632"/>
                <a:gd name="T25" fmla="*/ 240 h 496"/>
                <a:gd name="T26" fmla="*/ 64 w 1632"/>
                <a:gd name="T27" fmla="*/ 312 h 496"/>
                <a:gd name="T28" fmla="*/ 96 w 1632"/>
                <a:gd name="T29" fmla="*/ 336 h 496"/>
                <a:gd name="T30" fmla="*/ 168 w 1632"/>
                <a:gd name="T31" fmla="*/ 368 h 496"/>
                <a:gd name="T32" fmla="*/ 152 w 1632"/>
                <a:gd name="T33" fmla="*/ 408 h 496"/>
                <a:gd name="T34" fmla="*/ 136 w 1632"/>
                <a:gd name="T35" fmla="*/ 440 h 496"/>
                <a:gd name="T36" fmla="*/ 264 w 1632"/>
                <a:gd name="T37" fmla="*/ 488 h 496"/>
                <a:gd name="T38" fmla="*/ 256 w 1632"/>
                <a:gd name="T39" fmla="*/ 440 h 496"/>
                <a:gd name="T40" fmla="*/ 272 w 1632"/>
                <a:gd name="T41" fmla="*/ 400 h 496"/>
                <a:gd name="T42" fmla="*/ 272 w 1632"/>
                <a:gd name="T43" fmla="*/ 368 h 496"/>
                <a:gd name="T44" fmla="*/ 320 w 1632"/>
                <a:gd name="T45" fmla="*/ 344 h 496"/>
                <a:gd name="T46" fmla="*/ 392 w 1632"/>
                <a:gd name="T47" fmla="*/ 352 h 496"/>
                <a:gd name="T48" fmla="*/ 400 w 1632"/>
                <a:gd name="T49" fmla="*/ 320 h 496"/>
                <a:gd name="T50" fmla="*/ 472 w 1632"/>
                <a:gd name="T51" fmla="*/ 296 h 496"/>
                <a:gd name="T52" fmla="*/ 536 w 1632"/>
                <a:gd name="T53" fmla="*/ 304 h 496"/>
                <a:gd name="T54" fmla="*/ 624 w 1632"/>
                <a:gd name="T55" fmla="*/ 352 h 496"/>
                <a:gd name="T56" fmla="*/ 712 w 1632"/>
                <a:gd name="T57" fmla="*/ 368 h 496"/>
                <a:gd name="T58" fmla="*/ 808 w 1632"/>
                <a:gd name="T59" fmla="*/ 368 h 496"/>
                <a:gd name="T60" fmla="*/ 896 w 1632"/>
                <a:gd name="T61" fmla="*/ 360 h 496"/>
                <a:gd name="T62" fmla="*/ 1072 w 1632"/>
                <a:gd name="T63" fmla="*/ 368 h 496"/>
                <a:gd name="T64" fmla="*/ 1104 w 1632"/>
                <a:gd name="T65" fmla="*/ 312 h 496"/>
                <a:gd name="T66" fmla="*/ 1248 w 1632"/>
                <a:gd name="T67" fmla="*/ 400 h 496"/>
                <a:gd name="T68" fmla="*/ 1280 w 1632"/>
                <a:gd name="T69" fmla="*/ 432 h 496"/>
                <a:gd name="T70" fmla="*/ 1328 w 1632"/>
                <a:gd name="T71" fmla="*/ 464 h 496"/>
                <a:gd name="T72" fmla="*/ 1272 w 1632"/>
                <a:gd name="T73" fmla="*/ 304 h 496"/>
                <a:gd name="T74" fmla="*/ 1240 w 1632"/>
                <a:gd name="T75" fmla="*/ 296 h 496"/>
                <a:gd name="T76" fmla="*/ 1312 w 1632"/>
                <a:gd name="T77" fmla="*/ 224 h 496"/>
                <a:gd name="T78" fmla="*/ 1368 w 1632"/>
                <a:gd name="T79" fmla="*/ 200 h 496"/>
                <a:gd name="T80" fmla="*/ 1432 w 1632"/>
                <a:gd name="T81" fmla="*/ 184 h 496"/>
                <a:gd name="T82" fmla="*/ 1432 w 1632"/>
                <a:gd name="T83" fmla="*/ 264 h 496"/>
                <a:gd name="T84" fmla="*/ 1520 w 1632"/>
                <a:gd name="T85" fmla="*/ 320 h 496"/>
                <a:gd name="T86" fmla="*/ 1488 w 1632"/>
                <a:gd name="T87" fmla="*/ 256 h 496"/>
                <a:gd name="T88" fmla="*/ 1480 w 1632"/>
                <a:gd name="T89" fmla="*/ 216 h 496"/>
                <a:gd name="T90" fmla="*/ 1552 w 1632"/>
                <a:gd name="T91" fmla="*/ 192 h 496"/>
                <a:gd name="T92" fmla="*/ 1544 w 1632"/>
                <a:gd name="T93" fmla="*/ 152 h 496"/>
                <a:gd name="T94" fmla="*/ 1632 w 1632"/>
                <a:gd name="T95" fmla="*/ 160 h 496"/>
                <a:gd name="T96" fmla="*/ 1472 w 1632"/>
                <a:gd name="T97" fmla="*/ 104 h 496"/>
                <a:gd name="T98" fmla="*/ 1360 w 1632"/>
                <a:gd name="T99" fmla="*/ 96 h 496"/>
                <a:gd name="T100" fmla="*/ 1232 w 1632"/>
                <a:gd name="T101" fmla="*/ 80 h 496"/>
                <a:gd name="T102" fmla="*/ 1008 w 1632"/>
                <a:gd name="T103" fmla="*/ 64 h 496"/>
                <a:gd name="T104" fmla="*/ 936 w 1632"/>
                <a:gd name="T105" fmla="*/ 56 h 496"/>
                <a:gd name="T106" fmla="*/ 816 w 1632"/>
                <a:gd name="T107" fmla="*/ 48 h 496"/>
                <a:gd name="T108" fmla="*/ 744 w 1632"/>
                <a:gd name="T109" fmla="*/ 48 h 496"/>
                <a:gd name="T110" fmla="*/ 656 w 1632"/>
                <a:gd name="T111" fmla="*/ 0 h 496"/>
                <a:gd name="T112" fmla="*/ 512 w 1632"/>
                <a:gd name="T113" fmla="*/ 32 h 496"/>
                <a:gd name="T114" fmla="*/ 448 w 1632"/>
                <a:gd name="T115" fmla="*/ 56 h 49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632" h="496">
                  <a:moveTo>
                    <a:pt x="432" y="56"/>
                  </a:moveTo>
                  <a:lnTo>
                    <a:pt x="416" y="72"/>
                  </a:lnTo>
                  <a:lnTo>
                    <a:pt x="432" y="80"/>
                  </a:lnTo>
                  <a:lnTo>
                    <a:pt x="432" y="96"/>
                  </a:lnTo>
                  <a:lnTo>
                    <a:pt x="440" y="104"/>
                  </a:lnTo>
                  <a:lnTo>
                    <a:pt x="448" y="104"/>
                  </a:lnTo>
                  <a:lnTo>
                    <a:pt x="464" y="120"/>
                  </a:lnTo>
                  <a:lnTo>
                    <a:pt x="456" y="128"/>
                  </a:lnTo>
                  <a:lnTo>
                    <a:pt x="440" y="136"/>
                  </a:lnTo>
                  <a:lnTo>
                    <a:pt x="424" y="128"/>
                  </a:lnTo>
                  <a:lnTo>
                    <a:pt x="440" y="120"/>
                  </a:lnTo>
                  <a:lnTo>
                    <a:pt x="440" y="104"/>
                  </a:lnTo>
                  <a:lnTo>
                    <a:pt x="432" y="104"/>
                  </a:lnTo>
                  <a:lnTo>
                    <a:pt x="416" y="72"/>
                  </a:lnTo>
                  <a:lnTo>
                    <a:pt x="408" y="72"/>
                  </a:lnTo>
                  <a:lnTo>
                    <a:pt x="408" y="56"/>
                  </a:lnTo>
                  <a:lnTo>
                    <a:pt x="392" y="48"/>
                  </a:lnTo>
                  <a:lnTo>
                    <a:pt x="384" y="48"/>
                  </a:lnTo>
                  <a:lnTo>
                    <a:pt x="376" y="48"/>
                  </a:lnTo>
                  <a:lnTo>
                    <a:pt x="360" y="72"/>
                  </a:lnTo>
                  <a:lnTo>
                    <a:pt x="368" y="80"/>
                  </a:lnTo>
                  <a:lnTo>
                    <a:pt x="368" y="96"/>
                  </a:lnTo>
                  <a:lnTo>
                    <a:pt x="400" y="104"/>
                  </a:lnTo>
                  <a:lnTo>
                    <a:pt x="392" y="112"/>
                  </a:lnTo>
                  <a:lnTo>
                    <a:pt x="288" y="80"/>
                  </a:lnTo>
                  <a:lnTo>
                    <a:pt x="288" y="88"/>
                  </a:lnTo>
                  <a:lnTo>
                    <a:pt x="320" y="104"/>
                  </a:lnTo>
                  <a:lnTo>
                    <a:pt x="304" y="104"/>
                  </a:lnTo>
                  <a:lnTo>
                    <a:pt x="312" y="112"/>
                  </a:lnTo>
                  <a:lnTo>
                    <a:pt x="304" y="112"/>
                  </a:lnTo>
                  <a:lnTo>
                    <a:pt x="296" y="104"/>
                  </a:lnTo>
                  <a:lnTo>
                    <a:pt x="264" y="104"/>
                  </a:lnTo>
                  <a:lnTo>
                    <a:pt x="264" y="112"/>
                  </a:lnTo>
                  <a:lnTo>
                    <a:pt x="248" y="104"/>
                  </a:lnTo>
                  <a:lnTo>
                    <a:pt x="200" y="120"/>
                  </a:lnTo>
                  <a:lnTo>
                    <a:pt x="200" y="128"/>
                  </a:lnTo>
                  <a:lnTo>
                    <a:pt x="192" y="128"/>
                  </a:lnTo>
                  <a:lnTo>
                    <a:pt x="168" y="120"/>
                  </a:lnTo>
                  <a:lnTo>
                    <a:pt x="184" y="120"/>
                  </a:lnTo>
                  <a:lnTo>
                    <a:pt x="176" y="112"/>
                  </a:lnTo>
                  <a:lnTo>
                    <a:pt x="144" y="104"/>
                  </a:lnTo>
                  <a:lnTo>
                    <a:pt x="160" y="112"/>
                  </a:lnTo>
                  <a:lnTo>
                    <a:pt x="160" y="128"/>
                  </a:lnTo>
                  <a:lnTo>
                    <a:pt x="168" y="136"/>
                  </a:lnTo>
                  <a:lnTo>
                    <a:pt x="160" y="136"/>
                  </a:lnTo>
                  <a:lnTo>
                    <a:pt x="144" y="136"/>
                  </a:lnTo>
                  <a:lnTo>
                    <a:pt x="120" y="144"/>
                  </a:lnTo>
                  <a:lnTo>
                    <a:pt x="136" y="160"/>
                  </a:lnTo>
                  <a:lnTo>
                    <a:pt x="96" y="152"/>
                  </a:lnTo>
                  <a:lnTo>
                    <a:pt x="88" y="152"/>
                  </a:lnTo>
                  <a:lnTo>
                    <a:pt x="104" y="160"/>
                  </a:lnTo>
                  <a:lnTo>
                    <a:pt x="112" y="168"/>
                  </a:lnTo>
                  <a:lnTo>
                    <a:pt x="96" y="168"/>
                  </a:lnTo>
                  <a:lnTo>
                    <a:pt x="72" y="160"/>
                  </a:lnTo>
                  <a:lnTo>
                    <a:pt x="72" y="144"/>
                  </a:lnTo>
                  <a:lnTo>
                    <a:pt x="40" y="128"/>
                  </a:lnTo>
                  <a:lnTo>
                    <a:pt x="104" y="136"/>
                  </a:lnTo>
                  <a:lnTo>
                    <a:pt x="136" y="128"/>
                  </a:lnTo>
                  <a:lnTo>
                    <a:pt x="128" y="120"/>
                  </a:lnTo>
                  <a:lnTo>
                    <a:pt x="80" y="104"/>
                  </a:lnTo>
                  <a:lnTo>
                    <a:pt x="40" y="88"/>
                  </a:lnTo>
                  <a:lnTo>
                    <a:pt x="24" y="96"/>
                  </a:lnTo>
                  <a:lnTo>
                    <a:pt x="8" y="104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16" y="120"/>
                  </a:lnTo>
                  <a:lnTo>
                    <a:pt x="16" y="128"/>
                  </a:lnTo>
                  <a:lnTo>
                    <a:pt x="24" y="144"/>
                  </a:lnTo>
                  <a:lnTo>
                    <a:pt x="24" y="152"/>
                  </a:lnTo>
                  <a:lnTo>
                    <a:pt x="32" y="160"/>
                  </a:lnTo>
                  <a:lnTo>
                    <a:pt x="32" y="168"/>
                  </a:lnTo>
                  <a:lnTo>
                    <a:pt x="40" y="184"/>
                  </a:lnTo>
                  <a:lnTo>
                    <a:pt x="8" y="216"/>
                  </a:lnTo>
                  <a:lnTo>
                    <a:pt x="16" y="216"/>
                  </a:lnTo>
                  <a:lnTo>
                    <a:pt x="24" y="224"/>
                  </a:lnTo>
                  <a:lnTo>
                    <a:pt x="16" y="232"/>
                  </a:lnTo>
                  <a:lnTo>
                    <a:pt x="8" y="232"/>
                  </a:lnTo>
                  <a:lnTo>
                    <a:pt x="0" y="240"/>
                  </a:lnTo>
                  <a:lnTo>
                    <a:pt x="8" y="248"/>
                  </a:lnTo>
                  <a:lnTo>
                    <a:pt x="8" y="256"/>
                  </a:lnTo>
                  <a:lnTo>
                    <a:pt x="24" y="272"/>
                  </a:lnTo>
                  <a:lnTo>
                    <a:pt x="48" y="280"/>
                  </a:lnTo>
                  <a:lnTo>
                    <a:pt x="56" y="296"/>
                  </a:lnTo>
                  <a:lnTo>
                    <a:pt x="64" y="312"/>
                  </a:lnTo>
                  <a:lnTo>
                    <a:pt x="72" y="312"/>
                  </a:lnTo>
                  <a:lnTo>
                    <a:pt x="72" y="320"/>
                  </a:lnTo>
                  <a:lnTo>
                    <a:pt x="56" y="320"/>
                  </a:lnTo>
                  <a:lnTo>
                    <a:pt x="64" y="336"/>
                  </a:lnTo>
                  <a:lnTo>
                    <a:pt x="88" y="328"/>
                  </a:lnTo>
                  <a:lnTo>
                    <a:pt x="96" y="336"/>
                  </a:lnTo>
                  <a:lnTo>
                    <a:pt x="96" y="344"/>
                  </a:lnTo>
                  <a:lnTo>
                    <a:pt x="104" y="344"/>
                  </a:lnTo>
                  <a:lnTo>
                    <a:pt x="112" y="360"/>
                  </a:lnTo>
                  <a:lnTo>
                    <a:pt x="136" y="360"/>
                  </a:lnTo>
                  <a:lnTo>
                    <a:pt x="144" y="368"/>
                  </a:lnTo>
                  <a:lnTo>
                    <a:pt x="168" y="368"/>
                  </a:lnTo>
                  <a:lnTo>
                    <a:pt x="168" y="376"/>
                  </a:lnTo>
                  <a:lnTo>
                    <a:pt x="168" y="384"/>
                  </a:lnTo>
                  <a:lnTo>
                    <a:pt x="168" y="400"/>
                  </a:lnTo>
                  <a:lnTo>
                    <a:pt x="160" y="392"/>
                  </a:lnTo>
                  <a:lnTo>
                    <a:pt x="152" y="400"/>
                  </a:lnTo>
                  <a:lnTo>
                    <a:pt x="152" y="408"/>
                  </a:lnTo>
                  <a:lnTo>
                    <a:pt x="168" y="408"/>
                  </a:lnTo>
                  <a:lnTo>
                    <a:pt x="144" y="416"/>
                  </a:lnTo>
                  <a:lnTo>
                    <a:pt x="152" y="416"/>
                  </a:lnTo>
                  <a:lnTo>
                    <a:pt x="144" y="432"/>
                  </a:lnTo>
                  <a:lnTo>
                    <a:pt x="136" y="432"/>
                  </a:lnTo>
                  <a:lnTo>
                    <a:pt x="136" y="440"/>
                  </a:lnTo>
                  <a:lnTo>
                    <a:pt x="144" y="440"/>
                  </a:lnTo>
                  <a:lnTo>
                    <a:pt x="184" y="464"/>
                  </a:lnTo>
                  <a:lnTo>
                    <a:pt x="216" y="464"/>
                  </a:lnTo>
                  <a:lnTo>
                    <a:pt x="232" y="472"/>
                  </a:lnTo>
                  <a:lnTo>
                    <a:pt x="248" y="472"/>
                  </a:lnTo>
                  <a:lnTo>
                    <a:pt x="264" y="488"/>
                  </a:lnTo>
                  <a:lnTo>
                    <a:pt x="272" y="496"/>
                  </a:lnTo>
                  <a:lnTo>
                    <a:pt x="280" y="496"/>
                  </a:lnTo>
                  <a:lnTo>
                    <a:pt x="288" y="488"/>
                  </a:lnTo>
                  <a:lnTo>
                    <a:pt x="272" y="472"/>
                  </a:lnTo>
                  <a:lnTo>
                    <a:pt x="272" y="456"/>
                  </a:lnTo>
                  <a:lnTo>
                    <a:pt x="256" y="440"/>
                  </a:lnTo>
                  <a:lnTo>
                    <a:pt x="264" y="424"/>
                  </a:lnTo>
                  <a:lnTo>
                    <a:pt x="272" y="424"/>
                  </a:lnTo>
                  <a:lnTo>
                    <a:pt x="280" y="416"/>
                  </a:lnTo>
                  <a:lnTo>
                    <a:pt x="272" y="416"/>
                  </a:lnTo>
                  <a:lnTo>
                    <a:pt x="280" y="416"/>
                  </a:lnTo>
                  <a:lnTo>
                    <a:pt x="272" y="400"/>
                  </a:lnTo>
                  <a:lnTo>
                    <a:pt x="256" y="400"/>
                  </a:lnTo>
                  <a:lnTo>
                    <a:pt x="256" y="392"/>
                  </a:lnTo>
                  <a:lnTo>
                    <a:pt x="248" y="384"/>
                  </a:lnTo>
                  <a:lnTo>
                    <a:pt x="256" y="360"/>
                  </a:lnTo>
                  <a:lnTo>
                    <a:pt x="264" y="368"/>
                  </a:lnTo>
                  <a:lnTo>
                    <a:pt x="272" y="368"/>
                  </a:lnTo>
                  <a:lnTo>
                    <a:pt x="264" y="352"/>
                  </a:lnTo>
                  <a:lnTo>
                    <a:pt x="272" y="352"/>
                  </a:lnTo>
                  <a:lnTo>
                    <a:pt x="288" y="344"/>
                  </a:lnTo>
                  <a:lnTo>
                    <a:pt x="296" y="344"/>
                  </a:lnTo>
                  <a:lnTo>
                    <a:pt x="304" y="336"/>
                  </a:lnTo>
                  <a:lnTo>
                    <a:pt x="320" y="344"/>
                  </a:lnTo>
                  <a:lnTo>
                    <a:pt x="336" y="360"/>
                  </a:lnTo>
                  <a:lnTo>
                    <a:pt x="336" y="352"/>
                  </a:lnTo>
                  <a:lnTo>
                    <a:pt x="344" y="352"/>
                  </a:lnTo>
                  <a:lnTo>
                    <a:pt x="360" y="352"/>
                  </a:lnTo>
                  <a:lnTo>
                    <a:pt x="376" y="352"/>
                  </a:lnTo>
                  <a:lnTo>
                    <a:pt x="392" y="352"/>
                  </a:lnTo>
                  <a:lnTo>
                    <a:pt x="408" y="352"/>
                  </a:lnTo>
                  <a:lnTo>
                    <a:pt x="416" y="344"/>
                  </a:lnTo>
                  <a:lnTo>
                    <a:pt x="392" y="336"/>
                  </a:lnTo>
                  <a:lnTo>
                    <a:pt x="400" y="328"/>
                  </a:lnTo>
                  <a:lnTo>
                    <a:pt x="392" y="328"/>
                  </a:lnTo>
                  <a:lnTo>
                    <a:pt x="400" y="320"/>
                  </a:lnTo>
                  <a:lnTo>
                    <a:pt x="400" y="312"/>
                  </a:lnTo>
                  <a:lnTo>
                    <a:pt x="392" y="312"/>
                  </a:lnTo>
                  <a:lnTo>
                    <a:pt x="392" y="304"/>
                  </a:lnTo>
                  <a:lnTo>
                    <a:pt x="408" y="304"/>
                  </a:lnTo>
                  <a:lnTo>
                    <a:pt x="448" y="296"/>
                  </a:lnTo>
                  <a:lnTo>
                    <a:pt x="472" y="296"/>
                  </a:lnTo>
                  <a:lnTo>
                    <a:pt x="472" y="288"/>
                  </a:lnTo>
                  <a:lnTo>
                    <a:pt x="496" y="288"/>
                  </a:lnTo>
                  <a:lnTo>
                    <a:pt x="504" y="296"/>
                  </a:lnTo>
                  <a:lnTo>
                    <a:pt x="504" y="304"/>
                  </a:lnTo>
                  <a:lnTo>
                    <a:pt x="520" y="304"/>
                  </a:lnTo>
                  <a:lnTo>
                    <a:pt x="536" y="304"/>
                  </a:lnTo>
                  <a:lnTo>
                    <a:pt x="536" y="312"/>
                  </a:lnTo>
                  <a:lnTo>
                    <a:pt x="544" y="312"/>
                  </a:lnTo>
                  <a:lnTo>
                    <a:pt x="560" y="304"/>
                  </a:lnTo>
                  <a:lnTo>
                    <a:pt x="568" y="304"/>
                  </a:lnTo>
                  <a:lnTo>
                    <a:pt x="592" y="320"/>
                  </a:lnTo>
                  <a:lnTo>
                    <a:pt x="624" y="352"/>
                  </a:lnTo>
                  <a:lnTo>
                    <a:pt x="632" y="344"/>
                  </a:lnTo>
                  <a:lnTo>
                    <a:pt x="640" y="352"/>
                  </a:lnTo>
                  <a:lnTo>
                    <a:pt x="664" y="352"/>
                  </a:lnTo>
                  <a:lnTo>
                    <a:pt x="696" y="368"/>
                  </a:lnTo>
                  <a:lnTo>
                    <a:pt x="704" y="376"/>
                  </a:lnTo>
                  <a:lnTo>
                    <a:pt x="712" y="368"/>
                  </a:lnTo>
                  <a:lnTo>
                    <a:pt x="720" y="376"/>
                  </a:lnTo>
                  <a:lnTo>
                    <a:pt x="720" y="384"/>
                  </a:lnTo>
                  <a:lnTo>
                    <a:pt x="728" y="376"/>
                  </a:lnTo>
                  <a:lnTo>
                    <a:pt x="768" y="352"/>
                  </a:lnTo>
                  <a:lnTo>
                    <a:pt x="792" y="360"/>
                  </a:lnTo>
                  <a:lnTo>
                    <a:pt x="808" y="368"/>
                  </a:lnTo>
                  <a:lnTo>
                    <a:pt x="840" y="368"/>
                  </a:lnTo>
                  <a:lnTo>
                    <a:pt x="840" y="352"/>
                  </a:lnTo>
                  <a:lnTo>
                    <a:pt x="832" y="344"/>
                  </a:lnTo>
                  <a:lnTo>
                    <a:pt x="840" y="336"/>
                  </a:lnTo>
                  <a:lnTo>
                    <a:pt x="872" y="344"/>
                  </a:lnTo>
                  <a:lnTo>
                    <a:pt x="896" y="360"/>
                  </a:lnTo>
                  <a:lnTo>
                    <a:pt x="928" y="360"/>
                  </a:lnTo>
                  <a:lnTo>
                    <a:pt x="984" y="376"/>
                  </a:lnTo>
                  <a:lnTo>
                    <a:pt x="1016" y="368"/>
                  </a:lnTo>
                  <a:lnTo>
                    <a:pt x="1032" y="360"/>
                  </a:lnTo>
                  <a:lnTo>
                    <a:pt x="1056" y="368"/>
                  </a:lnTo>
                  <a:lnTo>
                    <a:pt x="1072" y="368"/>
                  </a:lnTo>
                  <a:lnTo>
                    <a:pt x="1088" y="360"/>
                  </a:lnTo>
                  <a:lnTo>
                    <a:pt x="1080" y="344"/>
                  </a:lnTo>
                  <a:lnTo>
                    <a:pt x="1088" y="336"/>
                  </a:lnTo>
                  <a:lnTo>
                    <a:pt x="1072" y="328"/>
                  </a:lnTo>
                  <a:lnTo>
                    <a:pt x="1080" y="320"/>
                  </a:lnTo>
                  <a:lnTo>
                    <a:pt x="1104" y="312"/>
                  </a:lnTo>
                  <a:lnTo>
                    <a:pt x="1136" y="320"/>
                  </a:lnTo>
                  <a:lnTo>
                    <a:pt x="1168" y="352"/>
                  </a:lnTo>
                  <a:lnTo>
                    <a:pt x="1184" y="368"/>
                  </a:lnTo>
                  <a:lnTo>
                    <a:pt x="1208" y="376"/>
                  </a:lnTo>
                  <a:lnTo>
                    <a:pt x="1232" y="384"/>
                  </a:lnTo>
                  <a:lnTo>
                    <a:pt x="1248" y="400"/>
                  </a:lnTo>
                  <a:lnTo>
                    <a:pt x="1256" y="400"/>
                  </a:lnTo>
                  <a:lnTo>
                    <a:pt x="1280" y="384"/>
                  </a:lnTo>
                  <a:lnTo>
                    <a:pt x="1288" y="400"/>
                  </a:lnTo>
                  <a:lnTo>
                    <a:pt x="1288" y="408"/>
                  </a:lnTo>
                  <a:lnTo>
                    <a:pt x="1296" y="440"/>
                  </a:lnTo>
                  <a:lnTo>
                    <a:pt x="1280" y="432"/>
                  </a:lnTo>
                  <a:lnTo>
                    <a:pt x="1272" y="440"/>
                  </a:lnTo>
                  <a:lnTo>
                    <a:pt x="1288" y="464"/>
                  </a:lnTo>
                  <a:lnTo>
                    <a:pt x="1288" y="472"/>
                  </a:lnTo>
                  <a:lnTo>
                    <a:pt x="1296" y="464"/>
                  </a:lnTo>
                  <a:lnTo>
                    <a:pt x="1312" y="472"/>
                  </a:lnTo>
                  <a:lnTo>
                    <a:pt x="1328" y="464"/>
                  </a:lnTo>
                  <a:lnTo>
                    <a:pt x="1328" y="448"/>
                  </a:lnTo>
                  <a:lnTo>
                    <a:pt x="1344" y="432"/>
                  </a:lnTo>
                  <a:lnTo>
                    <a:pt x="1344" y="384"/>
                  </a:lnTo>
                  <a:lnTo>
                    <a:pt x="1320" y="352"/>
                  </a:lnTo>
                  <a:lnTo>
                    <a:pt x="1304" y="320"/>
                  </a:lnTo>
                  <a:lnTo>
                    <a:pt x="1272" y="304"/>
                  </a:lnTo>
                  <a:lnTo>
                    <a:pt x="1264" y="312"/>
                  </a:lnTo>
                  <a:lnTo>
                    <a:pt x="1256" y="312"/>
                  </a:lnTo>
                  <a:lnTo>
                    <a:pt x="1256" y="304"/>
                  </a:lnTo>
                  <a:lnTo>
                    <a:pt x="1248" y="304"/>
                  </a:lnTo>
                  <a:lnTo>
                    <a:pt x="1248" y="312"/>
                  </a:lnTo>
                  <a:lnTo>
                    <a:pt x="1240" y="296"/>
                  </a:lnTo>
                  <a:lnTo>
                    <a:pt x="1216" y="296"/>
                  </a:lnTo>
                  <a:lnTo>
                    <a:pt x="1232" y="280"/>
                  </a:lnTo>
                  <a:lnTo>
                    <a:pt x="1240" y="232"/>
                  </a:lnTo>
                  <a:lnTo>
                    <a:pt x="1256" y="232"/>
                  </a:lnTo>
                  <a:lnTo>
                    <a:pt x="1312" y="232"/>
                  </a:lnTo>
                  <a:lnTo>
                    <a:pt x="1312" y="224"/>
                  </a:lnTo>
                  <a:lnTo>
                    <a:pt x="1336" y="224"/>
                  </a:lnTo>
                  <a:lnTo>
                    <a:pt x="1344" y="240"/>
                  </a:lnTo>
                  <a:lnTo>
                    <a:pt x="1384" y="232"/>
                  </a:lnTo>
                  <a:lnTo>
                    <a:pt x="1368" y="232"/>
                  </a:lnTo>
                  <a:lnTo>
                    <a:pt x="1360" y="224"/>
                  </a:lnTo>
                  <a:lnTo>
                    <a:pt x="1368" y="200"/>
                  </a:lnTo>
                  <a:lnTo>
                    <a:pt x="1400" y="200"/>
                  </a:lnTo>
                  <a:lnTo>
                    <a:pt x="1400" y="208"/>
                  </a:lnTo>
                  <a:lnTo>
                    <a:pt x="1416" y="216"/>
                  </a:lnTo>
                  <a:lnTo>
                    <a:pt x="1424" y="200"/>
                  </a:lnTo>
                  <a:lnTo>
                    <a:pt x="1416" y="184"/>
                  </a:lnTo>
                  <a:lnTo>
                    <a:pt x="1432" y="184"/>
                  </a:lnTo>
                  <a:lnTo>
                    <a:pt x="1432" y="192"/>
                  </a:lnTo>
                  <a:lnTo>
                    <a:pt x="1448" y="208"/>
                  </a:lnTo>
                  <a:lnTo>
                    <a:pt x="1440" y="216"/>
                  </a:lnTo>
                  <a:lnTo>
                    <a:pt x="1432" y="248"/>
                  </a:lnTo>
                  <a:lnTo>
                    <a:pt x="1424" y="256"/>
                  </a:lnTo>
                  <a:lnTo>
                    <a:pt x="1432" y="264"/>
                  </a:lnTo>
                  <a:lnTo>
                    <a:pt x="1424" y="264"/>
                  </a:lnTo>
                  <a:lnTo>
                    <a:pt x="1440" y="288"/>
                  </a:lnTo>
                  <a:lnTo>
                    <a:pt x="1512" y="352"/>
                  </a:lnTo>
                  <a:lnTo>
                    <a:pt x="1512" y="344"/>
                  </a:lnTo>
                  <a:lnTo>
                    <a:pt x="1512" y="320"/>
                  </a:lnTo>
                  <a:lnTo>
                    <a:pt x="1520" y="320"/>
                  </a:lnTo>
                  <a:lnTo>
                    <a:pt x="1504" y="304"/>
                  </a:lnTo>
                  <a:lnTo>
                    <a:pt x="1520" y="296"/>
                  </a:lnTo>
                  <a:lnTo>
                    <a:pt x="1504" y="280"/>
                  </a:lnTo>
                  <a:lnTo>
                    <a:pt x="1512" y="272"/>
                  </a:lnTo>
                  <a:lnTo>
                    <a:pt x="1496" y="264"/>
                  </a:lnTo>
                  <a:lnTo>
                    <a:pt x="1488" y="256"/>
                  </a:lnTo>
                  <a:lnTo>
                    <a:pt x="1480" y="256"/>
                  </a:lnTo>
                  <a:lnTo>
                    <a:pt x="1472" y="248"/>
                  </a:lnTo>
                  <a:lnTo>
                    <a:pt x="1472" y="232"/>
                  </a:lnTo>
                  <a:lnTo>
                    <a:pt x="1464" y="224"/>
                  </a:lnTo>
                  <a:lnTo>
                    <a:pt x="1472" y="224"/>
                  </a:lnTo>
                  <a:lnTo>
                    <a:pt x="1480" y="216"/>
                  </a:lnTo>
                  <a:lnTo>
                    <a:pt x="1496" y="224"/>
                  </a:lnTo>
                  <a:lnTo>
                    <a:pt x="1496" y="216"/>
                  </a:lnTo>
                  <a:lnTo>
                    <a:pt x="1504" y="216"/>
                  </a:lnTo>
                  <a:lnTo>
                    <a:pt x="1536" y="224"/>
                  </a:lnTo>
                  <a:lnTo>
                    <a:pt x="1528" y="216"/>
                  </a:lnTo>
                  <a:lnTo>
                    <a:pt x="1552" y="192"/>
                  </a:lnTo>
                  <a:lnTo>
                    <a:pt x="1560" y="184"/>
                  </a:lnTo>
                  <a:lnTo>
                    <a:pt x="1584" y="192"/>
                  </a:lnTo>
                  <a:lnTo>
                    <a:pt x="1584" y="184"/>
                  </a:lnTo>
                  <a:lnTo>
                    <a:pt x="1528" y="160"/>
                  </a:lnTo>
                  <a:lnTo>
                    <a:pt x="1544" y="160"/>
                  </a:lnTo>
                  <a:lnTo>
                    <a:pt x="1544" y="152"/>
                  </a:lnTo>
                  <a:lnTo>
                    <a:pt x="1544" y="144"/>
                  </a:lnTo>
                  <a:lnTo>
                    <a:pt x="1528" y="144"/>
                  </a:lnTo>
                  <a:lnTo>
                    <a:pt x="1536" y="136"/>
                  </a:lnTo>
                  <a:lnTo>
                    <a:pt x="1552" y="144"/>
                  </a:lnTo>
                  <a:lnTo>
                    <a:pt x="1584" y="152"/>
                  </a:lnTo>
                  <a:lnTo>
                    <a:pt x="1632" y="160"/>
                  </a:lnTo>
                  <a:lnTo>
                    <a:pt x="1616" y="144"/>
                  </a:lnTo>
                  <a:lnTo>
                    <a:pt x="1632" y="144"/>
                  </a:lnTo>
                  <a:lnTo>
                    <a:pt x="1632" y="136"/>
                  </a:lnTo>
                  <a:lnTo>
                    <a:pt x="1592" y="128"/>
                  </a:lnTo>
                  <a:lnTo>
                    <a:pt x="1568" y="128"/>
                  </a:lnTo>
                  <a:lnTo>
                    <a:pt x="1472" y="104"/>
                  </a:lnTo>
                  <a:lnTo>
                    <a:pt x="1424" y="88"/>
                  </a:lnTo>
                  <a:lnTo>
                    <a:pt x="1360" y="88"/>
                  </a:lnTo>
                  <a:lnTo>
                    <a:pt x="1384" y="104"/>
                  </a:lnTo>
                  <a:lnTo>
                    <a:pt x="1376" y="104"/>
                  </a:lnTo>
                  <a:lnTo>
                    <a:pt x="1352" y="96"/>
                  </a:lnTo>
                  <a:lnTo>
                    <a:pt x="1360" y="96"/>
                  </a:lnTo>
                  <a:lnTo>
                    <a:pt x="1360" y="88"/>
                  </a:lnTo>
                  <a:lnTo>
                    <a:pt x="1344" y="88"/>
                  </a:lnTo>
                  <a:lnTo>
                    <a:pt x="1344" y="96"/>
                  </a:lnTo>
                  <a:lnTo>
                    <a:pt x="1280" y="96"/>
                  </a:lnTo>
                  <a:lnTo>
                    <a:pt x="1256" y="88"/>
                  </a:lnTo>
                  <a:lnTo>
                    <a:pt x="1232" y="80"/>
                  </a:lnTo>
                  <a:lnTo>
                    <a:pt x="1176" y="80"/>
                  </a:lnTo>
                  <a:lnTo>
                    <a:pt x="1128" y="64"/>
                  </a:lnTo>
                  <a:lnTo>
                    <a:pt x="1032" y="56"/>
                  </a:lnTo>
                  <a:lnTo>
                    <a:pt x="1032" y="64"/>
                  </a:lnTo>
                  <a:lnTo>
                    <a:pt x="1048" y="72"/>
                  </a:lnTo>
                  <a:lnTo>
                    <a:pt x="1008" y="64"/>
                  </a:lnTo>
                  <a:lnTo>
                    <a:pt x="1000" y="72"/>
                  </a:lnTo>
                  <a:lnTo>
                    <a:pt x="968" y="64"/>
                  </a:lnTo>
                  <a:lnTo>
                    <a:pt x="976" y="72"/>
                  </a:lnTo>
                  <a:lnTo>
                    <a:pt x="976" y="80"/>
                  </a:lnTo>
                  <a:lnTo>
                    <a:pt x="936" y="64"/>
                  </a:lnTo>
                  <a:lnTo>
                    <a:pt x="936" y="56"/>
                  </a:lnTo>
                  <a:lnTo>
                    <a:pt x="912" y="48"/>
                  </a:lnTo>
                  <a:lnTo>
                    <a:pt x="856" y="40"/>
                  </a:lnTo>
                  <a:lnTo>
                    <a:pt x="872" y="48"/>
                  </a:lnTo>
                  <a:lnTo>
                    <a:pt x="840" y="48"/>
                  </a:lnTo>
                  <a:lnTo>
                    <a:pt x="824" y="48"/>
                  </a:lnTo>
                  <a:lnTo>
                    <a:pt x="816" y="48"/>
                  </a:lnTo>
                  <a:lnTo>
                    <a:pt x="776" y="48"/>
                  </a:lnTo>
                  <a:lnTo>
                    <a:pt x="760" y="32"/>
                  </a:lnTo>
                  <a:lnTo>
                    <a:pt x="744" y="32"/>
                  </a:lnTo>
                  <a:lnTo>
                    <a:pt x="768" y="40"/>
                  </a:lnTo>
                  <a:lnTo>
                    <a:pt x="736" y="40"/>
                  </a:lnTo>
                  <a:lnTo>
                    <a:pt x="744" y="48"/>
                  </a:lnTo>
                  <a:lnTo>
                    <a:pt x="712" y="48"/>
                  </a:lnTo>
                  <a:lnTo>
                    <a:pt x="752" y="24"/>
                  </a:lnTo>
                  <a:lnTo>
                    <a:pt x="744" y="16"/>
                  </a:lnTo>
                  <a:lnTo>
                    <a:pt x="712" y="8"/>
                  </a:lnTo>
                  <a:lnTo>
                    <a:pt x="672" y="8"/>
                  </a:lnTo>
                  <a:lnTo>
                    <a:pt x="656" y="0"/>
                  </a:lnTo>
                  <a:lnTo>
                    <a:pt x="632" y="0"/>
                  </a:lnTo>
                  <a:lnTo>
                    <a:pt x="616" y="8"/>
                  </a:lnTo>
                  <a:lnTo>
                    <a:pt x="616" y="16"/>
                  </a:lnTo>
                  <a:lnTo>
                    <a:pt x="560" y="16"/>
                  </a:lnTo>
                  <a:lnTo>
                    <a:pt x="528" y="24"/>
                  </a:lnTo>
                  <a:lnTo>
                    <a:pt x="512" y="32"/>
                  </a:lnTo>
                  <a:lnTo>
                    <a:pt x="528" y="40"/>
                  </a:lnTo>
                  <a:lnTo>
                    <a:pt x="472" y="48"/>
                  </a:lnTo>
                  <a:lnTo>
                    <a:pt x="480" y="56"/>
                  </a:lnTo>
                  <a:lnTo>
                    <a:pt x="504" y="64"/>
                  </a:lnTo>
                  <a:lnTo>
                    <a:pt x="496" y="64"/>
                  </a:lnTo>
                  <a:lnTo>
                    <a:pt x="448" y="56"/>
                  </a:lnTo>
                  <a:lnTo>
                    <a:pt x="440" y="64"/>
                  </a:lnTo>
                  <a:lnTo>
                    <a:pt x="472" y="80"/>
                  </a:lnTo>
                  <a:lnTo>
                    <a:pt x="440" y="72"/>
                  </a:lnTo>
                  <a:lnTo>
                    <a:pt x="432" y="56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37" name="Freeform 115"/>
            <p:cNvSpPr>
              <a:spLocks noChangeAspect="1"/>
            </p:cNvSpPr>
            <p:nvPr/>
          </p:nvSpPr>
          <p:spPr bwMode="auto">
            <a:xfrm>
              <a:off x="3820" y="1944"/>
              <a:ext cx="224" cy="128"/>
            </a:xfrm>
            <a:custGeom>
              <a:avLst/>
              <a:gdLst>
                <a:gd name="T0" fmla="*/ 152 w 224"/>
                <a:gd name="T1" fmla="*/ 120 h 128"/>
                <a:gd name="T2" fmla="*/ 168 w 224"/>
                <a:gd name="T3" fmla="*/ 128 h 128"/>
                <a:gd name="T4" fmla="*/ 176 w 224"/>
                <a:gd name="T5" fmla="*/ 112 h 128"/>
                <a:gd name="T6" fmla="*/ 168 w 224"/>
                <a:gd name="T7" fmla="*/ 96 h 128"/>
                <a:gd name="T8" fmla="*/ 160 w 224"/>
                <a:gd name="T9" fmla="*/ 88 h 128"/>
                <a:gd name="T10" fmla="*/ 176 w 224"/>
                <a:gd name="T11" fmla="*/ 88 h 128"/>
                <a:gd name="T12" fmla="*/ 176 w 224"/>
                <a:gd name="T13" fmla="*/ 80 h 128"/>
                <a:gd name="T14" fmla="*/ 176 w 224"/>
                <a:gd name="T15" fmla="*/ 72 h 128"/>
                <a:gd name="T16" fmla="*/ 192 w 224"/>
                <a:gd name="T17" fmla="*/ 64 h 128"/>
                <a:gd name="T18" fmla="*/ 192 w 224"/>
                <a:gd name="T19" fmla="*/ 80 h 128"/>
                <a:gd name="T20" fmla="*/ 200 w 224"/>
                <a:gd name="T21" fmla="*/ 80 h 128"/>
                <a:gd name="T22" fmla="*/ 208 w 224"/>
                <a:gd name="T23" fmla="*/ 80 h 128"/>
                <a:gd name="T24" fmla="*/ 224 w 224"/>
                <a:gd name="T25" fmla="*/ 72 h 128"/>
                <a:gd name="T26" fmla="*/ 200 w 224"/>
                <a:gd name="T27" fmla="*/ 56 h 128"/>
                <a:gd name="T28" fmla="*/ 200 w 224"/>
                <a:gd name="T29" fmla="*/ 64 h 128"/>
                <a:gd name="T30" fmla="*/ 184 w 224"/>
                <a:gd name="T31" fmla="*/ 56 h 128"/>
                <a:gd name="T32" fmla="*/ 192 w 224"/>
                <a:gd name="T33" fmla="*/ 48 h 128"/>
                <a:gd name="T34" fmla="*/ 168 w 224"/>
                <a:gd name="T35" fmla="*/ 64 h 128"/>
                <a:gd name="T36" fmla="*/ 144 w 224"/>
                <a:gd name="T37" fmla="*/ 64 h 128"/>
                <a:gd name="T38" fmla="*/ 144 w 224"/>
                <a:gd name="T39" fmla="*/ 56 h 128"/>
                <a:gd name="T40" fmla="*/ 136 w 224"/>
                <a:gd name="T41" fmla="*/ 56 h 128"/>
                <a:gd name="T42" fmla="*/ 128 w 224"/>
                <a:gd name="T43" fmla="*/ 40 h 128"/>
                <a:gd name="T44" fmla="*/ 112 w 224"/>
                <a:gd name="T45" fmla="*/ 24 h 128"/>
                <a:gd name="T46" fmla="*/ 80 w 224"/>
                <a:gd name="T47" fmla="*/ 32 h 128"/>
                <a:gd name="T48" fmla="*/ 32 w 224"/>
                <a:gd name="T49" fmla="*/ 0 h 128"/>
                <a:gd name="T50" fmla="*/ 0 w 224"/>
                <a:gd name="T51" fmla="*/ 8 h 128"/>
                <a:gd name="T52" fmla="*/ 16 w 224"/>
                <a:gd name="T53" fmla="*/ 64 h 128"/>
                <a:gd name="T54" fmla="*/ 24 w 224"/>
                <a:gd name="T55" fmla="*/ 64 h 128"/>
                <a:gd name="T56" fmla="*/ 24 w 224"/>
                <a:gd name="T57" fmla="*/ 56 h 128"/>
                <a:gd name="T58" fmla="*/ 32 w 224"/>
                <a:gd name="T59" fmla="*/ 40 h 128"/>
                <a:gd name="T60" fmla="*/ 40 w 224"/>
                <a:gd name="T61" fmla="*/ 40 h 128"/>
                <a:gd name="T62" fmla="*/ 56 w 224"/>
                <a:gd name="T63" fmla="*/ 48 h 128"/>
                <a:gd name="T64" fmla="*/ 64 w 224"/>
                <a:gd name="T65" fmla="*/ 64 h 128"/>
                <a:gd name="T66" fmla="*/ 88 w 224"/>
                <a:gd name="T67" fmla="*/ 64 h 128"/>
                <a:gd name="T68" fmla="*/ 96 w 224"/>
                <a:gd name="T69" fmla="*/ 80 h 128"/>
                <a:gd name="T70" fmla="*/ 136 w 224"/>
                <a:gd name="T71" fmla="*/ 104 h 128"/>
                <a:gd name="T72" fmla="*/ 152 w 224"/>
                <a:gd name="T73" fmla="*/ 112 h 128"/>
                <a:gd name="T74" fmla="*/ 152 w 224"/>
                <a:gd name="T75" fmla="*/ 120 h 12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224" h="128">
                  <a:moveTo>
                    <a:pt x="152" y="120"/>
                  </a:moveTo>
                  <a:lnTo>
                    <a:pt x="168" y="128"/>
                  </a:lnTo>
                  <a:lnTo>
                    <a:pt x="176" y="112"/>
                  </a:lnTo>
                  <a:lnTo>
                    <a:pt x="168" y="96"/>
                  </a:lnTo>
                  <a:lnTo>
                    <a:pt x="160" y="88"/>
                  </a:lnTo>
                  <a:lnTo>
                    <a:pt x="176" y="88"/>
                  </a:lnTo>
                  <a:lnTo>
                    <a:pt x="176" y="80"/>
                  </a:lnTo>
                  <a:lnTo>
                    <a:pt x="176" y="72"/>
                  </a:lnTo>
                  <a:lnTo>
                    <a:pt x="192" y="64"/>
                  </a:lnTo>
                  <a:lnTo>
                    <a:pt x="192" y="80"/>
                  </a:lnTo>
                  <a:lnTo>
                    <a:pt x="200" y="80"/>
                  </a:lnTo>
                  <a:lnTo>
                    <a:pt x="208" y="80"/>
                  </a:lnTo>
                  <a:lnTo>
                    <a:pt x="224" y="72"/>
                  </a:lnTo>
                  <a:lnTo>
                    <a:pt x="200" y="56"/>
                  </a:lnTo>
                  <a:lnTo>
                    <a:pt x="200" y="64"/>
                  </a:lnTo>
                  <a:lnTo>
                    <a:pt x="184" y="56"/>
                  </a:lnTo>
                  <a:lnTo>
                    <a:pt x="192" y="48"/>
                  </a:lnTo>
                  <a:lnTo>
                    <a:pt x="168" y="64"/>
                  </a:lnTo>
                  <a:lnTo>
                    <a:pt x="144" y="64"/>
                  </a:lnTo>
                  <a:lnTo>
                    <a:pt x="144" y="56"/>
                  </a:lnTo>
                  <a:lnTo>
                    <a:pt x="136" y="56"/>
                  </a:lnTo>
                  <a:lnTo>
                    <a:pt x="128" y="40"/>
                  </a:lnTo>
                  <a:lnTo>
                    <a:pt x="112" y="24"/>
                  </a:lnTo>
                  <a:lnTo>
                    <a:pt x="80" y="32"/>
                  </a:lnTo>
                  <a:lnTo>
                    <a:pt x="32" y="0"/>
                  </a:lnTo>
                  <a:lnTo>
                    <a:pt x="0" y="8"/>
                  </a:lnTo>
                  <a:lnTo>
                    <a:pt x="16" y="64"/>
                  </a:lnTo>
                  <a:lnTo>
                    <a:pt x="24" y="64"/>
                  </a:lnTo>
                  <a:lnTo>
                    <a:pt x="24" y="56"/>
                  </a:lnTo>
                  <a:lnTo>
                    <a:pt x="32" y="40"/>
                  </a:lnTo>
                  <a:lnTo>
                    <a:pt x="40" y="40"/>
                  </a:lnTo>
                  <a:lnTo>
                    <a:pt x="56" y="48"/>
                  </a:lnTo>
                  <a:lnTo>
                    <a:pt x="64" y="64"/>
                  </a:lnTo>
                  <a:lnTo>
                    <a:pt x="88" y="64"/>
                  </a:lnTo>
                  <a:lnTo>
                    <a:pt x="96" y="80"/>
                  </a:lnTo>
                  <a:lnTo>
                    <a:pt x="136" y="104"/>
                  </a:lnTo>
                  <a:lnTo>
                    <a:pt x="152" y="112"/>
                  </a:lnTo>
                  <a:lnTo>
                    <a:pt x="152" y="120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38" name="Freeform 116"/>
            <p:cNvSpPr>
              <a:spLocks noChangeAspect="1"/>
            </p:cNvSpPr>
            <p:nvPr/>
          </p:nvSpPr>
          <p:spPr bwMode="auto">
            <a:xfrm>
              <a:off x="3980" y="2008"/>
              <a:ext cx="96" cy="64"/>
            </a:xfrm>
            <a:custGeom>
              <a:avLst/>
              <a:gdLst>
                <a:gd name="T0" fmla="*/ 16 w 96"/>
                <a:gd name="T1" fmla="*/ 64 h 64"/>
                <a:gd name="T2" fmla="*/ 32 w 96"/>
                <a:gd name="T3" fmla="*/ 56 h 64"/>
                <a:gd name="T4" fmla="*/ 40 w 96"/>
                <a:gd name="T5" fmla="*/ 56 h 64"/>
                <a:gd name="T6" fmla="*/ 48 w 96"/>
                <a:gd name="T7" fmla="*/ 40 h 64"/>
                <a:gd name="T8" fmla="*/ 56 w 96"/>
                <a:gd name="T9" fmla="*/ 48 h 64"/>
                <a:gd name="T10" fmla="*/ 64 w 96"/>
                <a:gd name="T11" fmla="*/ 64 h 64"/>
                <a:gd name="T12" fmla="*/ 80 w 96"/>
                <a:gd name="T13" fmla="*/ 56 h 64"/>
                <a:gd name="T14" fmla="*/ 96 w 96"/>
                <a:gd name="T15" fmla="*/ 56 h 64"/>
                <a:gd name="T16" fmla="*/ 96 w 96"/>
                <a:gd name="T17" fmla="*/ 40 h 64"/>
                <a:gd name="T18" fmla="*/ 88 w 96"/>
                <a:gd name="T19" fmla="*/ 40 h 64"/>
                <a:gd name="T20" fmla="*/ 80 w 96"/>
                <a:gd name="T21" fmla="*/ 32 h 64"/>
                <a:gd name="T22" fmla="*/ 80 w 96"/>
                <a:gd name="T23" fmla="*/ 24 h 64"/>
                <a:gd name="T24" fmla="*/ 56 w 96"/>
                <a:gd name="T25" fmla="*/ 32 h 64"/>
                <a:gd name="T26" fmla="*/ 48 w 96"/>
                <a:gd name="T27" fmla="*/ 24 h 64"/>
                <a:gd name="T28" fmla="*/ 24 w 96"/>
                <a:gd name="T29" fmla="*/ 24 h 64"/>
                <a:gd name="T30" fmla="*/ 24 w 96"/>
                <a:gd name="T31" fmla="*/ 16 h 64"/>
                <a:gd name="T32" fmla="*/ 32 w 96"/>
                <a:gd name="T33" fmla="*/ 16 h 64"/>
                <a:gd name="T34" fmla="*/ 40 w 96"/>
                <a:gd name="T35" fmla="*/ 16 h 64"/>
                <a:gd name="T36" fmla="*/ 32 w 96"/>
                <a:gd name="T37" fmla="*/ 16 h 64"/>
                <a:gd name="T38" fmla="*/ 32 w 96"/>
                <a:gd name="T39" fmla="*/ 0 h 64"/>
                <a:gd name="T40" fmla="*/ 16 w 96"/>
                <a:gd name="T41" fmla="*/ 8 h 64"/>
                <a:gd name="T42" fmla="*/ 16 w 96"/>
                <a:gd name="T43" fmla="*/ 16 h 64"/>
                <a:gd name="T44" fmla="*/ 16 w 96"/>
                <a:gd name="T45" fmla="*/ 24 h 64"/>
                <a:gd name="T46" fmla="*/ 0 w 96"/>
                <a:gd name="T47" fmla="*/ 24 h 64"/>
                <a:gd name="T48" fmla="*/ 8 w 96"/>
                <a:gd name="T49" fmla="*/ 32 h 64"/>
                <a:gd name="T50" fmla="*/ 16 w 96"/>
                <a:gd name="T51" fmla="*/ 48 h 64"/>
                <a:gd name="T52" fmla="*/ 8 w 96"/>
                <a:gd name="T53" fmla="*/ 64 h 64"/>
                <a:gd name="T54" fmla="*/ 16 w 96"/>
                <a:gd name="T55" fmla="*/ 64 h 6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96" h="64">
                  <a:moveTo>
                    <a:pt x="16" y="64"/>
                  </a:moveTo>
                  <a:lnTo>
                    <a:pt x="32" y="56"/>
                  </a:lnTo>
                  <a:lnTo>
                    <a:pt x="40" y="56"/>
                  </a:lnTo>
                  <a:lnTo>
                    <a:pt x="48" y="40"/>
                  </a:lnTo>
                  <a:lnTo>
                    <a:pt x="56" y="48"/>
                  </a:lnTo>
                  <a:lnTo>
                    <a:pt x="64" y="64"/>
                  </a:lnTo>
                  <a:lnTo>
                    <a:pt x="80" y="56"/>
                  </a:lnTo>
                  <a:lnTo>
                    <a:pt x="96" y="56"/>
                  </a:lnTo>
                  <a:lnTo>
                    <a:pt x="96" y="40"/>
                  </a:lnTo>
                  <a:lnTo>
                    <a:pt x="88" y="40"/>
                  </a:lnTo>
                  <a:lnTo>
                    <a:pt x="80" y="32"/>
                  </a:lnTo>
                  <a:lnTo>
                    <a:pt x="80" y="24"/>
                  </a:lnTo>
                  <a:lnTo>
                    <a:pt x="56" y="3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24" y="16"/>
                  </a:lnTo>
                  <a:lnTo>
                    <a:pt x="32" y="16"/>
                  </a:lnTo>
                  <a:lnTo>
                    <a:pt x="40" y="16"/>
                  </a:lnTo>
                  <a:lnTo>
                    <a:pt x="32" y="16"/>
                  </a:lnTo>
                  <a:lnTo>
                    <a:pt x="32" y="0"/>
                  </a:lnTo>
                  <a:lnTo>
                    <a:pt x="16" y="8"/>
                  </a:lnTo>
                  <a:lnTo>
                    <a:pt x="16" y="16"/>
                  </a:lnTo>
                  <a:lnTo>
                    <a:pt x="16" y="24"/>
                  </a:lnTo>
                  <a:lnTo>
                    <a:pt x="0" y="24"/>
                  </a:lnTo>
                  <a:lnTo>
                    <a:pt x="8" y="32"/>
                  </a:lnTo>
                  <a:lnTo>
                    <a:pt x="16" y="48"/>
                  </a:lnTo>
                  <a:lnTo>
                    <a:pt x="8" y="64"/>
                  </a:lnTo>
                  <a:lnTo>
                    <a:pt x="16" y="64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39" name="Freeform 117"/>
            <p:cNvSpPr>
              <a:spLocks noChangeAspect="1"/>
            </p:cNvSpPr>
            <p:nvPr/>
          </p:nvSpPr>
          <p:spPr bwMode="auto">
            <a:xfrm>
              <a:off x="4004" y="1976"/>
              <a:ext cx="120" cy="64"/>
            </a:xfrm>
            <a:custGeom>
              <a:avLst/>
              <a:gdLst>
                <a:gd name="T0" fmla="*/ 16 w 120"/>
                <a:gd name="T1" fmla="*/ 48 h 64"/>
                <a:gd name="T2" fmla="*/ 8 w 120"/>
                <a:gd name="T3" fmla="*/ 48 h 64"/>
                <a:gd name="T4" fmla="*/ 0 w 120"/>
                <a:gd name="T5" fmla="*/ 48 h 64"/>
                <a:gd name="T6" fmla="*/ 0 w 120"/>
                <a:gd name="T7" fmla="*/ 56 h 64"/>
                <a:gd name="T8" fmla="*/ 24 w 120"/>
                <a:gd name="T9" fmla="*/ 56 h 64"/>
                <a:gd name="T10" fmla="*/ 32 w 120"/>
                <a:gd name="T11" fmla="*/ 64 h 64"/>
                <a:gd name="T12" fmla="*/ 56 w 120"/>
                <a:gd name="T13" fmla="*/ 56 h 64"/>
                <a:gd name="T14" fmla="*/ 56 w 120"/>
                <a:gd name="T15" fmla="*/ 48 h 64"/>
                <a:gd name="T16" fmla="*/ 64 w 120"/>
                <a:gd name="T17" fmla="*/ 40 h 64"/>
                <a:gd name="T18" fmla="*/ 88 w 120"/>
                <a:gd name="T19" fmla="*/ 40 h 64"/>
                <a:gd name="T20" fmla="*/ 88 w 120"/>
                <a:gd name="T21" fmla="*/ 32 h 64"/>
                <a:gd name="T22" fmla="*/ 104 w 120"/>
                <a:gd name="T23" fmla="*/ 32 h 64"/>
                <a:gd name="T24" fmla="*/ 120 w 120"/>
                <a:gd name="T25" fmla="*/ 24 h 64"/>
                <a:gd name="T26" fmla="*/ 120 w 120"/>
                <a:gd name="T27" fmla="*/ 16 h 64"/>
                <a:gd name="T28" fmla="*/ 104 w 120"/>
                <a:gd name="T29" fmla="*/ 8 h 64"/>
                <a:gd name="T30" fmla="*/ 56 w 120"/>
                <a:gd name="T31" fmla="*/ 8 h 64"/>
                <a:gd name="T32" fmla="*/ 40 w 120"/>
                <a:gd name="T33" fmla="*/ 0 h 64"/>
                <a:gd name="T34" fmla="*/ 40 w 120"/>
                <a:gd name="T35" fmla="*/ 8 h 64"/>
                <a:gd name="T36" fmla="*/ 32 w 120"/>
                <a:gd name="T37" fmla="*/ 16 h 64"/>
                <a:gd name="T38" fmla="*/ 8 w 120"/>
                <a:gd name="T39" fmla="*/ 8 h 64"/>
                <a:gd name="T40" fmla="*/ 8 w 120"/>
                <a:gd name="T41" fmla="*/ 16 h 64"/>
                <a:gd name="T42" fmla="*/ 0 w 120"/>
                <a:gd name="T43" fmla="*/ 24 h 64"/>
                <a:gd name="T44" fmla="*/ 16 w 120"/>
                <a:gd name="T45" fmla="*/ 32 h 64"/>
                <a:gd name="T46" fmla="*/ 16 w 120"/>
                <a:gd name="T47" fmla="*/ 24 h 64"/>
                <a:gd name="T48" fmla="*/ 40 w 120"/>
                <a:gd name="T49" fmla="*/ 40 h 64"/>
                <a:gd name="T50" fmla="*/ 24 w 120"/>
                <a:gd name="T51" fmla="*/ 48 h 64"/>
                <a:gd name="T52" fmla="*/ 16 w 120"/>
                <a:gd name="T53" fmla="*/ 48 h 6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20" h="64">
                  <a:moveTo>
                    <a:pt x="16" y="48"/>
                  </a:moveTo>
                  <a:lnTo>
                    <a:pt x="8" y="48"/>
                  </a:lnTo>
                  <a:lnTo>
                    <a:pt x="0" y="48"/>
                  </a:lnTo>
                  <a:lnTo>
                    <a:pt x="0" y="56"/>
                  </a:lnTo>
                  <a:lnTo>
                    <a:pt x="24" y="56"/>
                  </a:lnTo>
                  <a:lnTo>
                    <a:pt x="32" y="64"/>
                  </a:lnTo>
                  <a:lnTo>
                    <a:pt x="56" y="56"/>
                  </a:lnTo>
                  <a:lnTo>
                    <a:pt x="56" y="48"/>
                  </a:lnTo>
                  <a:lnTo>
                    <a:pt x="64" y="40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104" y="32"/>
                  </a:lnTo>
                  <a:lnTo>
                    <a:pt x="120" y="24"/>
                  </a:lnTo>
                  <a:lnTo>
                    <a:pt x="120" y="16"/>
                  </a:lnTo>
                  <a:lnTo>
                    <a:pt x="104" y="8"/>
                  </a:lnTo>
                  <a:lnTo>
                    <a:pt x="56" y="8"/>
                  </a:lnTo>
                  <a:lnTo>
                    <a:pt x="40" y="0"/>
                  </a:lnTo>
                  <a:lnTo>
                    <a:pt x="40" y="8"/>
                  </a:lnTo>
                  <a:lnTo>
                    <a:pt x="32" y="16"/>
                  </a:lnTo>
                  <a:lnTo>
                    <a:pt x="8" y="8"/>
                  </a:lnTo>
                  <a:lnTo>
                    <a:pt x="8" y="16"/>
                  </a:lnTo>
                  <a:lnTo>
                    <a:pt x="0" y="24"/>
                  </a:lnTo>
                  <a:lnTo>
                    <a:pt x="16" y="32"/>
                  </a:lnTo>
                  <a:lnTo>
                    <a:pt x="16" y="24"/>
                  </a:lnTo>
                  <a:lnTo>
                    <a:pt x="40" y="40"/>
                  </a:lnTo>
                  <a:lnTo>
                    <a:pt x="24" y="48"/>
                  </a:lnTo>
                  <a:lnTo>
                    <a:pt x="16" y="48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40" name="Freeform 118"/>
            <p:cNvSpPr>
              <a:spLocks noChangeAspect="1"/>
            </p:cNvSpPr>
            <p:nvPr/>
          </p:nvSpPr>
          <p:spPr bwMode="auto">
            <a:xfrm>
              <a:off x="3788" y="1984"/>
              <a:ext cx="184" cy="112"/>
            </a:xfrm>
            <a:custGeom>
              <a:avLst/>
              <a:gdLst>
                <a:gd name="T0" fmla="*/ 48 w 184"/>
                <a:gd name="T1" fmla="*/ 24 h 112"/>
                <a:gd name="T2" fmla="*/ 56 w 184"/>
                <a:gd name="T3" fmla="*/ 24 h 112"/>
                <a:gd name="T4" fmla="*/ 56 w 184"/>
                <a:gd name="T5" fmla="*/ 16 h 112"/>
                <a:gd name="T6" fmla="*/ 64 w 184"/>
                <a:gd name="T7" fmla="*/ 0 h 112"/>
                <a:gd name="T8" fmla="*/ 72 w 184"/>
                <a:gd name="T9" fmla="*/ 0 h 112"/>
                <a:gd name="T10" fmla="*/ 88 w 184"/>
                <a:gd name="T11" fmla="*/ 8 h 112"/>
                <a:gd name="T12" fmla="*/ 96 w 184"/>
                <a:gd name="T13" fmla="*/ 24 h 112"/>
                <a:gd name="T14" fmla="*/ 120 w 184"/>
                <a:gd name="T15" fmla="*/ 24 h 112"/>
                <a:gd name="T16" fmla="*/ 128 w 184"/>
                <a:gd name="T17" fmla="*/ 40 h 112"/>
                <a:gd name="T18" fmla="*/ 168 w 184"/>
                <a:gd name="T19" fmla="*/ 64 h 112"/>
                <a:gd name="T20" fmla="*/ 184 w 184"/>
                <a:gd name="T21" fmla="*/ 72 h 112"/>
                <a:gd name="T22" fmla="*/ 184 w 184"/>
                <a:gd name="T23" fmla="*/ 80 h 112"/>
                <a:gd name="T24" fmla="*/ 176 w 184"/>
                <a:gd name="T25" fmla="*/ 80 h 112"/>
                <a:gd name="T26" fmla="*/ 168 w 184"/>
                <a:gd name="T27" fmla="*/ 80 h 112"/>
                <a:gd name="T28" fmla="*/ 168 w 184"/>
                <a:gd name="T29" fmla="*/ 96 h 112"/>
                <a:gd name="T30" fmla="*/ 152 w 184"/>
                <a:gd name="T31" fmla="*/ 104 h 112"/>
                <a:gd name="T32" fmla="*/ 144 w 184"/>
                <a:gd name="T33" fmla="*/ 112 h 112"/>
                <a:gd name="T34" fmla="*/ 128 w 184"/>
                <a:gd name="T35" fmla="*/ 104 h 112"/>
                <a:gd name="T36" fmla="*/ 128 w 184"/>
                <a:gd name="T37" fmla="*/ 96 h 112"/>
                <a:gd name="T38" fmla="*/ 64 w 184"/>
                <a:gd name="T39" fmla="*/ 64 h 112"/>
                <a:gd name="T40" fmla="*/ 48 w 184"/>
                <a:gd name="T41" fmla="*/ 72 h 112"/>
                <a:gd name="T42" fmla="*/ 32 w 184"/>
                <a:gd name="T43" fmla="*/ 80 h 112"/>
                <a:gd name="T44" fmla="*/ 24 w 184"/>
                <a:gd name="T45" fmla="*/ 56 h 112"/>
                <a:gd name="T46" fmla="*/ 16 w 184"/>
                <a:gd name="T47" fmla="*/ 40 h 112"/>
                <a:gd name="T48" fmla="*/ 8 w 184"/>
                <a:gd name="T49" fmla="*/ 40 h 112"/>
                <a:gd name="T50" fmla="*/ 8 w 184"/>
                <a:gd name="T51" fmla="*/ 32 h 112"/>
                <a:gd name="T52" fmla="*/ 24 w 184"/>
                <a:gd name="T53" fmla="*/ 32 h 112"/>
                <a:gd name="T54" fmla="*/ 32 w 184"/>
                <a:gd name="T55" fmla="*/ 24 h 112"/>
                <a:gd name="T56" fmla="*/ 16 w 184"/>
                <a:gd name="T57" fmla="*/ 8 h 112"/>
                <a:gd name="T58" fmla="*/ 8 w 184"/>
                <a:gd name="T59" fmla="*/ 8 h 112"/>
                <a:gd name="T60" fmla="*/ 8 w 184"/>
                <a:gd name="T61" fmla="*/ 24 h 112"/>
                <a:gd name="T62" fmla="*/ 0 w 184"/>
                <a:gd name="T63" fmla="*/ 16 h 112"/>
                <a:gd name="T64" fmla="*/ 8 w 184"/>
                <a:gd name="T65" fmla="*/ 8 h 112"/>
                <a:gd name="T66" fmla="*/ 16 w 184"/>
                <a:gd name="T67" fmla="*/ 8 h 112"/>
                <a:gd name="T68" fmla="*/ 40 w 184"/>
                <a:gd name="T69" fmla="*/ 24 h 112"/>
                <a:gd name="T70" fmla="*/ 48 w 184"/>
                <a:gd name="T71" fmla="*/ 24 h 11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84" h="112">
                  <a:moveTo>
                    <a:pt x="48" y="24"/>
                  </a:moveTo>
                  <a:lnTo>
                    <a:pt x="56" y="24"/>
                  </a:lnTo>
                  <a:lnTo>
                    <a:pt x="56" y="16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8" y="8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8" y="40"/>
                  </a:lnTo>
                  <a:lnTo>
                    <a:pt x="168" y="64"/>
                  </a:lnTo>
                  <a:lnTo>
                    <a:pt x="184" y="72"/>
                  </a:lnTo>
                  <a:lnTo>
                    <a:pt x="184" y="80"/>
                  </a:lnTo>
                  <a:lnTo>
                    <a:pt x="176" y="80"/>
                  </a:lnTo>
                  <a:lnTo>
                    <a:pt x="168" y="80"/>
                  </a:lnTo>
                  <a:lnTo>
                    <a:pt x="168" y="96"/>
                  </a:lnTo>
                  <a:lnTo>
                    <a:pt x="152" y="104"/>
                  </a:lnTo>
                  <a:lnTo>
                    <a:pt x="144" y="112"/>
                  </a:lnTo>
                  <a:lnTo>
                    <a:pt x="128" y="104"/>
                  </a:lnTo>
                  <a:lnTo>
                    <a:pt x="128" y="96"/>
                  </a:lnTo>
                  <a:lnTo>
                    <a:pt x="64" y="64"/>
                  </a:lnTo>
                  <a:lnTo>
                    <a:pt x="48" y="72"/>
                  </a:lnTo>
                  <a:lnTo>
                    <a:pt x="32" y="80"/>
                  </a:lnTo>
                  <a:lnTo>
                    <a:pt x="24" y="56"/>
                  </a:lnTo>
                  <a:lnTo>
                    <a:pt x="16" y="40"/>
                  </a:lnTo>
                  <a:lnTo>
                    <a:pt x="8" y="40"/>
                  </a:lnTo>
                  <a:lnTo>
                    <a:pt x="8" y="32"/>
                  </a:lnTo>
                  <a:lnTo>
                    <a:pt x="24" y="32"/>
                  </a:lnTo>
                  <a:lnTo>
                    <a:pt x="32" y="24"/>
                  </a:lnTo>
                  <a:lnTo>
                    <a:pt x="16" y="8"/>
                  </a:lnTo>
                  <a:lnTo>
                    <a:pt x="8" y="8"/>
                  </a:lnTo>
                  <a:lnTo>
                    <a:pt x="8" y="24"/>
                  </a:lnTo>
                  <a:lnTo>
                    <a:pt x="0" y="16"/>
                  </a:lnTo>
                  <a:lnTo>
                    <a:pt x="8" y="8"/>
                  </a:lnTo>
                  <a:lnTo>
                    <a:pt x="16" y="8"/>
                  </a:lnTo>
                  <a:lnTo>
                    <a:pt x="40" y="24"/>
                  </a:lnTo>
                  <a:lnTo>
                    <a:pt x="48" y="24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41" name="Freeform 119"/>
            <p:cNvSpPr>
              <a:spLocks noChangeAspect="1"/>
            </p:cNvSpPr>
            <p:nvPr/>
          </p:nvSpPr>
          <p:spPr bwMode="auto">
            <a:xfrm>
              <a:off x="3420" y="1784"/>
              <a:ext cx="104" cy="72"/>
            </a:xfrm>
            <a:custGeom>
              <a:avLst/>
              <a:gdLst>
                <a:gd name="T0" fmla="*/ 8 w 104"/>
                <a:gd name="T1" fmla="*/ 48 h 72"/>
                <a:gd name="T2" fmla="*/ 0 w 104"/>
                <a:gd name="T3" fmla="*/ 64 h 72"/>
                <a:gd name="T4" fmla="*/ 8 w 104"/>
                <a:gd name="T5" fmla="*/ 72 h 72"/>
                <a:gd name="T6" fmla="*/ 32 w 104"/>
                <a:gd name="T7" fmla="*/ 64 h 72"/>
                <a:gd name="T8" fmla="*/ 56 w 104"/>
                <a:gd name="T9" fmla="*/ 72 h 72"/>
                <a:gd name="T10" fmla="*/ 72 w 104"/>
                <a:gd name="T11" fmla="*/ 72 h 72"/>
                <a:gd name="T12" fmla="*/ 88 w 104"/>
                <a:gd name="T13" fmla="*/ 72 h 72"/>
                <a:gd name="T14" fmla="*/ 88 w 104"/>
                <a:gd name="T15" fmla="*/ 64 h 72"/>
                <a:gd name="T16" fmla="*/ 96 w 104"/>
                <a:gd name="T17" fmla="*/ 64 h 72"/>
                <a:gd name="T18" fmla="*/ 88 w 104"/>
                <a:gd name="T19" fmla="*/ 48 h 72"/>
                <a:gd name="T20" fmla="*/ 104 w 104"/>
                <a:gd name="T21" fmla="*/ 48 h 72"/>
                <a:gd name="T22" fmla="*/ 104 w 104"/>
                <a:gd name="T23" fmla="*/ 40 h 72"/>
                <a:gd name="T24" fmla="*/ 96 w 104"/>
                <a:gd name="T25" fmla="*/ 40 h 72"/>
                <a:gd name="T26" fmla="*/ 88 w 104"/>
                <a:gd name="T27" fmla="*/ 24 h 72"/>
                <a:gd name="T28" fmla="*/ 80 w 104"/>
                <a:gd name="T29" fmla="*/ 8 h 72"/>
                <a:gd name="T30" fmla="*/ 56 w 104"/>
                <a:gd name="T31" fmla="*/ 0 h 72"/>
                <a:gd name="T32" fmla="*/ 40 w 104"/>
                <a:gd name="T33" fmla="*/ 8 h 72"/>
                <a:gd name="T34" fmla="*/ 40 w 104"/>
                <a:gd name="T35" fmla="*/ 16 h 72"/>
                <a:gd name="T36" fmla="*/ 24 w 104"/>
                <a:gd name="T37" fmla="*/ 24 h 72"/>
                <a:gd name="T38" fmla="*/ 32 w 104"/>
                <a:gd name="T39" fmla="*/ 32 h 72"/>
                <a:gd name="T40" fmla="*/ 0 w 104"/>
                <a:gd name="T41" fmla="*/ 32 h 72"/>
                <a:gd name="T42" fmla="*/ 8 w 104"/>
                <a:gd name="T43" fmla="*/ 48 h 7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4" h="72">
                  <a:moveTo>
                    <a:pt x="8" y="48"/>
                  </a:moveTo>
                  <a:lnTo>
                    <a:pt x="0" y="64"/>
                  </a:lnTo>
                  <a:lnTo>
                    <a:pt x="8" y="72"/>
                  </a:lnTo>
                  <a:lnTo>
                    <a:pt x="32" y="64"/>
                  </a:lnTo>
                  <a:lnTo>
                    <a:pt x="56" y="72"/>
                  </a:lnTo>
                  <a:lnTo>
                    <a:pt x="72" y="72"/>
                  </a:lnTo>
                  <a:lnTo>
                    <a:pt x="88" y="72"/>
                  </a:lnTo>
                  <a:lnTo>
                    <a:pt x="88" y="64"/>
                  </a:lnTo>
                  <a:lnTo>
                    <a:pt x="96" y="64"/>
                  </a:lnTo>
                  <a:lnTo>
                    <a:pt x="88" y="48"/>
                  </a:lnTo>
                  <a:lnTo>
                    <a:pt x="104" y="48"/>
                  </a:lnTo>
                  <a:lnTo>
                    <a:pt x="104" y="40"/>
                  </a:lnTo>
                  <a:lnTo>
                    <a:pt x="96" y="40"/>
                  </a:lnTo>
                  <a:lnTo>
                    <a:pt x="88" y="24"/>
                  </a:lnTo>
                  <a:lnTo>
                    <a:pt x="80" y="8"/>
                  </a:lnTo>
                  <a:lnTo>
                    <a:pt x="56" y="0"/>
                  </a:lnTo>
                  <a:lnTo>
                    <a:pt x="40" y="8"/>
                  </a:lnTo>
                  <a:lnTo>
                    <a:pt x="40" y="16"/>
                  </a:lnTo>
                  <a:lnTo>
                    <a:pt x="24" y="24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8" y="48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42" name="Freeform 120"/>
            <p:cNvSpPr>
              <a:spLocks noChangeAspect="1"/>
            </p:cNvSpPr>
            <p:nvPr/>
          </p:nvSpPr>
          <p:spPr bwMode="auto">
            <a:xfrm>
              <a:off x="3420" y="1736"/>
              <a:ext cx="48" cy="32"/>
            </a:xfrm>
            <a:custGeom>
              <a:avLst/>
              <a:gdLst>
                <a:gd name="T0" fmla="*/ 8 w 48"/>
                <a:gd name="T1" fmla="*/ 24 h 32"/>
                <a:gd name="T2" fmla="*/ 0 w 48"/>
                <a:gd name="T3" fmla="*/ 24 h 32"/>
                <a:gd name="T4" fmla="*/ 0 w 48"/>
                <a:gd name="T5" fmla="*/ 8 h 32"/>
                <a:gd name="T6" fmla="*/ 24 w 48"/>
                <a:gd name="T7" fmla="*/ 0 h 32"/>
                <a:gd name="T8" fmla="*/ 48 w 48"/>
                <a:gd name="T9" fmla="*/ 8 h 32"/>
                <a:gd name="T10" fmla="*/ 40 w 48"/>
                <a:gd name="T11" fmla="*/ 8 h 32"/>
                <a:gd name="T12" fmla="*/ 32 w 48"/>
                <a:gd name="T13" fmla="*/ 16 h 32"/>
                <a:gd name="T14" fmla="*/ 40 w 48"/>
                <a:gd name="T15" fmla="*/ 24 h 32"/>
                <a:gd name="T16" fmla="*/ 40 w 48"/>
                <a:gd name="T17" fmla="*/ 32 h 32"/>
                <a:gd name="T18" fmla="*/ 16 w 48"/>
                <a:gd name="T19" fmla="*/ 24 h 32"/>
                <a:gd name="T20" fmla="*/ 8 w 48"/>
                <a:gd name="T21" fmla="*/ 24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8" h="32">
                  <a:moveTo>
                    <a:pt x="8" y="24"/>
                  </a:moveTo>
                  <a:lnTo>
                    <a:pt x="0" y="24"/>
                  </a:lnTo>
                  <a:lnTo>
                    <a:pt x="0" y="8"/>
                  </a:lnTo>
                  <a:lnTo>
                    <a:pt x="24" y="0"/>
                  </a:lnTo>
                  <a:lnTo>
                    <a:pt x="48" y="8"/>
                  </a:lnTo>
                  <a:lnTo>
                    <a:pt x="40" y="8"/>
                  </a:lnTo>
                  <a:lnTo>
                    <a:pt x="32" y="16"/>
                  </a:lnTo>
                  <a:lnTo>
                    <a:pt x="40" y="24"/>
                  </a:lnTo>
                  <a:lnTo>
                    <a:pt x="40" y="32"/>
                  </a:lnTo>
                  <a:lnTo>
                    <a:pt x="16" y="24"/>
                  </a:lnTo>
                  <a:lnTo>
                    <a:pt x="8" y="24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43" name="Freeform 121"/>
            <p:cNvSpPr>
              <a:spLocks noChangeAspect="1"/>
            </p:cNvSpPr>
            <p:nvPr/>
          </p:nvSpPr>
          <p:spPr bwMode="auto">
            <a:xfrm>
              <a:off x="3396" y="1760"/>
              <a:ext cx="80" cy="32"/>
            </a:xfrm>
            <a:custGeom>
              <a:avLst/>
              <a:gdLst>
                <a:gd name="T0" fmla="*/ 0 w 80"/>
                <a:gd name="T1" fmla="*/ 32 h 32"/>
                <a:gd name="T2" fmla="*/ 0 w 80"/>
                <a:gd name="T3" fmla="*/ 16 h 32"/>
                <a:gd name="T4" fmla="*/ 0 w 80"/>
                <a:gd name="T5" fmla="*/ 8 h 32"/>
                <a:gd name="T6" fmla="*/ 8 w 80"/>
                <a:gd name="T7" fmla="*/ 8 h 32"/>
                <a:gd name="T8" fmla="*/ 24 w 80"/>
                <a:gd name="T9" fmla="*/ 16 h 32"/>
                <a:gd name="T10" fmla="*/ 32 w 80"/>
                <a:gd name="T11" fmla="*/ 16 h 32"/>
                <a:gd name="T12" fmla="*/ 32 w 80"/>
                <a:gd name="T13" fmla="*/ 0 h 32"/>
                <a:gd name="T14" fmla="*/ 40 w 80"/>
                <a:gd name="T15" fmla="*/ 0 h 32"/>
                <a:gd name="T16" fmla="*/ 64 w 80"/>
                <a:gd name="T17" fmla="*/ 8 h 32"/>
                <a:gd name="T18" fmla="*/ 80 w 80"/>
                <a:gd name="T19" fmla="*/ 24 h 32"/>
                <a:gd name="T20" fmla="*/ 64 w 80"/>
                <a:gd name="T21" fmla="*/ 32 h 32"/>
                <a:gd name="T22" fmla="*/ 40 w 80"/>
                <a:gd name="T23" fmla="*/ 24 h 32"/>
                <a:gd name="T24" fmla="*/ 8 w 80"/>
                <a:gd name="T25" fmla="*/ 24 h 32"/>
                <a:gd name="T26" fmla="*/ 0 w 80"/>
                <a:gd name="T27" fmla="*/ 32 h 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0" h="32">
                  <a:moveTo>
                    <a:pt x="0" y="32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8" y="8"/>
                  </a:lnTo>
                  <a:lnTo>
                    <a:pt x="24" y="16"/>
                  </a:lnTo>
                  <a:lnTo>
                    <a:pt x="32" y="16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64" y="8"/>
                  </a:lnTo>
                  <a:lnTo>
                    <a:pt x="80" y="24"/>
                  </a:lnTo>
                  <a:lnTo>
                    <a:pt x="64" y="32"/>
                  </a:lnTo>
                  <a:lnTo>
                    <a:pt x="40" y="24"/>
                  </a:lnTo>
                  <a:lnTo>
                    <a:pt x="8" y="2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44" name="Freeform 122"/>
            <p:cNvSpPr>
              <a:spLocks noChangeAspect="1"/>
            </p:cNvSpPr>
            <p:nvPr/>
          </p:nvSpPr>
          <p:spPr bwMode="auto">
            <a:xfrm>
              <a:off x="3388" y="1784"/>
              <a:ext cx="72" cy="32"/>
            </a:xfrm>
            <a:custGeom>
              <a:avLst/>
              <a:gdLst>
                <a:gd name="T0" fmla="*/ 32 w 72"/>
                <a:gd name="T1" fmla="*/ 32 h 32"/>
                <a:gd name="T2" fmla="*/ 24 w 72"/>
                <a:gd name="T3" fmla="*/ 32 h 32"/>
                <a:gd name="T4" fmla="*/ 24 w 72"/>
                <a:gd name="T5" fmla="*/ 16 h 32"/>
                <a:gd name="T6" fmla="*/ 0 w 72"/>
                <a:gd name="T7" fmla="*/ 16 h 32"/>
                <a:gd name="T8" fmla="*/ 8 w 72"/>
                <a:gd name="T9" fmla="*/ 8 h 32"/>
                <a:gd name="T10" fmla="*/ 16 w 72"/>
                <a:gd name="T11" fmla="*/ 0 h 32"/>
                <a:gd name="T12" fmla="*/ 48 w 72"/>
                <a:gd name="T13" fmla="*/ 0 h 32"/>
                <a:gd name="T14" fmla="*/ 72 w 72"/>
                <a:gd name="T15" fmla="*/ 8 h 32"/>
                <a:gd name="T16" fmla="*/ 72 w 72"/>
                <a:gd name="T17" fmla="*/ 16 h 32"/>
                <a:gd name="T18" fmla="*/ 56 w 72"/>
                <a:gd name="T19" fmla="*/ 24 h 32"/>
                <a:gd name="T20" fmla="*/ 64 w 72"/>
                <a:gd name="T21" fmla="*/ 32 h 32"/>
                <a:gd name="T22" fmla="*/ 32 w 72"/>
                <a:gd name="T23" fmla="*/ 32 h 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2" h="32">
                  <a:moveTo>
                    <a:pt x="32" y="32"/>
                  </a:moveTo>
                  <a:lnTo>
                    <a:pt x="24" y="32"/>
                  </a:lnTo>
                  <a:lnTo>
                    <a:pt x="24" y="16"/>
                  </a:lnTo>
                  <a:lnTo>
                    <a:pt x="0" y="16"/>
                  </a:lnTo>
                  <a:lnTo>
                    <a:pt x="8" y="8"/>
                  </a:lnTo>
                  <a:lnTo>
                    <a:pt x="16" y="0"/>
                  </a:lnTo>
                  <a:lnTo>
                    <a:pt x="48" y="0"/>
                  </a:lnTo>
                  <a:lnTo>
                    <a:pt x="72" y="8"/>
                  </a:lnTo>
                  <a:lnTo>
                    <a:pt x="72" y="16"/>
                  </a:lnTo>
                  <a:lnTo>
                    <a:pt x="56" y="24"/>
                  </a:lnTo>
                  <a:lnTo>
                    <a:pt x="64" y="32"/>
                  </a:lnTo>
                  <a:lnTo>
                    <a:pt x="32" y="32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45" name="Freeform 123"/>
            <p:cNvSpPr>
              <a:spLocks noChangeAspect="1"/>
            </p:cNvSpPr>
            <p:nvPr/>
          </p:nvSpPr>
          <p:spPr bwMode="auto">
            <a:xfrm>
              <a:off x="3380" y="1800"/>
              <a:ext cx="32" cy="16"/>
            </a:xfrm>
            <a:custGeom>
              <a:avLst/>
              <a:gdLst>
                <a:gd name="T0" fmla="*/ 0 w 32"/>
                <a:gd name="T1" fmla="*/ 8 h 16"/>
                <a:gd name="T2" fmla="*/ 32 w 32"/>
                <a:gd name="T3" fmla="*/ 16 h 16"/>
                <a:gd name="T4" fmla="*/ 32 w 32"/>
                <a:gd name="T5" fmla="*/ 0 h 16"/>
                <a:gd name="T6" fmla="*/ 8 w 32"/>
                <a:gd name="T7" fmla="*/ 0 h 16"/>
                <a:gd name="T8" fmla="*/ 0 w 32"/>
                <a:gd name="T9" fmla="*/ 8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2" h="16">
                  <a:moveTo>
                    <a:pt x="0" y="8"/>
                  </a:moveTo>
                  <a:lnTo>
                    <a:pt x="32" y="16"/>
                  </a:lnTo>
                  <a:lnTo>
                    <a:pt x="32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46" name="Freeform 124"/>
            <p:cNvSpPr>
              <a:spLocks noChangeAspect="1"/>
            </p:cNvSpPr>
            <p:nvPr/>
          </p:nvSpPr>
          <p:spPr bwMode="auto">
            <a:xfrm>
              <a:off x="3468" y="1896"/>
              <a:ext cx="40" cy="48"/>
            </a:xfrm>
            <a:custGeom>
              <a:avLst/>
              <a:gdLst>
                <a:gd name="T0" fmla="*/ 24 w 40"/>
                <a:gd name="T1" fmla="*/ 48 h 48"/>
                <a:gd name="T2" fmla="*/ 16 w 40"/>
                <a:gd name="T3" fmla="*/ 24 h 48"/>
                <a:gd name="T4" fmla="*/ 0 w 40"/>
                <a:gd name="T5" fmla="*/ 8 h 48"/>
                <a:gd name="T6" fmla="*/ 8 w 40"/>
                <a:gd name="T7" fmla="*/ 0 h 48"/>
                <a:gd name="T8" fmla="*/ 24 w 40"/>
                <a:gd name="T9" fmla="*/ 8 h 48"/>
                <a:gd name="T10" fmla="*/ 32 w 40"/>
                <a:gd name="T11" fmla="*/ 16 h 48"/>
                <a:gd name="T12" fmla="*/ 40 w 40"/>
                <a:gd name="T13" fmla="*/ 24 h 48"/>
                <a:gd name="T14" fmla="*/ 40 w 40"/>
                <a:gd name="T15" fmla="*/ 32 h 48"/>
                <a:gd name="T16" fmla="*/ 32 w 40"/>
                <a:gd name="T17" fmla="*/ 32 h 48"/>
                <a:gd name="T18" fmla="*/ 24 w 40"/>
                <a:gd name="T19" fmla="*/ 48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48">
                  <a:moveTo>
                    <a:pt x="24" y="48"/>
                  </a:moveTo>
                  <a:lnTo>
                    <a:pt x="16" y="24"/>
                  </a:lnTo>
                  <a:lnTo>
                    <a:pt x="0" y="8"/>
                  </a:lnTo>
                  <a:lnTo>
                    <a:pt x="8" y="0"/>
                  </a:lnTo>
                  <a:lnTo>
                    <a:pt x="24" y="8"/>
                  </a:lnTo>
                  <a:lnTo>
                    <a:pt x="32" y="16"/>
                  </a:lnTo>
                  <a:lnTo>
                    <a:pt x="40" y="24"/>
                  </a:lnTo>
                  <a:lnTo>
                    <a:pt x="40" y="32"/>
                  </a:lnTo>
                  <a:lnTo>
                    <a:pt x="32" y="32"/>
                  </a:lnTo>
                  <a:lnTo>
                    <a:pt x="24" y="48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47" name="Freeform 125"/>
            <p:cNvSpPr>
              <a:spLocks noChangeAspect="1"/>
            </p:cNvSpPr>
            <p:nvPr/>
          </p:nvSpPr>
          <p:spPr bwMode="auto">
            <a:xfrm>
              <a:off x="3636" y="1976"/>
              <a:ext cx="80" cy="32"/>
            </a:xfrm>
            <a:custGeom>
              <a:avLst/>
              <a:gdLst>
                <a:gd name="T0" fmla="*/ 64 w 80"/>
                <a:gd name="T1" fmla="*/ 32 h 32"/>
                <a:gd name="T2" fmla="*/ 64 w 80"/>
                <a:gd name="T3" fmla="*/ 24 h 32"/>
                <a:gd name="T4" fmla="*/ 80 w 80"/>
                <a:gd name="T5" fmla="*/ 32 h 32"/>
                <a:gd name="T6" fmla="*/ 72 w 80"/>
                <a:gd name="T7" fmla="*/ 24 h 32"/>
                <a:gd name="T8" fmla="*/ 80 w 80"/>
                <a:gd name="T9" fmla="*/ 24 h 32"/>
                <a:gd name="T10" fmla="*/ 64 w 80"/>
                <a:gd name="T11" fmla="*/ 8 h 32"/>
                <a:gd name="T12" fmla="*/ 48 w 80"/>
                <a:gd name="T13" fmla="*/ 8 h 32"/>
                <a:gd name="T14" fmla="*/ 32 w 80"/>
                <a:gd name="T15" fmla="*/ 0 h 32"/>
                <a:gd name="T16" fmla="*/ 0 w 80"/>
                <a:gd name="T17" fmla="*/ 0 h 32"/>
                <a:gd name="T18" fmla="*/ 8 w 80"/>
                <a:gd name="T19" fmla="*/ 8 h 32"/>
                <a:gd name="T20" fmla="*/ 24 w 80"/>
                <a:gd name="T21" fmla="*/ 16 h 32"/>
                <a:gd name="T22" fmla="*/ 24 w 80"/>
                <a:gd name="T23" fmla="*/ 24 h 32"/>
                <a:gd name="T24" fmla="*/ 40 w 80"/>
                <a:gd name="T25" fmla="*/ 24 h 32"/>
                <a:gd name="T26" fmla="*/ 40 w 80"/>
                <a:gd name="T27" fmla="*/ 32 h 32"/>
                <a:gd name="T28" fmla="*/ 64 w 80"/>
                <a:gd name="T29" fmla="*/ 32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0" h="32">
                  <a:moveTo>
                    <a:pt x="64" y="32"/>
                  </a:moveTo>
                  <a:lnTo>
                    <a:pt x="64" y="24"/>
                  </a:lnTo>
                  <a:lnTo>
                    <a:pt x="80" y="32"/>
                  </a:lnTo>
                  <a:lnTo>
                    <a:pt x="72" y="24"/>
                  </a:lnTo>
                  <a:lnTo>
                    <a:pt x="80" y="24"/>
                  </a:lnTo>
                  <a:lnTo>
                    <a:pt x="64" y="8"/>
                  </a:lnTo>
                  <a:lnTo>
                    <a:pt x="48" y="8"/>
                  </a:lnTo>
                  <a:lnTo>
                    <a:pt x="32" y="0"/>
                  </a:lnTo>
                  <a:lnTo>
                    <a:pt x="0" y="0"/>
                  </a:lnTo>
                  <a:lnTo>
                    <a:pt x="8" y="8"/>
                  </a:lnTo>
                  <a:lnTo>
                    <a:pt x="24" y="16"/>
                  </a:lnTo>
                  <a:lnTo>
                    <a:pt x="24" y="24"/>
                  </a:lnTo>
                  <a:lnTo>
                    <a:pt x="40" y="24"/>
                  </a:lnTo>
                  <a:lnTo>
                    <a:pt x="40" y="32"/>
                  </a:lnTo>
                  <a:lnTo>
                    <a:pt x="64" y="32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48" name="Freeform 126"/>
            <p:cNvSpPr>
              <a:spLocks noChangeAspect="1"/>
            </p:cNvSpPr>
            <p:nvPr/>
          </p:nvSpPr>
          <p:spPr bwMode="auto">
            <a:xfrm>
              <a:off x="3676" y="2008"/>
              <a:ext cx="48" cy="32"/>
            </a:xfrm>
            <a:custGeom>
              <a:avLst/>
              <a:gdLst>
                <a:gd name="T0" fmla="*/ 24 w 48"/>
                <a:gd name="T1" fmla="*/ 16 h 32"/>
                <a:gd name="T2" fmla="*/ 8 w 48"/>
                <a:gd name="T3" fmla="*/ 16 h 32"/>
                <a:gd name="T4" fmla="*/ 0 w 48"/>
                <a:gd name="T5" fmla="*/ 0 h 32"/>
                <a:gd name="T6" fmla="*/ 24 w 48"/>
                <a:gd name="T7" fmla="*/ 0 h 32"/>
                <a:gd name="T8" fmla="*/ 32 w 48"/>
                <a:gd name="T9" fmla="*/ 8 h 32"/>
                <a:gd name="T10" fmla="*/ 32 w 48"/>
                <a:gd name="T11" fmla="*/ 16 h 32"/>
                <a:gd name="T12" fmla="*/ 40 w 48"/>
                <a:gd name="T13" fmla="*/ 16 h 32"/>
                <a:gd name="T14" fmla="*/ 48 w 48"/>
                <a:gd name="T15" fmla="*/ 32 h 32"/>
                <a:gd name="T16" fmla="*/ 40 w 48"/>
                <a:gd name="T17" fmla="*/ 32 h 32"/>
                <a:gd name="T18" fmla="*/ 32 w 48"/>
                <a:gd name="T19" fmla="*/ 24 h 32"/>
                <a:gd name="T20" fmla="*/ 24 w 48"/>
                <a:gd name="T21" fmla="*/ 16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8" h="32">
                  <a:moveTo>
                    <a:pt x="24" y="16"/>
                  </a:moveTo>
                  <a:lnTo>
                    <a:pt x="8" y="16"/>
                  </a:lnTo>
                  <a:lnTo>
                    <a:pt x="0" y="0"/>
                  </a:lnTo>
                  <a:lnTo>
                    <a:pt x="24" y="0"/>
                  </a:lnTo>
                  <a:lnTo>
                    <a:pt x="32" y="8"/>
                  </a:lnTo>
                  <a:lnTo>
                    <a:pt x="32" y="16"/>
                  </a:lnTo>
                  <a:lnTo>
                    <a:pt x="40" y="16"/>
                  </a:lnTo>
                  <a:lnTo>
                    <a:pt x="48" y="32"/>
                  </a:lnTo>
                  <a:lnTo>
                    <a:pt x="40" y="32"/>
                  </a:lnTo>
                  <a:lnTo>
                    <a:pt x="32" y="24"/>
                  </a:lnTo>
                  <a:lnTo>
                    <a:pt x="24" y="16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49" name="Freeform 127"/>
            <p:cNvSpPr>
              <a:spLocks noChangeAspect="1"/>
            </p:cNvSpPr>
            <p:nvPr/>
          </p:nvSpPr>
          <p:spPr bwMode="auto">
            <a:xfrm>
              <a:off x="3700" y="2024"/>
              <a:ext cx="16" cy="16"/>
            </a:xfrm>
            <a:custGeom>
              <a:avLst/>
              <a:gdLst>
                <a:gd name="T0" fmla="*/ 16 w 16"/>
                <a:gd name="T1" fmla="*/ 16 h 16"/>
                <a:gd name="T2" fmla="*/ 8 w 16"/>
                <a:gd name="T3" fmla="*/ 16 h 16"/>
                <a:gd name="T4" fmla="*/ 0 w 16"/>
                <a:gd name="T5" fmla="*/ 0 h 16"/>
                <a:gd name="T6" fmla="*/ 8 w 16"/>
                <a:gd name="T7" fmla="*/ 8 h 16"/>
                <a:gd name="T8" fmla="*/ 16 w 16"/>
                <a:gd name="T9" fmla="*/ 16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" h="16">
                  <a:moveTo>
                    <a:pt x="16" y="16"/>
                  </a:moveTo>
                  <a:lnTo>
                    <a:pt x="8" y="16"/>
                  </a:lnTo>
                  <a:lnTo>
                    <a:pt x="0" y="0"/>
                  </a:lnTo>
                  <a:lnTo>
                    <a:pt x="8" y="8"/>
                  </a:lnTo>
                  <a:lnTo>
                    <a:pt x="16" y="16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50" name="Freeform 128"/>
            <p:cNvSpPr>
              <a:spLocks noChangeAspect="1"/>
            </p:cNvSpPr>
            <p:nvPr/>
          </p:nvSpPr>
          <p:spPr bwMode="auto">
            <a:xfrm>
              <a:off x="3700" y="2000"/>
              <a:ext cx="64" cy="48"/>
            </a:xfrm>
            <a:custGeom>
              <a:avLst/>
              <a:gdLst>
                <a:gd name="T0" fmla="*/ 40 w 64"/>
                <a:gd name="T1" fmla="*/ 0 h 48"/>
                <a:gd name="T2" fmla="*/ 48 w 64"/>
                <a:gd name="T3" fmla="*/ 8 h 48"/>
                <a:gd name="T4" fmla="*/ 64 w 64"/>
                <a:gd name="T5" fmla="*/ 16 h 48"/>
                <a:gd name="T6" fmla="*/ 56 w 64"/>
                <a:gd name="T7" fmla="*/ 24 h 48"/>
                <a:gd name="T8" fmla="*/ 56 w 64"/>
                <a:gd name="T9" fmla="*/ 40 h 48"/>
                <a:gd name="T10" fmla="*/ 48 w 64"/>
                <a:gd name="T11" fmla="*/ 40 h 48"/>
                <a:gd name="T12" fmla="*/ 56 w 64"/>
                <a:gd name="T13" fmla="*/ 48 h 48"/>
                <a:gd name="T14" fmla="*/ 40 w 64"/>
                <a:gd name="T15" fmla="*/ 40 h 48"/>
                <a:gd name="T16" fmla="*/ 40 w 64"/>
                <a:gd name="T17" fmla="*/ 32 h 48"/>
                <a:gd name="T18" fmla="*/ 24 w 64"/>
                <a:gd name="T19" fmla="*/ 40 h 48"/>
                <a:gd name="T20" fmla="*/ 16 w 64"/>
                <a:gd name="T21" fmla="*/ 24 h 48"/>
                <a:gd name="T22" fmla="*/ 8 w 64"/>
                <a:gd name="T23" fmla="*/ 24 h 48"/>
                <a:gd name="T24" fmla="*/ 8 w 64"/>
                <a:gd name="T25" fmla="*/ 16 h 48"/>
                <a:gd name="T26" fmla="*/ 0 w 64"/>
                <a:gd name="T27" fmla="*/ 8 h 48"/>
                <a:gd name="T28" fmla="*/ 0 w 64"/>
                <a:gd name="T29" fmla="*/ 0 h 48"/>
                <a:gd name="T30" fmla="*/ 16 w 64"/>
                <a:gd name="T31" fmla="*/ 8 h 48"/>
                <a:gd name="T32" fmla="*/ 8 w 64"/>
                <a:gd name="T33" fmla="*/ 0 h 48"/>
                <a:gd name="T34" fmla="*/ 16 w 64"/>
                <a:gd name="T35" fmla="*/ 0 h 48"/>
                <a:gd name="T36" fmla="*/ 24 w 64"/>
                <a:gd name="T37" fmla="*/ 8 h 48"/>
                <a:gd name="T38" fmla="*/ 32 w 64"/>
                <a:gd name="T39" fmla="*/ 8 h 48"/>
                <a:gd name="T40" fmla="*/ 40 w 64"/>
                <a:gd name="T41" fmla="*/ 0 h 4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4" h="48">
                  <a:moveTo>
                    <a:pt x="40" y="0"/>
                  </a:moveTo>
                  <a:lnTo>
                    <a:pt x="48" y="8"/>
                  </a:lnTo>
                  <a:lnTo>
                    <a:pt x="64" y="16"/>
                  </a:lnTo>
                  <a:lnTo>
                    <a:pt x="56" y="24"/>
                  </a:lnTo>
                  <a:lnTo>
                    <a:pt x="56" y="40"/>
                  </a:lnTo>
                  <a:lnTo>
                    <a:pt x="48" y="40"/>
                  </a:lnTo>
                  <a:lnTo>
                    <a:pt x="56" y="48"/>
                  </a:lnTo>
                  <a:lnTo>
                    <a:pt x="40" y="40"/>
                  </a:lnTo>
                  <a:lnTo>
                    <a:pt x="40" y="32"/>
                  </a:lnTo>
                  <a:lnTo>
                    <a:pt x="24" y="40"/>
                  </a:lnTo>
                  <a:lnTo>
                    <a:pt x="16" y="24"/>
                  </a:lnTo>
                  <a:lnTo>
                    <a:pt x="8" y="24"/>
                  </a:lnTo>
                  <a:lnTo>
                    <a:pt x="8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8"/>
                  </a:lnTo>
                  <a:lnTo>
                    <a:pt x="8" y="0"/>
                  </a:lnTo>
                  <a:lnTo>
                    <a:pt x="16" y="0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151" name="Freeform 129"/>
          <p:cNvSpPr>
            <a:spLocks noChangeAspect="1"/>
          </p:cNvSpPr>
          <p:nvPr/>
        </p:nvSpPr>
        <p:spPr bwMode="auto">
          <a:xfrm>
            <a:off x="1475804" y="2037516"/>
            <a:ext cx="52388" cy="33338"/>
          </a:xfrm>
          <a:custGeom>
            <a:avLst/>
            <a:gdLst>
              <a:gd name="T0" fmla="*/ 2147483647 w 24"/>
              <a:gd name="T1" fmla="*/ 0 h 16"/>
              <a:gd name="T2" fmla="*/ 0 w 24"/>
              <a:gd name="T3" fmla="*/ 2147483647 h 16"/>
              <a:gd name="T4" fmla="*/ 2147483647 w 24"/>
              <a:gd name="T5" fmla="*/ 2147483647 h 16"/>
              <a:gd name="T6" fmla="*/ 2147483647 w 24"/>
              <a:gd name="T7" fmla="*/ 2147483647 h 16"/>
              <a:gd name="T8" fmla="*/ 2147483647 w 24"/>
              <a:gd name="T9" fmla="*/ 0 h 16"/>
              <a:gd name="T10" fmla="*/ 2147483647 w 24"/>
              <a:gd name="T11" fmla="*/ 0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4" h="16">
                <a:moveTo>
                  <a:pt x="8" y="0"/>
                </a:moveTo>
                <a:lnTo>
                  <a:pt x="0" y="8"/>
                </a:lnTo>
                <a:lnTo>
                  <a:pt x="8" y="16"/>
                </a:lnTo>
                <a:lnTo>
                  <a:pt x="24" y="16"/>
                </a:lnTo>
                <a:lnTo>
                  <a:pt x="24" y="0"/>
                </a:lnTo>
                <a:lnTo>
                  <a:pt x="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2" name="Freeform 130"/>
          <p:cNvSpPr>
            <a:spLocks noChangeAspect="1"/>
          </p:cNvSpPr>
          <p:nvPr/>
        </p:nvSpPr>
        <p:spPr bwMode="auto">
          <a:xfrm>
            <a:off x="1883792" y="1972429"/>
            <a:ext cx="71437" cy="84137"/>
          </a:xfrm>
          <a:custGeom>
            <a:avLst/>
            <a:gdLst>
              <a:gd name="T0" fmla="*/ 2147483647 w 32"/>
              <a:gd name="T1" fmla="*/ 2147483647 h 40"/>
              <a:gd name="T2" fmla="*/ 2147483647 w 32"/>
              <a:gd name="T3" fmla="*/ 2147483647 h 40"/>
              <a:gd name="T4" fmla="*/ 2147483647 w 32"/>
              <a:gd name="T5" fmla="*/ 2147483647 h 40"/>
              <a:gd name="T6" fmla="*/ 2147483647 w 32"/>
              <a:gd name="T7" fmla="*/ 2147483647 h 40"/>
              <a:gd name="T8" fmla="*/ 2147483647 w 32"/>
              <a:gd name="T9" fmla="*/ 2147483647 h 40"/>
              <a:gd name="T10" fmla="*/ 2147483647 w 32"/>
              <a:gd name="T11" fmla="*/ 0 h 40"/>
              <a:gd name="T12" fmla="*/ 2147483647 w 32"/>
              <a:gd name="T13" fmla="*/ 2147483647 h 40"/>
              <a:gd name="T14" fmla="*/ 0 w 32"/>
              <a:gd name="T15" fmla="*/ 2147483647 h 40"/>
              <a:gd name="T16" fmla="*/ 0 w 32"/>
              <a:gd name="T17" fmla="*/ 2147483647 h 40"/>
              <a:gd name="T18" fmla="*/ 2147483647 w 32"/>
              <a:gd name="T19" fmla="*/ 2147483647 h 40"/>
              <a:gd name="T20" fmla="*/ 2147483647 w 32"/>
              <a:gd name="T21" fmla="*/ 2147483647 h 4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2" h="40">
                <a:moveTo>
                  <a:pt x="8" y="40"/>
                </a:moveTo>
                <a:lnTo>
                  <a:pt x="16" y="40"/>
                </a:lnTo>
                <a:lnTo>
                  <a:pt x="24" y="24"/>
                </a:lnTo>
                <a:lnTo>
                  <a:pt x="32" y="16"/>
                </a:lnTo>
                <a:lnTo>
                  <a:pt x="24" y="16"/>
                </a:lnTo>
                <a:lnTo>
                  <a:pt x="24" y="0"/>
                </a:lnTo>
                <a:lnTo>
                  <a:pt x="8" y="8"/>
                </a:lnTo>
                <a:lnTo>
                  <a:pt x="0" y="16"/>
                </a:lnTo>
                <a:lnTo>
                  <a:pt x="0" y="24"/>
                </a:lnTo>
                <a:lnTo>
                  <a:pt x="8" y="32"/>
                </a:lnTo>
                <a:lnTo>
                  <a:pt x="8" y="4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3" name="Freeform 131"/>
          <p:cNvSpPr>
            <a:spLocks noChangeAspect="1"/>
          </p:cNvSpPr>
          <p:nvPr/>
        </p:nvSpPr>
        <p:spPr bwMode="auto">
          <a:xfrm>
            <a:off x="1812354" y="2189916"/>
            <a:ext cx="20638" cy="17463"/>
          </a:xfrm>
          <a:custGeom>
            <a:avLst/>
            <a:gdLst>
              <a:gd name="T0" fmla="*/ 0 w 8"/>
              <a:gd name="T1" fmla="*/ 2147483647 h 8"/>
              <a:gd name="T2" fmla="*/ 2147483647 w 8"/>
              <a:gd name="T3" fmla="*/ 0 h 8"/>
              <a:gd name="T4" fmla="*/ 2147483647 w 8"/>
              <a:gd name="T5" fmla="*/ 2147483647 h 8"/>
              <a:gd name="T6" fmla="*/ 0 w 8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8"/>
                </a:moveTo>
                <a:lnTo>
                  <a:pt x="8" y="0"/>
                </a:lnTo>
                <a:lnTo>
                  <a:pt x="8" y="8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4" name="Freeform 132"/>
          <p:cNvSpPr>
            <a:spLocks noChangeAspect="1"/>
          </p:cNvSpPr>
          <p:nvPr/>
        </p:nvSpPr>
        <p:spPr bwMode="auto">
          <a:xfrm>
            <a:off x="1812354" y="2189916"/>
            <a:ext cx="20638" cy="17463"/>
          </a:xfrm>
          <a:custGeom>
            <a:avLst/>
            <a:gdLst>
              <a:gd name="T0" fmla="*/ 0 w 8"/>
              <a:gd name="T1" fmla="*/ 2147483647 h 8"/>
              <a:gd name="T2" fmla="*/ 2147483647 w 8"/>
              <a:gd name="T3" fmla="*/ 0 h 8"/>
              <a:gd name="T4" fmla="*/ 2147483647 w 8"/>
              <a:gd name="T5" fmla="*/ 2147483647 h 8"/>
              <a:gd name="T6" fmla="*/ 0 w 8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8"/>
                </a:moveTo>
                <a:lnTo>
                  <a:pt x="8" y="0"/>
                </a:lnTo>
                <a:lnTo>
                  <a:pt x="8" y="8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5" name="Freeform 133"/>
          <p:cNvSpPr>
            <a:spLocks noChangeAspect="1"/>
          </p:cNvSpPr>
          <p:nvPr/>
        </p:nvSpPr>
        <p:spPr bwMode="auto">
          <a:xfrm>
            <a:off x="1918717" y="2223254"/>
            <a:ext cx="195262" cy="84137"/>
          </a:xfrm>
          <a:custGeom>
            <a:avLst/>
            <a:gdLst>
              <a:gd name="T0" fmla="*/ 0 w 88"/>
              <a:gd name="T1" fmla="*/ 2147483647 h 40"/>
              <a:gd name="T2" fmla="*/ 0 w 88"/>
              <a:gd name="T3" fmla="*/ 2147483647 h 40"/>
              <a:gd name="T4" fmla="*/ 2147483647 w 88"/>
              <a:gd name="T5" fmla="*/ 2147483647 h 40"/>
              <a:gd name="T6" fmla="*/ 2147483647 w 88"/>
              <a:gd name="T7" fmla="*/ 2147483647 h 40"/>
              <a:gd name="T8" fmla="*/ 2147483647 w 88"/>
              <a:gd name="T9" fmla="*/ 2147483647 h 40"/>
              <a:gd name="T10" fmla="*/ 2147483647 w 88"/>
              <a:gd name="T11" fmla="*/ 2147483647 h 40"/>
              <a:gd name="T12" fmla="*/ 2147483647 w 88"/>
              <a:gd name="T13" fmla="*/ 2147483647 h 40"/>
              <a:gd name="T14" fmla="*/ 2147483647 w 88"/>
              <a:gd name="T15" fmla="*/ 2147483647 h 40"/>
              <a:gd name="T16" fmla="*/ 2147483647 w 88"/>
              <a:gd name="T17" fmla="*/ 2147483647 h 40"/>
              <a:gd name="T18" fmla="*/ 2147483647 w 88"/>
              <a:gd name="T19" fmla="*/ 0 h 40"/>
              <a:gd name="T20" fmla="*/ 2147483647 w 88"/>
              <a:gd name="T21" fmla="*/ 2147483647 h 40"/>
              <a:gd name="T22" fmla="*/ 2147483647 w 88"/>
              <a:gd name="T23" fmla="*/ 2147483647 h 40"/>
              <a:gd name="T24" fmla="*/ 2147483647 w 88"/>
              <a:gd name="T25" fmla="*/ 2147483647 h 40"/>
              <a:gd name="T26" fmla="*/ 2147483647 w 88"/>
              <a:gd name="T27" fmla="*/ 2147483647 h 40"/>
              <a:gd name="T28" fmla="*/ 0 w 88"/>
              <a:gd name="T29" fmla="*/ 2147483647 h 4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88" h="40">
                <a:moveTo>
                  <a:pt x="0" y="24"/>
                </a:moveTo>
                <a:lnTo>
                  <a:pt x="0" y="32"/>
                </a:lnTo>
                <a:lnTo>
                  <a:pt x="8" y="32"/>
                </a:lnTo>
                <a:lnTo>
                  <a:pt x="24" y="32"/>
                </a:lnTo>
                <a:lnTo>
                  <a:pt x="32" y="32"/>
                </a:lnTo>
                <a:lnTo>
                  <a:pt x="48" y="40"/>
                </a:lnTo>
                <a:lnTo>
                  <a:pt x="72" y="32"/>
                </a:lnTo>
                <a:lnTo>
                  <a:pt x="88" y="16"/>
                </a:lnTo>
                <a:lnTo>
                  <a:pt x="80" y="8"/>
                </a:lnTo>
                <a:lnTo>
                  <a:pt x="64" y="0"/>
                </a:lnTo>
                <a:lnTo>
                  <a:pt x="56" y="8"/>
                </a:lnTo>
                <a:lnTo>
                  <a:pt x="48" y="8"/>
                </a:lnTo>
                <a:lnTo>
                  <a:pt x="32" y="16"/>
                </a:lnTo>
                <a:lnTo>
                  <a:pt x="4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6" name="Freeform 134"/>
          <p:cNvSpPr>
            <a:spLocks noChangeAspect="1"/>
          </p:cNvSpPr>
          <p:nvPr/>
        </p:nvSpPr>
        <p:spPr bwMode="auto">
          <a:xfrm>
            <a:off x="1812354" y="2272466"/>
            <a:ext cx="123825" cy="52388"/>
          </a:xfrm>
          <a:custGeom>
            <a:avLst/>
            <a:gdLst>
              <a:gd name="T0" fmla="*/ 2147483647 w 56"/>
              <a:gd name="T1" fmla="*/ 2147483647 h 24"/>
              <a:gd name="T2" fmla="*/ 2147483647 w 56"/>
              <a:gd name="T3" fmla="*/ 2147483647 h 24"/>
              <a:gd name="T4" fmla="*/ 2147483647 w 56"/>
              <a:gd name="T5" fmla="*/ 2147483647 h 24"/>
              <a:gd name="T6" fmla="*/ 0 w 56"/>
              <a:gd name="T7" fmla="*/ 2147483647 h 24"/>
              <a:gd name="T8" fmla="*/ 2147483647 w 56"/>
              <a:gd name="T9" fmla="*/ 0 h 24"/>
              <a:gd name="T10" fmla="*/ 2147483647 w 56"/>
              <a:gd name="T11" fmla="*/ 0 h 24"/>
              <a:gd name="T12" fmla="*/ 2147483647 w 56"/>
              <a:gd name="T13" fmla="*/ 0 h 24"/>
              <a:gd name="T14" fmla="*/ 2147483647 w 56"/>
              <a:gd name="T15" fmla="*/ 2147483647 h 24"/>
              <a:gd name="T16" fmla="*/ 2147483647 w 56"/>
              <a:gd name="T17" fmla="*/ 2147483647 h 24"/>
              <a:gd name="T18" fmla="*/ 2147483647 w 56"/>
              <a:gd name="T19" fmla="*/ 2147483647 h 24"/>
              <a:gd name="T20" fmla="*/ 2147483647 w 56"/>
              <a:gd name="T21" fmla="*/ 2147483647 h 24"/>
              <a:gd name="T22" fmla="*/ 2147483647 w 56"/>
              <a:gd name="T23" fmla="*/ 2147483647 h 24"/>
              <a:gd name="T24" fmla="*/ 2147483647 w 56"/>
              <a:gd name="T25" fmla="*/ 2147483647 h 24"/>
              <a:gd name="T26" fmla="*/ 2147483647 w 56"/>
              <a:gd name="T27" fmla="*/ 2147483647 h 2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6" h="24">
                <a:moveTo>
                  <a:pt x="16" y="24"/>
                </a:moveTo>
                <a:lnTo>
                  <a:pt x="8" y="16"/>
                </a:lnTo>
                <a:lnTo>
                  <a:pt x="8" y="24"/>
                </a:lnTo>
                <a:lnTo>
                  <a:pt x="0" y="16"/>
                </a:lnTo>
                <a:lnTo>
                  <a:pt x="16" y="0"/>
                </a:lnTo>
                <a:lnTo>
                  <a:pt x="24" y="0"/>
                </a:lnTo>
                <a:lnTo>
                  <a:pt x="48" y="0"/>
                </a:lnTo>
                <a:lnTo>
                  <a:pt x="48" y="8"/>
                </a:lnTo>
                <a:lnTo>
                  <a:pt x="56" y="8"/>
                </a:lnTo>
                <a:lnTo>
                  <a:pt x="48" y="16"/>
                </a:lnTo>
                <a:lnTo>
                  <a:pt x="40" y="16"/>
                </a:lnTo>
                <a:lnTo>
                  <a:pt x="40" y="24"/>
                </a:lnTo>
                <a:lnTo>
                  <a:pt x="32" y="16"/>
                </a:lnTo>
                <a:lnTo>
                  <a:pt x="16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7" name="Freeform 135"/>
          <p:cNvSpPr>
            <a:spLocks noChangeAspect="1"/>
          </p:cNvSpPr>
          <p:nvPr/>
        </p:nvSpPr>
        <p:spPr bwMode="auto">
          <a:xfrm>
            <a:off x="2187004" y="2423279"/>
            <a:ext cx="36513" cy="101600"/>
          </a:xfrm>
          <a:custGeom>
            <a:avLst/>
            <a:gdLst>
              <a:gd name="T0" fmla="*/ 2147483647 w 16"/>
              <a:gd name="T1" fmla="*/ 2147483647 h 48"/>
              <a:gd name="T2" fmla="*/ 2147483647 w 16"/>
              <a:gd name="T3" fmla="*/ 2147483647 h 48"/>
              <a:gd name="T4" fmla="*/ 2147483647 w 16"/>
              <a:gd name="T5" fmla="*/ 2147483647 h 48"/>
              <a:gd name="T6" fmla="*/ 0 w 16"/>
              <a:gd name="T7" fmla="*/ 2147483647 h 48"/>
              <a:gd name="T8" fmla="*/ 0 w 16"/>
              <a:gd name="T9" fmla="*/ 2147483647 h 48"/>
              <a:gd name="T10" fmla="*/ 0 w 16"/>
              <a:gd name="T11" fmla="*/ 0 h 48"/>
              <a:gd name="T12" fmla="*/ 2147483647 w 16"/>
              <a:gd name="T13" fmla="*/ 0 h 48"/>
              <a:gd name="T14" fmla="*/ 2147483647 w 16"/>
              <a:gd name="T15" fmla="*/ 2147483647 h 4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6" h="48">
                <a:moveTo>
                  <a:pt x="8" y="16"/>
                </a:moveTo>
                <a:lnTo>
                  <a:pt x="16" y="32"/>
                </a:lnTo>
                <a:lnTo>
                  <a:pt x="8" y="48"/>
                </a:lnTo>
                <a:lnTo>
                  <a:pt x="0" y="40"/>
                </a:lnTo>
                <a:lnTo>
                  <a:pt x="0" y="16"/>
                </a:lnTo>
                <a:lnTo>
                  <a:pt x="0" y="0"/>
                </a:lnTo>
                <a:lnTo>
                  <a:pt x="8" y="0"/>
                </a:lnTo>
                <a:lnTo>
                  <a:pt x="8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8" name="Freeform 136"/>
          <p:cNvSpPr>
            <a:spLocks noChangeAspect="1"/>
          </p:cNvSpPr>
          <p:nvPr/>
        </p:nvSpPr>
        <p:spPr bwMode="auto">
          <a:xfrm>
            <a:off x="2079054" y="2239129"/>
            <a:ext cx="177800" cy="85725"/>
          </a:xfrm>
          <a:custGeom>
            <a:avLst/>
            <a:gdLst>
              <a:gd name="T0" fmla="*/ 2147483647 w 80"/>
              <a:gd name="T1" fmla="*/ 2147483647 h 40"/>
              <a:gd name="T2" fmla="*/ 2147483647 w 80"/>
              <a:gd name="T3" fmla="*/ 2147483647 h 40"/>
              <a:gd name="T4" fmla="*/ 2147483647 w 80"/>
              <a:gd name="T5" fmla="*/ 2147483647 h 40"/>
              <a:gd name="T6" fmla="*/ 2147483647 w 80"/>
              <a:gd name="T7" fmla="*/ 2147483647 h 40"/>
              <a:gd name="T8" fmla="*/ 2147483647 w 80"/>
              <a:gd name="T9" fmla="*/ 2147483647 h 40"/>
              <a:gd name="T10" fmla="*/ 2147483647 w 80"/>
              <a:gd name="T11" fmla="*/ 2147483647 h 40"/>
              <a:gd name="T12" fmla="*/ 2147483647 w 80"/>
              <a:gd name="T13" fmla="*/ 2147483647 h 40"/>
              <a:gd name="T14" fmla="*/ 2147483647 w 80"/>
              <a:gd name="T15" fmla="*/ 0 h 40"/>
              <a:gd name="T16" fmla="*/ 2147483647 w 80"/>
              <a:gd name="T17" fmla="*/ 0 h 40"/>
              <a:gd name="T18" fmla="*/ 2147483647 w 80"/>
              <a:gd name="T19" fmla="*/ 2147483647 h 40"/>
              <a:gd name="T20" fmla="*/ 2147483647 w 80"/>
              <a:gd name="T21" fmla="*/ 2147483647 h 40"/>
              <a:gd name="T22" fmla="*/ 0 w 80"/>
              <a:gd name="T23" fmla="*/ 2147483647 h 40"/>
              <a:gd name="T24" fmla="*/ 2147483647 w 80"/>
              <a:gd name="T25" fmla="*/ 2147483647 h 4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80" h="40">
                <a:moveTo>
                  <a:pt x="8" y="32"/>
                </a:moveTo>
                <a:lnTo>
                  <a:pt x="24" y="40"/>
                </a:lnTo>
                <a:lnTo>
                  <a:pt x="56" y="40"/>
                </a:lnTo>
                <a:lnTo>
                  <a:pt x="64" y="32"/>
                </a:lnTo>
                <a:lnTo>
                  <a:pt x="72" y="16"/>
                </a:lnTo>
                <a:lnTo>
                  <a:pt x="80" y="8"/>
                </a:lnTo>
                <a:lnTo>
                  <a:pt x="72" y="8"/>
                </a:lnTo>
                <a:lnTo>
                  <a:pt x="72" y="0"/>
                </a:lnTo>
                <a:lnTo>
                  <a:pt x="56" y="0"/>
                </a:lnTo>
                <a:lnTo>
                  <a:pt x="32" y="16"/>
                </a:lnTo>
                <a:lnTo>
                  <a:pt x="16" y="8"/>
                </a:lnTo>
                <a:lnTo>
                  <a:pt x="0" y="24"/>
                </a:lnTo>
                <a:lnTo>
                  <a:pt x="8" y="3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9" name="Freeform 137"/>
          <p:cNvSpPr>
            <a:spLocks noChangeAspect="1"/>
          </p:cNvSpPr>
          <p:nvPr/>
        </p:nvSpPr>
        <p:spPr bwMode="auto">
          <a:xfrm>
            <a:off x="2969642" y="2826504"/>
            <a:ext cx="55562" cy="49212"/>
          </a:xfrm>
          <a:custGeom>
            <a:avLst/>
            <a:gdLst>
              <a:gd name="T0" fmla="*/ 0 w 24"/>
              <a:gd name="T1" fmla="*/ 2147483647 h 24"/>
              <a:gd name="T2" fmla="*/ 2147483647 w 24"/>
              <a:gd name="T3" fmla="*/ 0 h 24"/>
              <a:gd name="T4" fmla="*/ 2147483647 w 24"/>
              <a:gd name="T5" fmla="*/ 0 h 24"/>
              <a:gd name="T6" fmla="*/ 2147483647 w 24"/>
              <a:gd name="T7" fmla="*/ 2147483647 h 24"/>
              <a:gd name="T8" fmla="*/ 2147483647 w 24"/>
              <a:gd name="T9" fmla="*/ 2147483647 h 24"/>
              <a:gd name="T10" fmla="*/ 2147483647 w 24"/>
              <a:gd name="T11" fmla="*/ 2147483647 h 24"/>
              <a:gd name="T12" fmla="*/ 0 w 24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" h="24">
                <a:moveTo>
                  <a:pt x="0" y="16"/>
                </a:moveTo>
                <a:lnTo>
                  <a:pt x="8" y="0"/>
                </a:lnTo>
                <a:lnTo>
                  <a:pt x="24" y="0"/>
                </a:lnTo>
                <a:lnTo>
                  <a:pt x="24" y="8"/>
                </a:lnTo>
                <a:lnTo>
                  <a:pt x="16" y="8"/>
                </a:lnTo>
                <a:lnTo>
                  <a:pt x="24" y="24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0" name="Freeform 138"/>
          <p:cNvSpPr>
            <a:spLocks noChangeAspect="1"/>
          </p:cNvSpPr>
          <p:nvPr/>
        </p:nvSpPr>
        <p:spPr bwMode="auto">
          <a:xfrm>
            <a:off x="2915667" y="2842379"/>
            <a:ext cx="53975" cy="17462"/>
          </a:xfrm>
          <a:custGeom>
            <a:avLst/>
            <a:gdLst>
              <a:gd name="T0" fmla="*/ 0 w 24"/>
              <a:gd name="T1" fmla="*/ 2147483647 h 8"/>
              <a:gd name="T2" fmla="*/ 2147483647 w 24"/>
              <a:gd name="T3" fmla="*/ 0 h 8"/>
              <a:gd name="T4" fmla="*/ 2147483647 w 24"/>
              <a:gd name="T5" fmla="*/ 2147483647 h 8"/>
              <a:gd name="T6" fmla="*/ 2147483647 w 24"/>
              <a:gd name="T7" fmla="*/ 2147483647 h 8"/>
              <a:gd name="T8" fmla="*/ 0 w 24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" h="8">
                <a:moveTo>
                  <a:pt x="0" y="8"/>
                </a:moveTo>
                <a:lnTo>
                  <a:pt x="8" y="0"/>
                </a:lnTo>
                <a:lnTo>
                  <a:pt x="24" y="8"/>
                </a:lnTo>
                <a:lnTo>
                  <a:pt x="8" y="8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1" name="Freeform 139"/>
          <p:cNvSpPr>
            <a:spLocks noChangeAspect="1"/>
          </p:cNvSpPr>
          <p:nvPr/>
        </p:nvSpPr>
        <p:spPr bwMode="auto">
          <a:xfrm>
            <a:off x="1261492" y="2640766"/>
            <a:ext cx="338137" cy="252413"/>
          </a:xfrm>
          <a:custGeom>
            <a:avLst/>
            <a:gdLst>
              <a:gd name="T0" fmla="*/ 2147483647 w 152"/>
              <a:gd name="T1" fmla="*/ 2147483647 h 120"/>
              <a:gd name="T2" fmla="*/ 2147483647 w 152"/>
              <a:gd name="T3" fmla="*/ 2147483647 h 120"/>
              <a:gd name="T4" fmla="*/ 2147483647 w 152"/>
              <a:gd name="T5" fmla="*/ 2147483647 h 120"/>
              <a:gd name="T6" fmla="*/ 2147483647 w 152"/>
              <a:gd name="T7" fmla="*/ 2147483647 h 120"/>
              <a:gd name="T8" fmla="*/ 2147483647 w 152"/>
              <a:gd name="T9" fmla="*/ 2147483647 h 120"/>
              <a:gd name="T10" fmla="*/ 2147483647 w 152"/>
              <a:gd name="T11" fmla="*/ 2147483647 h 120"/>
              <a:gd name="T12" fmla="*/ 2147483647 w 152"/>
              <a:gd name="T13" fmla="*/ 2147483647 h 120"/>
              <a:gd name="T14" fmla="*/ 2147483647 w 152"/>
              <a:gd name="T15" fmla="*/ 2147483647 h 120"/>
              <a:gd name="T16" fmla="*/ 0 w 152"/>
              <a:gd name="T17" fmla="*/ 2147483647 h 120"/>
              <a:gd name="T18" fmla="*/ 2147483647 w 152"/>
              <a:gd name="T19" fmla="*/ 2147483647 h 120"/>
              <a:gd name="T20" fmla="*/ 2147483647 w 152"/>
              <a:gd name="T21" fmla="*/ 2147483647 h 120"/>
              <a:gd name="T22" fmla="*/ 2147483647 w 152"/>
              <a:gd name="T23" fmla="*/ 2147483647 h 120"/>
              <a:gd name="T24" fmla="*/ 2147483647 w 152"/>
              <a:gd name="T25" fmla="*/ 2147483647 h 120"/>
              <a:gd name="T26" fmla="*/ 2147483647 w 152"/>
              <a:gd name="T27" fmla="*/ 2147483647 h 120"/>
              <a:gd name="T28" fmla="*/ 2147483647 w 152"/>
              <a:gd name="T29" fmla="*/ 2147483647 h 120"/>
              <a:gd name="T30" fmla="*/ 2147483647 w 152"/>
              <a:gd name="T31" fmla="*/ 2147483647 h 120"/>
              <a:gd name="T32" fmla="*/ 2147483647 w 152"/>
              <a:gd name="T33" fmla="*/ 0 h 120"/>
              <a:gd name="T34" fmla="*/ 2147483647 w 152"/>
              <a:gd name="T35" fmla="*/ 0 h 120"/>
              <a:gd name="T36" fmla="*/ 2147483647 w 152"/>
              <a:gd name="T37" fmla="*/ 2147483647 h 120"/>
              <a:gd name="T38" fmla="*/ 2147483647 w 152"/>
              <a:gd name="T39" fmla="*/ 2147483647 h 120"/>
              <a:gd name="T40" fmla="*/ 2147483647 w 152"/>
              <a:gd name="T41" fmla="*/ 2147483647 h 120"/>
              <a:gd name="T42" fmla="*/ 2147483647 w 152"/>
              <a:gd name="T43" fmla="*/ 2147483647 h 12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52" h="120">
                <a:moveTo>
                  <a:pt x="152" y="16"/>
                </a:moveTo>
                <a:lnTo>
                  <a:pt x="152" y="56"/>
                </a:lnTo>
                <a:lnTo>
                  <a:pt x="120" y="64"/>
                </a:lnTo>
                <a:lnTo>
                  <a:pt x="120" y="72"/>
                </a:lnTo>
                <a:lnTo>
                  <a:pt x="104" y="88"/>
                </a:lnTo>
                <a:lnTo>
                  <a:pt x="64" y="96"/>
                </a:lnTo>
                <a:lnTo>
                  <a:pt x="56" y="104"/>
                </a:lnTo>
                <a:lnTo>
                  <a:pt x="56" y="120"/>
                </a:lnTo>
                <a:lnTo>
                  <a:pt x="0" y="120"/>
                </a:lnTo>
                <a:lnTo>
                  <a:pt x="24" y="112"/>
                </a:lnTo>
                <a:lnTo>
                  <a:pt x="40" y="96"/>
                </a:lnTo>
                <a:lnTo>
                  <a:pt x="48" y="80"/>
                </a:lnTo>
                <a:lnTo>
                  <a:pt x="48" y="64"/>
                </a:lnTo>
                <a:lnTo>
                  <a:pt x="56" y="48"/>
                </a:lnTo>
                <a:lnTo>
                  <a:pt x="64" y="40"/>
                </a:lnTo>
                <a:lnTo>
                  <a:pt x="88" y="24"/>
                </a:lnTo>
                <a:lnTo>
                  <a:pt x="96" y="0"/>
                </a:lnTo>
                <a:lnTo>
                  <a:pt x="104" y="0"/>
                </a:lnTo>
                <a:lnTo>
                  <a:pt x="112" y="8"/>
                </a:lnTo>
                <a:lnTo>
                  <a:pt x="136" y="8"/>
                </a:lnTo>
                <a:lnTo>
                  <a:pt x="144" y="8"/>
                </a:lnTo>
                <a:lnTo>
                  <a:pt x="152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2" name="Freeform 140"/>
          <p:cNvSpPr>
            <a:spLocks noChangeAspect="1"/>
          </p:cNvSpPr>
          <p:nvPr/>
        </p:nvSpPr>
        <p:spPr bwMode="auto">
          <a:xfrm>
            <a:off x="2861692" y="3380541"/>
            <a:ext cx="53975" cy="49213"/>
          </a:xfrm>
          <a:custGeom>
            <a:avLst/>
            <a:gdLst>
              <a:gd name="T0" fmla="*/ 2147483647 w 24"/>
              <a:gd name="T1" fmla="*/ 2147483647 h 24"/>
              <a:gd name="T2" fmla="*/ 2147483647 w 24"/>
              <a:gd name="T3" fmla="*/ 2147483647 h 24"/>
              <a:gd name="T4" fmla="*/ 2147483647 w 24"/>
              <a:gd name="T5" fmla="*/ 0 h 24"/>
              <a:gd name="T6" fmla="*/ 2147483647 w 24"/>
              <a:gd name="T7" fmla="*/ 2147483647 h 24"/>
              <a:gd name="T8" fmla="*/ 0 w 24"/>
              <a:gd name="T9" fmla="*/ 2147483647 h 24"/>
              <a:gd name="T10" fmla="*/ 2147483647 w 24"/>
              <a:gd name="T11" fmla="*/ 2147483647 h 24"/>
              <a:gd name="T12" fmla="*/ 2147483647 w 24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" h="24">
                <a:moveTo>
                  <a:pt x="16" y="16"/>
                </a:moveTo>
                <a:lnTo>
                  <a:pt x="24" y="8"/>
                </a:lnTo>
                <a:lnTo>
                  <a:pt x="16" y="0"/>
                </a:lnTo>
                <a:lnTo>
                  <a:pt x="8" y="8"/>
                </a:lnTo>
                <a:lnTo>
                  <a:pt x="0" y="24"/>
                </a:lnTo>
                <a:lnTo>
                  <a:pt x="16" y="24"/>
                </a:lnTo>
                <a:lnTo>
                  <a:pt x="16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3" name="Freeform 141"/>
          <p:cNvSpPr>
            <a:spLocks noChangeAspect="1"/>
          </p:cNvSpPr>
          <p:nvPr/>
        </p:nvSpPr>
        <p:spPr bwMode="auto">
          <a:xfrm>
            <a:off x="2845817" y="3396416"/>
            <a:ext cx="301625" cy="433388"/>
          </a:xfrm>
          <a:custGeom>
            <a:avLst/>
            <a:gdLst>
              <a:gd name="T0" fmla="*/ 2147483647 w 136"/>
              <a:gd name="T1" fmla="*/ 2147483647 h 208"/>
              <a:gd name="T2" fmla="*/ 0 w 136"/>
              <a:gd name="T3" fmla="*/ 2147483647 h 208"/>
              <a:gd name="T4" fmla="*/ 0 w 136"/>
              <a:gd name="T5" fmla="*/ 2147483647 h 208"/>
              <a:gd name="T6" fmla="*/ 2147483647 w 136"/>
              <a:gd name="T7" fmla="*/ 2147483647 h 208"/>
              <a:gd name="T8" fmla="*/ 2147483647 w 136"/>
              <a:gd name="T9" fmla="*/ 2147483647 h 208"/>
              <a:gd name="T10" fmla="*/ 2147483647 w 136"/>
              <a:gd name="T11" fmla="*/ 2147483647 h 208"/>
              <a:gd name="T12" fmla="*/ 2147483647 w 136"/>
              <a:gd name="T13" fmla="*/ 2147483647 h 208"/>
              <a:gd name="T14" fmla="*/ 2147483647 w 136"/>
              <a:gd name="T15" fmla="*/ 2147483647 h 208"/>
              <a:gd name="T16" fmla="*/ 2147483647 w 136"/>
              <a:gd name="T17" fmla="*/ 2147483647 h 208"/>
              <a:gd name="T18" fmla="*/ 2147483647 w 136"/>
              <a:gd name="T19" fmla="*/ 2147483647 h 208"/>
              <a:gd name="T20" fmla="*/ 2147483647 w 136"/>
              <a:gd name="T21" fmla="*/ 0 h 208"/>
              <a:gd name="T22" fmla="*/ 2147483647 w 136"/>
              <a:gd name="T23" fmla="*/ 2147483647 h 208"/>
              <a:gd name="T24" fmla="*/ 2147483647 w 136"/>
              <a:gd name="T25" fmla="*/ 2147483647 h 208"/>
              <a:gd name="T26" fmla="*/ 2147483647 w 136"/>
              <a:gd name="T27" fmla="*/ 2147483647 h 208"/>
              <a:gd name="T28" fmla="*/ 2147483647 w 136"/>
              <a:gd name="T29" fmla="*/ 2147483647 h 208"/>
              <a:gd name="T30" fmla="*/ 2147483647 w 136"/>
              <a:gd name="T31" fmla="*/ 2147483647 h 208"/>
              <a:gd name="T32" fmla="*/ 2147483647 w 136"/>
              <a:gd name="T33" fmla="*/ 2147483647 h 208"/>
              <a:gd name="T34" fmla="*/ 2147483647 w 136"/>
              <a:gd name="T35" fmla="*/ 2147483647 h 208"/>
              <a:gd name="T36" fmla="*/ 2147483647 w 136"/>
              <a:gd name="T37" fmla="*/ 2147483647 h 208"/>
              <a:gd name="T38" fmla="*/ 2147483647 w 136"/>
              <a:gd name="T39" fmla="*/ 2147483647 h 208"/>
              <a:gd name="T40" fmla="*/ 2147483647 w 136"/>
              <a:gd name="T41" fmla="*/ 2147483647 h 208"/>
              <a:gd name="T42" fmla="*/ 2147483647 w 136"/>
              <a:gd name="T43" fmla="*/ 2147483647 h 208"/>
              <a:gd name="T44" fmla="*/ 2147483647 w 136"/>
              <a:gd name="T45" fmla="*/ 2147483647 h 208"/>
              <a:gd name="T46" fmla="*/ 2147483647 w 136"/>
              <a:gd name="T47" fmla="*/ 2147483647 h 208"/>
              <a:gd name="T48" fmla="*/ 2147483647 w 136"/>
              <a:gd name="T49" fmla="*/ 2147483647 h 20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36" h="208">
                <a:moveTo>
                  <a:pt x="8" y="120"/>
                </a:moveTo>
                <a:lnTo>
                  <a:pt x="0" y="144"/>
                </a:lnTo>
                <a:lnTo>
                  <a:pt x="0" y="192"/>
                </a:lnTo>
                <a:lnTo>
                  <a:pt x="8" y="208"/>
                </a:lnTo>
                <a:lnTo>
                  <a:pt x="32" y="176"/>
                </a:lnTo>
                <a:lnTo>
                  <a:pt x="72" y="144"/>
                </a:lnTo>
                <a:lnTo>
                  <a:pt x="88" y="120"/>
                </a:lnTo>
                <a:lnTo>
                  <a:pt x="104" y="96"/>
                </a:lnTo>
                <a:lnTo>
                  <a:pt x="128" y="24"/>
                </a:lnTo>
                <a:lnTo>
                  <a:pt x="136" y="8"/>
                </a:lnTo>
                <a:lnTo>
                  <a:pt x="128" y="0"/>
                </a:lnTo>
                <a:lnTo>
                  <a:pt x="120" y="8"/>
                </a:lnTo>
                <a:lnTo>
                  <a:pt x="104" y="16"/>
                </a:lnTo>
                <a:lnTo>
                  <a:pt x="80" y="16"/>
                </a:lnTo>
                <a:lnTo>
                  <a:pt x="48" y="24"/>
                </a:lnTo>
                <a:lnTo>
                  <a:pt x="40" y="24"/>
                </a:lnTo>
                <a:lnTo>
                  <a:pt x="24" y="8"/>
                </a:lnTo>
                <a:lnTo>
                  <a:pt x="24" y="16"/>
                </a:lnTo>
                <a:lnTo>
                  <a:pt x="24" y="24"/>
                </a:lnTo>
                <a:lnTo>
                  <a:pt x="40" y="48"/>
                </a:lnTo>
                <a:lnTo>
                  <a:pt x="80" y="64"/>
                </a:lnTo>
                <a:lnTo>
                  <a:pt x="88" y="64"/>
                </a:lnTo>
                <a:lnTo>
                  <a:pt x="56" y="104"/>
                </a:lnTo>
                <a:lnTo>
                  <a:pt x="32" y="112"/>
                </a:lnTo>
                <a:lnTo>
                  <a:pt x="8" y="12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4" name="Freeform 142"/>
          <p:cNvSpPr>
            <a:spLocks noChangeAspect="1"/>
          </p:cNvSpPr>
          <p:nvPr/>
        </p:nvSpPr>
        <p:spPr bwMode="auto">
          <a:xfrm>
            <a:off x="1137667" y="3328154"/>
            <a:ext cx="90487" cy="33337"/>
          </a:xfrm>
          <a:custGeom>
            <a:avLst/>
            <a:gdLst>
              <a:gd name="T0" fmla="*/ 0 w 40"/>
              <a:gd name="T1" fmla="*/ 2147483647 h 16"/>
              <a:gd name="T2" fmla="*/ 2147483647 w 40"/>
              <a:gd name="T3" fmla="*/ 2147483647 h 16"/>
              <a:gd name="T4" fmla="*/ 2147483647 w 40"/>
              <a:gd name="T5" fmla="*/ 2147483647 h 16"/>
              <a:gd name="T6" fmla="*/ 2147483647 w 40"/>
              <a:gd name="T7" fmla="*/ 2147483647 h 16"/>
              <a:gd name="T8" fmla="*/ 2147483647 w 40"/>
              <a:gd name="T9" fmla="*/ 0 h 16"/>
              <a:gd name="T10" fmla="*/ 0 w 40"/>
              <a:gd name="T11" fmla="*/ 2147483647 h 16"/>
              <a:gd name="T12" fmla="*/ 0 w 40"/>
              <a:gd name="T13" fmla="*/ 2147483647 h 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0" h="16">
                <a:moveTo>
                  <a:pt x="0" y="16"/>
                </a:moveTo>
                <a:lnTo>
                  <a:pt x="16" y="8"/>
                </a:lnTo>
                <a:lnTo>
                  <a:pt x="32" y="16"/>
                </a:lnTo>
                <a:lnTo>
                  <a:pt x="40" y="8"/>
                </a:lnTo>
                <a:lnTo>
                  <a:pt x="16" y="0"/>
                </a:lnTo>
                <a:lnTo>
                  <a:pt x="0" y="8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5" name="Freeform 143"/>
          <p:cNvSpPr>
            <a:spLocks noChangeAspect="1"/>
          </p:cNvSpPr>
          <p:nvPr/>
        </p:nvSpPr>
        <p:spPr bwMode="auto">
          <a:xfrm>
            <a:off x="1137667" y="3380541"/>
            <a:ext cx="90487" cy="49213"/>
          </a:xfrm>
          <a:custGeom>
            <a:avLst/>
            <a:gdLst>
              <a:gd name="T0" fmla="*/ 2147483647 w 40"/>
              <a:gd name="T1" fmla="*/ 0 h 24"/>
              <a:gd name="T2" fmla="*/ 2147483647 w 40"/>
              <a:gd name="T3" fmla="*/ 2147483647 h 24"/>
              <a:gd name="T4" fmla="*/ 2147483647 w 40"/>
              <a:gd name="T5" fmla="*/ 2147483647 h 24"/>
              <a:gd name="T6" fmla="*/ 2147483647 w 40"/>
              <a:gd name="T7" fmla="*/ 2147483647 h 24"/>
              <a:gd name="T8" fmla="*/ 2147483647 w 40"/>
              <a:gd name="T9" fmla="*/ 2147483647 h 24"/>
              <a:gd name="T10" fmla="*/ 2147483647 w 40"/>
              <a:gd name="T11" fmla="*/ 2147483647 h 24"/>
              <a:gd name="T12" fmla="*/ 2147483647 w 40"/>
              <a:gd name="T13" fmla="*/ 2147483647 h 24"/>
              <a:gd name="T14" fmla="*/ 0 w 40"/>
              <a:gd name="T15" fmla="*/ 0 h 24"/>
              <a:gd name="T16" fmla="*/ 2147483647 w 4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24">
                <a:moveTo>
                  <a:pt x="40" y="0"/>
                </a:moveTo>
                <a:lnTo>
                  <a:pt x="40" y="16"/>
                </a:lnTo>
                <a:lnTo>
                  <a:pt x="24" y="16"/>
                </a:lnTo>
                <a:lnTo>
                  <a:pt x="24" y="24"/>
                </a:lnTo>
                <a:lnTo>
                  <a:pt x="16" y="24"/>
                </a:lnTo>
                <a:lnTo>
                  <a:pt x="16" y="8"/>
                </a:lnTo>
                <a:lnTo>
                  <a:pt x="8" y="8"/>
                </a:lnTo>
                <a:lnTo>
                  <a:pt x="0" y="0"/>
                </a:lnTo>
                <a:lnTo>
                  <a:pt x="4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6" name="Freeform 144"/>
          <p:cNvSpPr>
            <a:spLocks noChangeAspect="1"/>
          </p:cNvSpPr>
          <p:nvPr/>
        </p:nvSpPr>
        <p:spPr bwMode="auto">
          <a:xfrm>
            <a:off x="1228154" y="3463091"/>
            <a:ext cx="88900" cy="100013"/>
          </a:xfrm>
          <a:custGeom>
            <a:avLst/>
            <a:gdLst>
              <a:gd name="T0" fmla="*/ 0 w 40"/>
              <a:gd name="T1" fmla="*/ 2147483647 h 48"/>
              <a:gd name="T2" fmla="*/ 2147483647 w 40"/>
              <a:gd name="T3" fmla="*/ 2147483647 h 48"/>
              <a:gd name="T4" fmla="*/ 2147483647 w 40"/>
              <a:gd name="T5" fmla="*/ 2147483647 h 48"/>
              <a:gd name="T6" fmla="*/ 2147483647 w 40"/>
              <a:gd name="T7" fmla="*/ 2147483647 h 48"/>
              <a:gd name="T8" fmla="*/ 2147483647 w 40"/>
              <a:gd name="T9" fmla="*/ 2147483647 h 48"/>
              <a:gd name="T10" fmla="*/ 2147483647 w 40"/>
              <a:gd name="T11" fmla="*/ 0 h 48"/>
              <a:gd name="T12" fmla="*/ 2147483647 w 40"/>
              <a:gd name="T13" fmla="*/ 0 h 48"/>
              <a:gd name="T14" fmla="*/ 0 w 40"/>
              <a:gd name="T15" fmla="*/ 2147483647 h 4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0" h="48">
                <a:moveTo>
                  <a:pt x="0" y="8"/>
                </a:moveTo>
                <a:lnTo>
                  <a:pt x="8" y="32"/>
                </a:lnTo>
                <a:lnTo>
                  <a:pt x="24" y="48"/>
                </a:lnTo>
                <a:lnTo>
                  <a:pt x="40" y="24"/>
                </a:lnTo>
                <a:lnTo>
                  <a:pt x="40" y="16"/>
                </a:lnTo>
                <a:lnTo>
                  <a:pt x="32" y="0"/>
                </a:lnTo>
                <a:lnTo>
                  <a:pt x="16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7" name="Freeform 145"/>
          <p:cNvSpPr>
            <a:spLocks noChangeAspect="1"/>
          </p:cNvSpPr>
          <p:nvPr/>
        </p:nvSpPr>
        <p:spPr bwMode="auto">
          <a:xfrm>
            <a:off x="2490217" y="3848854"/>
            <a:ext cx="52387" cy="66675"/>
          </a:xfrm>
          <a:custGeom>
            <a:avLst/>
            <a:gdLst>
              <a:gd name="T0" fmla="*/ 0 w 24"/>
              <a:gd name="T1" fmla="*/ 2147483647 h 32"/>
              <a:gd name="T2" fmla="*/ 2147483647 w 24"/>
              <a:gd name="T3" fmla="*/ 0 h 32"/>
              <a:gd name="T4" fmla="*/ 2147483647 w 24"/>
              <a:gd name="T5" fmla="*/ 2147483647 h 32"/>
              <a:gd name="T6" fmla="*/ 2147483647 w 24"/>
              <a:gd name="T7" fmla="*/ 2147483647 h 32"/>
              <a:gd name="T8" fmla="*/ 2147483647 w 24"/>
              <a:gd name="T9" fmla="*/ 2147483647 h 32"/>
              <a:gd name="T10" fmla="*/ 0 w 24"/>
              <a:gd name="T11" fmla="*/ 2147483647 h 3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4" h="32">
                <a:moveTo>
                  <a:pt x="0" y="8"/>
                </a:moveTo>
                <a:lnTo>
                  <a:pt x="24" y="0"/>
                </a:lnTo>
                <a:lnTo>
                  <a:pt x="24" y="16"/>
                </a:lnTo>
                <a:lnTo>
                  <a:pt x="8" y="32"/>
                </a:lnTo>
                <a:lnTo>
                  <a:pt x="8" y="16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8" name="Freeform 146"/>
          <p:cNvSpPr>
            <a:spLocks noChangeAspect="1"/>
          </p:cNvSpPr>
          <p:nvPr/>
        </p:nvSpPr>
        <p:spPr bwMode="auto">
          <a:xfrm>
            <a:off x="2490217" y="3813929"/>
            <a:ext cx="52387" cy="50800"/>
          </a:xfrm>
          <a:custGeom>
            <a:avLst/>
            <a:gdLst>
              <a:gd name="T0" fmla="*/ 2147483647 w 24"/>
              <a:gd name="T1" fmla="*/ 2147483647 h 24"/>
              <a:gd name="T2" fmla="*/ 0 w 24"/>
              <a:gd name="T3" fmla="*/ 2147483647 h 24"/>
              <a:gd name="T4" fmla="*/ 0 w 24"/>
              <a:gd name="T5" fmla="*/ 2147483647 h 24"/>
              <a:gd name="T6" fmla="*/ 2147483647 w 24"/>
              <a:gd name="T7" fmla="*/ 0 h 24"/>
              <a:gd name="T8" fmla="*/ 2147483647 w 24"/>
              <a:gd name="T9" fmla="*/ 0 h 24"/>
              <a:gd name="T10" fmla="*/ 2147483647 w 24"/>
              <a:gd name="T11" fmla="*/ 2147483647 h 24"/>
              <a:gd name="T12" fmla="*/ 2147483647 w 24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" h="24">
                <a:moveTo>
                  <a:pt x="24" y="16"/>
                </a:moveTo>
                <a:lnTo>
                  <a:pt x="0" y="24"/>
                </a:lnTo>
                <a:lnTo>
                  <a:pt x="0" y="16"/>
                </a:lnTo>
                <a:lnTo>
                  <a:pt x="8" y="0"/>
                </a:lnTo>
                <a:lnTo>
                  <a:pt x="16" y="0"/>
                </a:lnTo>
                <a:lnTo>
                  <a:pt x="24" y="8"/>
                </a:lnTo>
                <a:lnTo>
                  <a:pt x="24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9" name="Freeform 148"/>
          <p:cNvSpPr>
            <a:spLocks noChangeAspect="1"/>
          </p:cNvSpPr>
          <p:nvPr/>
        </p:nvSpPr>
        <p:spPr bwMode="auto">
          <a:xfrm>
            <a:off x="2182242" y="4333041"/>
            <a:ext cx="325437" cy="325438"/>
          </a:xfrm>
          <a:custGeom>
            <a:avLst/>
            <a:gdLst>
              <a:gd name="T0" fmla="*/ 2147483647 w 128"/>
              <a:gd name="T1" fmla="*/ 0 h 136"/>
              <a:gd name="T2" fmla="*/ 2147483647 w 128"/>
              <a:gd name="T3" fmla="*/ 2147483647 h 136"/>
              <a:gd name="T4" fmla="*/ 2147483647 w 128"/>
              <a:gd name="T5" fmla="*/ 2147483647 h 136"/>
              <a:gd name="T6" fmla="*/ 2147483647 w 128"/>
              <a:gd name="T7" fmla="*/ 2147483647 h 136"/>
              <a:gd name="T8" fmla="*/ 2147483647 w 128"/>
              <a:gd name="T9" fmla="*/ 2147483647 h 136"/>
              <a:gd name="T10" fmla="*/ 2147483647 w 128"/>
              <a:gd name="T11" fmla="*/ 2147483647 h 136"/>
              <a:gd name="T12" fmla="*/ 2147483647 w 128"/>
              <a:gd name="T13" fmla="*/ 2147483647 h 136"/>
              <a:gd name="T14" fmla="*/ 2147483647 w 128"/>
              <a:gd name="T15" fmla="*/ 2147483647 h 136"/>
              <a:gd name="T16" fmla="*/ 2147483647 w 128"/>
              <a:gd name="T17" fmla="*/ 2147483647 h 136"/>
              <a:gd name="T18" fmla="*/ 2147483647 w 128"/>
              <a:gd name="T19" fmla="*/ 2147483647 h 136"/>
              <a:gd name="T20" fmla="*/ 2147483647 w 128"/>
              <a:gd name="T21" fmla="*/ 2147483647 h 136"/>
              <a:gd name="T22" fmla="*/ 2147483647 w 128"/>
              <a:gd name="T23" fmla="*/ 2147483647 h 136"/>
              <a:gd name="T24" fmla="*/ 2147483647 w 128"/>
              <a:gd name="T25" fmla="*/ 2147483647 h 136"/>
              <a:gd name="T26" fmla="*/ 0 w 128"/>
              <a:gd name="T27" fmla="*/ 2147483647 h 136"/>
              <a:gd name="T28" fmla="*/ 0 w 128"/>
              <a:gd name="T29" fmla="*/ 2147483647 h 136"/>
              <a:gd name="T30" fmla="*/ 2147483647 w 128"/>
              <a:gd name="T31" fmla="*/ 2147483647 h 136"/>
              <a:gd name="T32" fmla="*/ 2147483647 w 128"/>
              <a:gd name="T33" fmla="*/ 2147483647 h 136"/>
              <a:gd name="T34" fmla="*/ 2147483647 w 128"/>
              <a:gd name="T35" fmla="*/ 0 h 136"/>
              <a:gd name="T36" fmla="*/ 2147483647 w 128"/>
              <a:gd name="T37" fmla="*/ 2147483647 h 136"/>
              <a:gd name="T38" fmla="*/ 2147483647 w 128"/>
              <a:gd name="T39" fmla="*/ 0 h 136"/>
              <a:gd name="T40" fmla="*/ 2147483647 w 128"/>
              <a:gd name="T41" fmla="*/ 0 h 1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28" h="136">
                <a:moveTo>
                  <a:pt x="72" y="0"/>
                </a:moveTo>
                <a:lnTo>
                  <a:pt x="88" y="24"/>
                </a:lnTo>
                <a:lnTo>
                  <a:pt x="104" y="40"/>
                </a:lnTo>
                <a:lnTo>
                  <a:pt x="112" y="56"/>
                </a:lnTo>
                <a:lnTo>
                  <a:pt x="128" y="64"/>
                </a:lnTo>
                <a:lnTo>
                  <a:pt x="104" y="80"/>
                </a:lnTo>
                <a:lnTo>
                  <a:pt x="72" y="112"/>
                </a:lnTo>
                <a:lnTo>
                  <a:pt x="64" y="112"/>
                </a:lnTo>
                <a:lnTo>
                  <a:pt x="48" y="112"/>
                </a:lnTo>
                <a:lnTo>
                  <a:pt x="32" y="128"/>
                </a:lnTo>
                <a:lnTo>
                  <a:pt x="16" y="136"/>
                </a:lnTo>
                <a:lnTo>
                  <a:pt x="8" y="128"/>
                </a:lnTo>
                <a:lnTo>
                  <a:pt x="16" y="112"/>
                </a:lnTo>
                <a:lnTo>
                  <a:pt x="0" y="104"/>
                </a:lnTo>
                <a:lnTo>
                  <a:pt x="0" y="64"/>
                </a:lnTo>
                <a:lnTo>
                  <a:pt x="16" y="56"/>
                </a:lnTo>
                <a:lnTo>
                  <a:pt x="16" y="8"/>
                </a:lnTo>
                <a:lnTo>
                  <a:pt x="48" y="0"/>
                </a:lnTo>
                <a:lnTo>
                  <a:pt x="48" y="8"/>
                </a:lnTo>
                <a:lnTo>
                  <a:pt x="56" y="0"/>
                </a:lnTo>
                <a:lnTo>
                  <a:pt x="72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0" name="Freeform 149"/>
          <p:cNvSpPr>
            <a:spLocks noChangeAspect="1"/>
          </p:cNvSpPr>
          <p:nvPr/>
        </p:nvSpPr>
        <p:spPr bwMode="auto">
          <a:xfrm>
            <a:off x="6011292" y="1785104"/>
            <a:ext cx="88900" cy="17462"/>
          </a:xfrm>
          <a:custGeom>
            <a:avLst/>
            <a:gdLst>
              <a:gd name="T0" fmla="*/ 0 w 40"/>
              <a:gd name="T1" fmla="*/ 0 h 8"/>
              <a:gd name="T2" fmla="*/ 2147483647 w 40"/>
              <a:gd name="T3" fmla="*/ 2147483647 h 8"/>
              <a:gd name="T4" fmla="*/ 2147483647 w 40"/>
              <a:gd name="T5" fmla="*/ 2147483647 h 8"/>
              <a:gd name="T6" fmla="*/ 2147483647 w 40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0" h="8">
                <a:moveTo>
                  <a:pt x="0" y="0"/>
                </a:moveTo>
                <a:lnTo>
                  <a:pt x="8" y="8"/>
                </a:lnTo>
                <a:lnTo>
                  <a:pt x="32" y="8"/>
                </a:lnTo>
                <a:lnTo>
                  <a:pt x="40" y="8"/>
                </a:lnTo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1" name="Line 150"/>
          <p:cNvSpPr>
            <a:spLocks noChangeAspect="1" noChangeShapeType="1"/>
          </p:cNvSpPr>
          <p:nvPr/>
        </p:nvSpPr>
        <p:spPr bwMode="auto">
          <a:xfrm>
            <a:off x="6011292" y="1802566"/>
            <a:ext cx="71437" cy="17463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2" name="Freeform 151"/>
          <p:cNvSpPr>
            <a:spLocks noChangeAspect="1"/>
          </p:cNvSpPr>
          <p:nvPr/>
        </p:nvSpPr>
        <p:spPr bwMode="auto">
          <a:xfrm>
            <a:off x="1156717" y="1718429"/>
            <a:ext cx="247650" cy="84137"/>
          </a:xfrm>
          <a:custGeom>
            <a:avLst/>
            <a:gdLst>
              <a:gd name="T0" fmla="*/ 0 w 112"/>
              <a:gd name="T1" fmla="*/ 2147483647 h 40"/>
              <a:gd name="T2" fmla="*/ 2147483647 w 112"/>
              <a:gd name="T3" fmla="*/ 2147483647 h 40"/>
              <a:gd name="T4" fmla="*/ 0 w 112"/>
              <a:gd name="T5" fmla="*/ 2147483647 h 40"/>
              <a:gd name="T6" fmla="*/ 2147483647 w 112"/>
              <a:gd name="T7" fmla="*/ 2147483647 h 40"/>
              <a:gd name="T8" fmla="*/ 2147483647 w 112"/>
              <a:gd name="T9" fmla="*/ 2147483647 h 40"/>
              <a:gd name="T10" fmla="*/ 2147483647 w 112"/>
              <a:gd name="T11" fmla="*/ 2147483647 h 40"/>
              <a:gd name="T12" fmla="*/ 2147483647 w 112"/>
              <a:gd name="T13" fmla="*/ 2147483647 h 40"/>
              <a:gd name="T14" fmla="*/ 2147483647 w 112"/>
              <a:gd name="T15" fmla="*/ 2147483647 h 40"/>
              <a:gd name="T16" fmla="*/ 2147483647 w 112"/>
              <a:gd name="T17" fmla="*/ 2147483647 h 40"/>
              <a:gd name="T18" fmla="*/ 2147483647 w 112"/>
              <a:gd name="T19" fmla="*/ 2147483647 h 40"/>
              <a:gd name="T20" fmla="*/ 2147483647 w 112"/>
              <a:gd name="T21" fmla="*/ 2147483647 h 40"/>
              <a:gd name="T22" fmla="*/ 2147483647 w 112"/>
              <a:gd name="T23" fmla="*/ 0 h 40"/>
              <a:gd name="T24" fmla="*/ 2147483647 w 112"/>
              <a:gd name="T25" fmla="*/ 0 h 40"/>
              <a:gd name="T26" fmla="*/ 2147483647 w 112"/>
              <a:gd name="T27" fmla="*/ 2147483647 h 40"/>
              <a:gd name="T28" fmla="*/ 2147483647 w 112"/>
              <a:gd name="T29" fmla="*/ 2147483647 h 40"/>
              <a:gd name="T30" fmla="*/ 2147483647 w 112"/>
              <a:gd name="T31" fmla="*/ 0 h 40"/>
              <a:gd name="T32" fmla="*/ 2147483647 w 112"/>
              <a:gd name="T33" fmla="*/ 2147483647 h 40"/>
              <a:gd name="T34" fmla="*/ 2147483647 w 112"/>
              <a:gd name="T35" fmla="*/ 2147483647 h 40"/>
              <a:gd name="T36" fmla="*/ 2147483647 w 112"/>
              <a:gd name="T37" fmla="*/ 2147483647 h 40"/>
              <a:gd name="T38" fmla="*/ 2147483647 w 112"/>
              <a:gd name="T39" fmla="*/ 0 h 40"/>
              <a:gd name="T40" fmla="*/ 0 w 112"/>
              <a:gd name="T41" fmla="*/ 2147483647 h 4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12" h="40">
                <a:moveTo>
                  <a:pt x="0" y="8"/>
                </a:moveTo>
                <a:lnTo>
                  <a:pt x="24" y="16"/>
                </a:lnTo>
                <a:lnTo>
                  <a:pt x="0" y="24"/>
                </a:lnTo>
                <a:lnTo>
                  <a:pt x="16" y="24"/>
                </a:lnTo>
                <a:lnTo>
                  <a:pt x="24" y="24"/>
                </a:lnTo>
                <a:lnTo>
                  <a:pt x="8" y="32"/>
                </a:lnTo>
                <a:lnTo>
                  <a:pt x="48" y="40"/>
                </a:lnTo>
                <a:lnTo>
                  <a:pt x="96" y="24"/>
                </a:lnTo>
                <a:lnTo>
                  <a:pt x="104" y="16"/>
                </a:lnTo>
                <a:lnTo>
                  <a:pt x="112" y="8"/>
                </a:lnTo>
                <a:lnTo>
                  <a:pt x="104" y="8"/>
                </a:lnTo>
                <a:lnTo>
                  <a:pt x="104" y="0"/>
                </a:lnTo>
                <a:lnTo>
                  <a:pt x="88" y="0"/>
                </a:lnTo>
                <a:lnTo>
                  <a:pt x="72" y="8"/>
                </a:lnTo>
                <a:lnTo>
                  <a:pt x="48" y="8"/>
                </a:lnTo>
                <a:lnTo>
                  <a:pt x="48" y="0"/>
                </a:lnTo>
                <a:lnTo>
                  <a:pt x="40" y="8"/>
                </a:lnTo>
                <a:lnTo>
                  <a:pt x="32" y="16"/>
                </a:lnTo>
                <a:lnTo>
                  <a:pt x="32" y="8"/>
                </a:lnTo>
                <a:lnTo>
                  <a:pt x="16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3" name="Line 152"/>
          <p:cNvSpPr>
            <a:spLocks noChangeAspect="1" noChangeShapeType="1"/>
          </p:cNvSpPr>
          <p:nvPr/>
        </p:nvSpPr>
        <p:spPr bwMode="auto">
          <a:xfrm flipV="1">
            <a:off x="1528192" y="1602541"/>
            <a:ext cx="17462" cy="15875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4" name="Line 153"/>
          <p:cNvSpPr>
            <a:spLocks noChangeAspect="1" noChangeShapeType="1"/>
          </p:cNvSpPr>
          <p:nvPr/>
        </p:nvSpPr>
        <p:spPr bwMode="auto">
          <a:xfrm>
            <a:off x="1350392" y="1502529"/>
            <a:ext cx="17462" cy="3175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5" name="Freeform 154"/>
          <p:cNvSpPr>
            <a:spLocks noChangeAspect="1"/>
          </p:cNvSpPr>
          <p:nvPr/>
        </p:nvSpPr>
        <p:spPr bwMode="auto">
          <a:xfrm>
            <a:off x="2899792" y="4126666"/>
            <a:ext cx="212725" cy="417513"/>
          </a:xfrm>
          <a:custGeom>
            <a:avLst/>
            <a:gdLst>
              <a:gd name="T0" fmla="*/ 0 w 96"/>
              <a:gd name="T1" fmla="*/ 2147483647 h 200"/>
              <a:gd name="T2" fmla="*/ 0 w 96"/>
              <a:gd name="T3" fmla="*/ 2147483647 h 200"/>
              <a:gd name="T4" fmla="*/ 2147483647 w 96"/>
              <a:gd name="T5" fmla="*/ 2147483647 h 200"/>
              <a:gd name="T6" fmla="*/ 2147483647 w 96"/>
              <a:gd name="T7" fmla="*/ 2147483647 h 200"/>
              <a:gd name="T8" fmla="*/ 2147483647 w 96"/>
              <a:gd name="T9" fmla="*/ 2147483647 h 200"/>
              <a:gd name="T10" fmla="*/ 2147483647 w 96"/>
              <a:gd name="T11" fmla="*/ 2147483647 h 200"/>
              <a:gd name="T12" fmla="*/ 2147483647 w 96"/>
              <a:gd name="T13" fmla="*/ 2147483647 h 200"/>
              <a:gd name="T14" fmla="*/ 2147483647 w 96"/>
              <a:gd name="T15" fmla="*/ 2147483647 h 200"/>
              <a:gd name="T16" fmla="*/ 2147483647 w 96"/>
              <a:gd name="T17" fmla="*/ 2147483647 h 200"/>
              <a:gd name="T18" fmla="*/ 2147483647 w 96"/>
              <a:gd name="T19" fmla="*/ 2147483647 h 200"/>
              <a:gd name="T20" fmla="*/ 2147483647 w 96"/>
              <a:gd name="T21" fmla="*/ 2147483647 h 200"/>
              <a:gd name="T22" fmla="*/ 2147483647 w 96"/>
              <a:gd name="T23" fmla="*/ 0 h 200"/>
              <a:gd name="T24" fmla="*/ 2147483647 w 96"/>
              <a:gd name="T25" fmla="*/ 2147483647 h 200"/>
              <a:gd name="T26" fmla="*/ 2147483647 w 96"/>
              <a:gd name="T27" fmla="*/ 2147483647 h 200"/>
              <a:gd name="T28" fmla="*/ 2147483647 w 96"/>
              <a:gd name="T29" fmla="*/ 2147483647 h 200"/>
              <a:gd name="T30" fmla="*/ 2147483647 w 96"/>
              <a:gd name="T31" fmla="*/ 2147483647 h 200"/>
              <a:gd name="T32" fmla="*/ 2147483647 w 96"/>
              <a:gd name="T33" fmla="*/ 2147483647 h 200"/>
              <a:gd name="T34" fmla="*/ 2147483647 w 96"/>
              <a:gd name="T35" fmla="*/ 2147483647 h 200"/>
              <a:gd name="T36" fmla="*/ 0 w 96"/>
              <a:gd name="T37" fmla="*/ 2147483647 h 20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96" h="200">
                <a:moveTo>
                  <a:pt x="0" y="144"/>
                </a:moveTo>
                <a:lnTo>
                  <a:pt x="0" y="184"/>
                </a:lnTo>
                <a:lnTo>
                  <a:pt x="8" y="200"/>
                </a:lnTo>
                <a:lnTo>
                  <a:pt x="16" y="200"/>
                </a:lnTo>
                <a:lnTo>
                  <a:pt x="40" y="192"/>
                </a:lnTo>
                <a:lnTo>
                  <a:pt x="48" y="192"/>
                </a:lnTo>
                <a:lnTo>
                  <a:pt x="80" y="96"/>
                </a:lnTo>
                <a:lnTo>
                  <a:pt x="88" y="48"/>
                </a:lnTo>
                <a:lnTo>
                  <a:pt x="88" y="56"/>
                </a:lnTo>
                <a:lnTo>
                  <a:pt x="96" y="48"/>
                </a:lnTo>
                <a:lnTo>
                  <a:pt x="88" y="8"/>
                </a:lnTo>
                <a:lnTo>
                  <a:pt x="80" y="0"/>
                </a:lnTo>
                <a:lnTo>
                  <a:pt x="72" y="16"/>
                </a:lnTo>
                <a:lnTo>
                  <a:pt x="64" y="24"/>
                </a:lnTo>
                <a:lnTo>
                  <a:pt x="64" y="40"/>
                </a:lnTo>
                <a:lnTo>
                  <a:pt x="16" y="56"/>
                </a:lnTo>
                <a:lnTo>
                  <a:pt x="8" y="80"/>
                </a:lnTo>
                <a:lnTo>
                  <a:pt x="16" y="120"/>
                </a:lnTo>
                <a:lnTo>
                  <a:pt x="0" y="14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6" name="Freeform 155"/>
          <p:cNvSpPr>
            <a:spLocks noChangeAspect="1"/>
          </p:cNvSpPr>
          <p:nvPr/>
        </p:nvSpPr>
        <p:spPr bwMode="auto">
          <a:xfrm>
            <a:off x="3201417" y="3380541"/>
            <a:ext cx="34925" cy="15875"/>
          </a:xfrm>
          <a:custGeom>
            <a:avLst/>
            <a:gdLst>
              <a:gd name="T0" fmla="*/ 0 w 16"/>
              <a:gd name="T1" fmla="*/ 0 h 8"/>
              <a:gd name="T2" fmla="*/ 2147483647 w 16"/>
              <a:gd name="T3" fmla="*/ 2147483647 h 8"/>
              <a:gd name="T4" fmla="*/ 2147483647 w 16"/>
              <a:gd name="T5" fmla="*/ 0 h 8"/>
              <a:gd name="T6" fmla="*/ 2147483647 w 16"/>
              <a:gd name="T7" fmla="*/ 0 h 8"/>
              <a:gd name="T8" fmla="*/ 0 w 16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" h="8">
                <a:moveTo>
                  <a:pt x="0" y="0"/>
                </a:moveTo>
                <a:lnTo>
                  <a:pt x="8" y="8"/>
                </a:lnTo>
                <a:lnTo>
                  <a:pt x="16" y="0"/>
                </a:lnTo>
                <a:lnTo>
                  <a:pt x="8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7" name="Line 156"/>
          <p:cNvSpPr>
            <a:spLocks noChangeAspect="1" noChangeShapeType="1"/>
          </p:cNvSpPr>
          <p:nvPr/>
        </p:nvSpPr>
        <p:spPr bwMode="auto">
          <a:xfrm>
            <a:off x="4374579" y="3380541"/>
            <a:ext cx="1588" cy="33338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8" name="Line 157"/>
          <p:cNvSpPr>
            <a:spLocks noChangeAspect="1" noChangeShapeType="1"/>
          </p:cNvSpPr>
          <p:nvPr/>
        </p:nvSpPr>
        <p:spPr bwMode="auto">
          <a:xfrm>
            <a:off x="4482529" y="3715504"/>
            <a:ext cx="15875" cy="1587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9" name="Freeform 158"/>
          <p:cNvSpPr>
            <a:spLocks noChangeAspect="1"/>
          </p:cNvSpPr>
          <p:nvPr/>
        </p:nvSpPr>
        <p:spPr bwMode="auto">
          <a:xfrm>
            <a:off x="4517454" y="3731379"/>
            <a:ext cx="15875" cy="33337"/>
          </a:xfrm>
          <a:custGeom>
            <a:avLst/>
            <a:gdLst>
              <a:gd name="T0" fmla="*/ 0 w 8"/>
              <a:gd name="T1" fmla="*/ 0 h 16"/>
              <a:gd name="T2" fmla="*/ 2147483647 w 8"/>
              <a:gd name="T3" fmla="*/ 2147483647 h 16"/>
              <a:gd name="T4" fmla="*/ 2147483647 w 8"/>
              <a:gd name="T5" fmla="*/ 2147483647 h 16"/>
              <a:gd name="T6" fmla="*/ 0 w 8"/>
              <a:gd name="T7" fmla="*/ 0 h 1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16">
                <a:moveTo>
                  <a:pt x="0" y="0"/>
                </a:moveTo>
                <a:lnTo>
                  <a:pt x="8" y="16"/>
                </a:lnTo>
                <a:lnTo>
                  <a:pt x="8" y="8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0" name="Freeform 159"/>
          <p:cNvSpPr>
            <a:spLocks noChangeAspect="1"/>
          </p:cNvSpPr>
          <p:nvPr/>
        </p:nvSpPr>
        <p:spPr bwMode="auto">
          <a:xfrm>
            <a:off x="4571429" y="3813929"/>
            <a:ext cx="15875" cy="15875"/>
          </a:xfrm>
          <a:custGeom>
            <a:avLst/>
            <a:gdLst>
              <a:gd name="T0" fmla="*/ 0 w 8"/>
              <a:gd name="T1" fmla="*/ 0 h 8"/>
              <a:gd name="T2" fmla="*/ 0 w 8"/>
              <a:gd name="T3" fmla="*/ 2147483647 h 8"/>
              <a:gd name="T4" fmla="*/ 2147483647 w 8"/>
              <a:gd name="T5" fmla="*/ 2147483647 h 8"/>
              <a:gd name="T6" fmla="*/ 0 w 8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0"/>
                </a:moveTo>
                <a:lnTo>
                  <a:pt x="0" y="8"/>
                </a:lnTo>
                <a:lnTo>
                  <a:pt x="8" y="8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1" name="Freeform 160"/>
          <p:cNvSpPr>
            <a:spLocks noChangeAspect="1"/>
          </p:cNvSpPr>
          <p:nvPr/>
        </p:nvSpPr>
        <p:spPr bwMode="auto">
          <a:xfrm>
            <a:off x="3982467" y="3463091"/>
            <a:ext cx="71437" cy="117475"/>
          </a:xfrm>
          <a:custGeom>
            <a:avLst/>
            <a:gdLst>
              <a:gd name="T0" fmla="*/ 0 w 32"/>
              <a:gd name="T1" fmla="*/ 2147483647 h 56"/>
              <a:gd name="T2" fmla="*/ 2147483647 w 32"/>
              <a:gd name="T3" fmla="*/ 2147483647 h 56"/>
              <a:gd name="T4" fmla="*/ 2147483647 w 32"/>
              <a:gd name="T5" fmla="*/ 2147483647 h 56"/>
              <a:gd name="T6" fmla="*/ 2147483647 w 32"/>
              <a:gd name="T7" fmla="*/ 2147483647 h 56"/>
              <a:gd name="T8" fmla="*/ 2147483647 w 32"/>
              <a:gd name="T9" fmla="*/ 2147483647 h 56"/>
              <a:gd name="T10" fmla="*/ 2147483647 w 32"/>
              <a:gd name="T11" fmla="*/ 2147483647 h 56"/>
              <a:gd name="T12" fmla="*/ 2147483647 w 32"/>
              <a:gd name="T13" fmla="*/ 0 h 56"/>
              <a:gd name="T14" fmla="*/ 2147483647 w 32"/>
              <a:gd name="T15" fmla="*/ 2147483647 h 56"/>
              <a:gd name="T16" fmla="*/ 0 w 32"/>
              <a:gd name="T17" fmla="*/ 2147483647 h 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2" h="56">
                <a:moveTo>
                  <a:pt x="0" y="32"/>
                </a:moveTo>
                <a:lnTo>
                  <a:pt x="8" y="56"/>
                </a:lnTo>
                <a:lnTo>
                  <a:pt x="24" y="56"/>
                </a:lnTo>
                <a:lnTo>
                  <a:pt x="32" y="56"/>
                </a:lnTo>
                <a:lnTo>
                  <a:pt x="32" y="32"/>
                </a:lnTo>
                <a:lnTo>
                  <a:pt x="16" y="8"/>
                </a:lnTo>
                <a:lnTo>
                  <a:pt x="8" y="0"/>
                </a:lnTo>
                <a:lnTo>
                  <a:pt x="8" y="8"/>
                </a:lnTo>
                <a:lnTo>
                  <a:pt x="0" y="3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2" name="Freeform 161"/>
          <p:cNvSpPr>
            <a:spLocks noChangeAspect="1"/>
          </p:cNvSpPr>
          <p:nvPr/>
        </p:nvSpPr>
        <p:spPr bwMode="auto">
          <a:xfrm>
            <a:off x="4800029" y="3145591"/>
            <a:ext cx="73025" cy="49213"/>
          </a:xfrm>
          <a:custGeom>
            <a:avLst/>
            <a:gdLst>
              <a:gd name="T0" fmla="*/ 0 w 32"/>
              <a:gd name="T1" fmla="*/ 2147483647 h 24"/>
              <a:gd name="T2" fmla="*/ 2147483647 w 32"/>
              <a:gd name="T3" fmla="*/ 2147483647 h 24"/>
              <a:gd name="T4" fmla="*/ 2147483647 w 32"/>
              <a:gd name="T5" fmla="*/ 2147483647 h 24"/>
              <a:gd name="T6" fmla="*/ 2147483647 w 32"/>
              <a:gd name="T7" fmla="*/ 2147483647 h 24"/>
              <a:gd name="T8" fmla="*/ 2147483647 w 32"/>
              <a:gd name="T9" fmla="*/ 0 h 24"/>
              <a:gd name="T10" fmla="*/ 2147483647 w 32"/>
              <a:gd name="T11" fmla="*/ 0 h 24"/>
              <a:gd name="T12" fmla="*/ 0 w 32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2" h="24">
                <a:moveTo>
                  <a:pt x="0" y="8"/>
                </a:moveTo>
                <a:lnTo>
                  <a:pt x="8" y="24"/>
                </a:lnTo>
                <a:lnTo>
                  <a:pt x="16" y="24"/>
                </a:lnTo>
                <a:lnTo>
                  <a:pt x="32" y="16"/>
                </a:lnTo>
                <a:lnTo>
                  <a:pt x="32" y="0"/>
                </a:lnTo>
                <a:lnTo>
                  <a:pt x="16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3" name="Freeform 162"/>
          <p:cNvSpPr>
            <a:spLocks noChangeAspect="1"/>
          </p:cNvSpPr>
          <p:nvPr/>
        </p:nvSpPr>
        <p:spPr bwMode="auto">
          <a:xfrm>
            <a:off x="5122292" y="2975729"/>
            <a:ext cx="33337" cy="103187"/>
          </a:xfrm>
          <a:custGeom>
            <a:avLst/>
            <a:gdLst>
              <a:gd name="T0" fmla="*/ 0 w 16"/>
              <a:gd name="T1" fmla="*/ 2147483647 h 48"/>
              <a:gd name="T2" fmla="*/ 2147483647 w 16"/>
              <a:gd name="T3" fmla="*/ 2147483647 h 48"/>
              <a:gd name="T4" fmla="*/ 2147483647 w 16"/>
              <a:gd name="T5" fmla="*/ 2147483647 h 48"/>
              <a:gd name="T6" fmla="*/ 2147483647 w 16"/>
              <a:gd name="T7" fmla="*/ 0 h 48"/>
              <a:gd name="T8" fmla="*/ 2147483647 w 16"/>
              <a:gd name="T9" fmla="*/ 2147483647 h 48"/>
              <a:gd name="T10" fmla="*/ 0 w 16"/>
              <a:gd name="T11" fmla="*/ 2147483647 h 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6" h="48">
                <a:moveTo>
                  <a:pt x="0" y="24"/>
                </a:moveTo>
                <a:lnTo>
                  <a:pt x="8" y="40"/>
                </a:lnTo>
                <a:lnTo>
                  <a:pt x="16" y="48"/>
                </a:lnTo>
                <a:lnTo>
                  <a:pt x="16" y="0"/>
                </a:lnTo>
                <a:lnTo>
                  <a:pt x="8" y="8"/>
                </a:lnTo>
                <a:lnTo>
                  <a:pt x="0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4" name="Freeform 163"/>
          <p:cNvSpPr>
            <a:spLocks noChangeAspect="1"/>
          </p:cNvSpPr>
          <p:nvPr/>
        </p:nvSpPr>
        <p:spPr bwMode="auto">
          <a:xfrm>
            <a:off x="5298504" y="2707441"/>
            <a:ext cx="69850" cy="85725"/>
          </a:xfrm>
          <a:custGeom>
            <a:avLst/>
            <a:gdLst>
              <a:gd name="T0" fmla="*/ 0 w 32"/>
              <a:gd name="T1" fmla="*/ 2147483647 h 40"/>
              <a:gd name="T2" fmla="*/ 2147483647 w 32"/>
              <a:gd name="T3" fmla="*/ 2147483647 h 40"/>
              <a:gd name="T4" fmla="*/ 2147483647 w 32"/>
              <a:gd name="T5" fmla="*/ 2147483647 h 40"/>
              <a:gd name="T6" fmla="*/ 2147483647 w 32"/>
              <a:gd name="T7" fmla="*/ 2147483647 h 40"/>
              <a:gd name="T8" fmla="*/ 2147483647 w 32"/>
              <a:gd name="T9" fmla="*/ 2147483647 h 40"/>
              <a:gd name="T10" fmla="*/ 2147483647 w 32"/>
              <a:gd name="T11" fmla="*/ 2147483647 h 40"/>
              <a:gd name="T12" fmla="*/ 2147483647 w 32"/>
              <a:gd name="T13" fmla="*/ 2147483647 h 40"/>
              <a:gd name="T14" fmla="*/ 2147483647 w 32"/>
              <a:gd name="T15" fmla="*/ 2147483647 h 40"/>
              <a:gd name="T16" fmla="*/ 2147483647 w 32"/>
              <a:gd name="T17" fmla="*/ 0 h 40"/>
              <a:gd name="T18" fmla="*/ 2147483647 w 32"/>
              <a:gd name="T19" fmla="*/ 0 h 40"/>
              <a:gd name="T20" fmla="*/ 0 w 32"/>
              <a:gd name="T21" fmla="*/ 2147483647 h 4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2" h="40">
                <a:moveTo>
                  <a:pt x="0" y="8"/>
                </a:moveTo>
                <a:lnTo>
                  <a:pt x="8" y="16"/>
                </a:lnTo>
                <a:lnTo>
                  <a:pt x="8" y="8"/>
                </a:lnTo>
                <a:lnTo>
                  <a:pt x="16" y="16"/>
                </a:lnTo>
                <a:lnTo>
                  <a:pt x="16" y="40"/>
                </a:lnTo>
                <a:lnTo>
                  <a:pt x="24" y="40"/>
                </a:lnTo>
                <a:lnTo>
                  <a:pt x="32" y="32"/>
                </a:lnTo>
                <a:lnTo>
                  <a:pt x="32" y="16"/>
                </a:lnTo>
                <a:lnTo>
                  <a:pt x="24" y="0"/>
                </a:lnTo>
                <a:lnTo>
                  <a:pt x="8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5" name="Freeform 164"/>
          <p:cNvSpPr>
            <a:spLocks noChangeAspect="1"/>
          </p:cNvSpPr>
          <p:nvPr/>
        </p:nvSpPr>
        <p:spPr bwMode="auto">
          <a:xfrm>
            <a:off x="5368354" y="2691566"/>
            <a:ext cx="73025" cy="49213"/>
          </a:xfrm>
          <a:custGeom>
            <a:avLst/>
            <a:gdLst>
              <a:gd name="T0" fmla="*/ 0 w 32"/>
              <a:gd name="T1" fmla="*/ 2147483647 h 24"/>
              <a:gd name="T2" fmla="*/ 2147483647 w 32"/>
              <a:gd name="T3" fmla="*/ 2147483647 h 24"/>
              <a:gd name="T4" fmla="*/ 2147483647 w 32"/>
              <a:gd name="T5" fmla="*/ 2147483647 h 24"/>
              <a:gd name="T6" fmla="*/ 2147483647 w 32"/>
              <a:gd name="T7" fmla="*/ 2147483647 h 24"/>
              <a:gd name="T8" fmla="*/ 2147483647 w 32"/>
              <a:gd name="T9" fmla="*/ 2147483647 h 24"/>
              <a:gd name="T10" fmla="*/ 2147483647 w 32"/>
              <a:gd name="T11" fmla="*/ 2147483647 h 24"/>
              <a:gd name="T12" fmla="*/ 2147483647 w 32"/>
              <a:gd name="T13" fmla="*/ 0 h 24"/>
              <a:gd name="T14" fmla="*/ 2147483647 w 32"/>
              <a:gd name="T15" fmla="*/ 0 h 24"/>
              <a:gd name="T16" fmla="*/ 2147483647 w 32"/>
              <a:gd name="T17" fmla="*/ 2147483647 h 24"/>
              <a:gd name="T18" fmla="*/ 2147483647 w 32"/>
              <a:gd name="T19" fmla="*/ 0 h 24"/>
              <a:gd name="T20" fmla="*/ 0 w 32"/>
              <a:gd name="T21" fmla="*/ 2147483647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2" h="24">
                <a:moveTo>
                  <a:pt x="0" y="16"/>
                </a:moveTo>
                <a:lnTo>
                  <a:pt x="16" y="24"/>
                </a:lnTo>
                <a:lnTo>
                  <a:pt x="16" y="16"/>
                </a:lnTo>
                <a:lnTo>
                  <a:pt x="16" y="8"/>
                </a:lnTo>
                <a:lnTo>
                  <a:pt x="24" y="16"/>
                </a:lnTo>
                <a:lnTo>
                  <a:pt x="32" y="8"/>
                </a:lnTo>
                <a:lnTo>
                  <a:pt x="24" y="0"/>
                </a:lnTo>
                <a:lnTo>
                  <a:pt x="16" y="0"/>
                </a:lnTo>
                <a:lnTo>
                  <a:pt x="16" y="8"/>
                </a:lnTo>
                <a:lnTo>
                  <a:pt x="8" y="0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6" name="Freeform 165"/>
          <p:cNvSpPr>
            <a:spLocks noChangeAspect="1"/>
          </p:cNvSpPr>
          <p:nvPr/>
        </p:nvSpPr>
        <p:spPr bwMode="auto">
          <a:xfrm>
            <a:off x="5319142" y="2458204"/>
            <a:ext cx="265112" cy="266700"/>
          </a:xfrm>
          <a:custGeom>
            <a:avLst/>
            <a:gdLst>
              <a:gd name="T0" fmla="*/ 0 w 120"/>
              <a:gd name="T1" fmla="*/ 2147483647 h 128"/>
              <a:gd name="T2" fmla="*/ 2147483647 w 120"/>
              <a:gd name="T3" fmla="*/ 2147483647 h 128"/>
              <a:gd name="T4" fmla="*/ 2147483647 w 120"/>
              <a:gd name="T5" fmla="*/ 2147483647 h 128"/>
              <a:gd name="T6" fmla="*/ 2147483647 w 120"/>
              <a:gd name="T7" fmla="*/ 2147483647 h 128"/>
              <a:gd name="T8" fmla="*/ 2147483647 w 120"/>
              <a:gd name="T9" fmla="*/ 2147483647 h 128"/>
              <a:gd name="T10" fmla="*/ 2147483647 w 120"/>
              <a:gd name="T11" fmla="*/ 2147483647 h 128"/>
              <a:gd name="T12" fmla="*/ 2147483647 w 120"/>
              <a:gd name="T13" fmla="*/ 2147483647 h 128"/>
              <a:gd name="T14" fmla="*/ 2147483647 w 120"/>
              <a:gd name="T15" fmla="*/ 2147483647 h 128"/>
              <a:gd name="T16" fmla="*/ 2147483647 w 120"/>
              <a:gd name="T17" fmla="*/ 2147483647 h 128"/>
              <a:gd name="T18" fmla="*/ 2147483647 w 120"/>
              <a:gd name="T19" fmla="*/ 2147483647 h 128"/>
              <a:gd name="T20" fmla="*/ 2147483647 w 120"/>
              <a:gd name="T21" fmla="*/ 2147483647 h 128"/>
              <a:gd name="T22" fmla="*/ 2147483647 w 120"/>
              <a:gd name="T23" fmla="*/ 2147483647 h 128"/>
              <a:gd name="T24" fmla="*/ 2147483647 w 120"/>
              <a:gd name="T25" fmla="*/ 2147483647 h 128"/>
              <a:gd name="T26" fmla="*/ 2147483647 w 120"/>
              <a:gd name="T27" fmla="*/ 2147483647 h 128"/>
              <a:gd name="T28" fmla="*/ 2147483647 w 120"/>
              <a:gd name="T29" fmla="*/ 2147483647 h 128"/>
              <a:gd name="T30" fmla="*/ 2147483647 w 120"/>
              <a:gd name="T31" fmla="*/ 2147483647 h 128"/>
              <a:gd name="T32" fmla="*/ 2147483647 w 120"/>
              <a:gd name="T33" fmla="*/ 2147483647 h 128"/>
              <a:gd name="T34" fmla="*/ 2147483647 w 120"/>
              <a:gd name="T35" fmla="*/ 2147483647 h 128"/>
              <a:gd name="T36" fmla="*/ 2147483647 w 120"/>
              <a:gd name="T37" fmla="*/ 2147483647 h 128"/>
              <a:gd name="T38" fmla="*/ 2147483647 w 120"/>
              <a:gd name="T39" fmla="*/ 2147483647 h 128"/>
              <a:gd name="T40" fmla="*/ 2147483647 w 120"/>
              <a:gd name="T41" fmla="*/ 2147483647 h 128"/>
              <a:gd name="T42" fmla="*/ 2147483647 w 120"/>
              <a:gd name="T43" fmla="*/ 2147483647 h 128"/>
              <a:gd name="T44" fmla="*/ 2147483647 w 120"/>
              <a:gd name="T45" fmla="*/ 2147483647 h 128"/>
              <a:gd name="T46" fmla="*/ 2147483647 w 120"/>
              <a:gd name="T47" fmla="*/ 0 h 128"/>
              <a:gd name="T48" fmla="*/ 2147483647 w 120"/>
              <a:gd name="T49" fmla="*/ 2147483647 h 128"/>
              <a:gd name="T50" fmla="*/ 2147483647 w 120"/>
              <a:gd name="T51" fmla="*/ 2147483647 h 128"/>
              <a:gd name="T52" fmla="*/ 2147483647 w 120"/>
              <a:gd name="T53" fmla="*/ 2147483647 h 128"/>
              <a:gd name="T54" fmla="*/ 2147483647 w 120"/>
              <a:gd name="T55" fmla="*/ 2147483647 h 128"/>
              <a:gd name="T56" fmla="*/ 2147483647 w 120"/>
              <a:gd name="T57" fmla="*/ 2147483647 h 128"/>
              <a:gd name="T58" fmla="*/ 2147483647 w 120"/>
              <a:gd name="T59" fmla="*/ 2147483647 h 128"/>
              <a:gd name="T60" fmla="*/ 2147483647 w 120"/>
              <a:gd name="T61" fmla="*/ 2147483647 h 128"/>
              <a:gd name="T62" fmla="*/ 2147483647 w 120"/>
              <a:gd name="T63" fmla="*/ 2147483647 h 128"/>
              <a:gd name="T64" fmla="*/ 2147483647 w 120"/>
              <a:gd name="T65" fmla="*/ 2147483647 h 128"/>
              <a:gd name="T66" fmla="*/ 2147483647 w 120"/>
              <a:gd name="T67" fmla="*/ 2147483647 h 128"/>
              <a:gd name="T68" fmla="*/ 2147483647 w 120"/>
              <a:gd name="T69" fmla="*/ 2147483647 h 128"/>
              <a:gd name="T70" fmla="*/ 0 w 120"/>
              <a:gd name="T71" fmla="*/ 2147483647 h 12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20" h="128">
                <a:moveTo>
                  <a:pt x="0" y="112"/>
                </a:moveTo>
                <a:lnTo>
                  <a:pt x="8" y="120"/>
                </a:lnTo>
                <a:lnTo>
                  <a:pt x="16" y="120"/>
                </a:lnTo>
                <a:lnTo>
                  <a:pt x="24" y="112"/>
                </a:lnTo>
                <a:lnTo>
                  <a:pt x="48" y="104"/>
                </a:lnTo>
                <a:lnTo>
                  <a:pt x="56" y="104"/>
                </a:lnTo>
                <a:lnTo>
                  <a:pt x="56" y="120"/>
                </a:lnTo>
                <a:lnTo>
                  <a:pt x="72" y="128"/>
                </a:lnTo>
                <a:lnTo>
                  <a:pt x="80" y="112"/>
                </a:lnTo>
                <a:lnTo>
                  <a:pt x="72" y="104"/>
                </a:lnTo>
                <a:lnTo>
                  <a:pt x="80" y="104"/>
                </a:lnTo>
                <a:lnTo>
                  <a:pt x="88" y="104"/>
                </a:lnTo>
                <a:lnTo>
                  <a:pt x="96" y="96"/>
                </a:lnTo>
                <a:lnTo>
                  <a:pt x="104" y="104"/>
                </a:lnTo>
                <a:lnTo>
                  <a:pt x="104" y="96"/>
                </a:lnTo>
                <a:lnTo>
                  <a:pt x="112" y="104"/>
                </a:lnTo>
                <a:lnTo>
                  <a:pt x="120" y="96"/>
                </a:lnTo>
                <a:lnTo>
                  <a:pt x="120" y="88"/>
                </a:lnTo>
                <a:lnTo>
                  <a:pt x="104" y="56"/>
                </a:lnTo>
                <a:lnTo>
                  <a:pt x="104" y="48"/>
                </a:lnTo>
                <a:lnTo>
                  <a:pt x="112" y="48"/>
                </a:lnTo>
                <a:lnTo>
                  <a:pt x="104" y="40"/>
                </a:lnTo>
                <a:lnTo>
                  <a:pt x="80" y="8"/>
                </a:lnTo>
                <a:lnTo>
                  <a:pt x="72" y="0"/>
                </a:lnTo>
                <a:lnTo>
                  <a:pt x="80" y="8"/>
                </a:lnTo>
                <a:lnTo>
                  <a:pt x="72" y="8"/>
                </a:lnTo>
                <a:lnTo>
                  <a:pt x="80" y="40"/>
                </a:lnTo>
                <a:lnTo>
                  <a:pt x="80" y="64"/>
                </a:lnTo>
                <a:lnTo>
                  <a:pt x="64" y="72"/>
                </a:lnTo>
                <a:lnTo>
                  <a:pt x="64" y="64"/>
                </a:lnTo>
                <a:lnTo>
                  <a:pt x="56" y="64"/>
                </a:lnTo>
                <a:lnTo>
                  <a:pt x="56" y="88"/>
                </a:lnTo>
                <a:lnTo>
                  <a:pt x="56" y="96"/>
                </a:lnTo>
                <a:lnTo>
                  <a:pt x="48" y="88"/>
                </a:lnTo>
                <a:lnTo>
                  <a:pt x="16" y="96"/>
                </a:lnTo>
                <a:lnTo>
                  <a:pt x="0" y="11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7" name="Freeform 166"/>
          <p:cNvSpPr>
            <a:spLocks noChangeAspect="1"/>
          </p:cNvSpPr>
          <p:nvPr/>
        </p:nvSpPr>
        <p:spPr bwMode="auto">
          <a:xfrm>
            <a:off x="5422329" y="2339141"/>
            <a:ext cx="161925" cy="134938"/>
          </a:xfrm>
          <a:custGeom>
            <a:avLst/>
            <a:gdLst>
              <a:gd name="T0" fmla="*/ 2147483647 w 72"/>
              <a:gd name="T1" fmla="*/ 2147483647 h 64"/>
              <a:gd name="T2" fmla="*/ 2147483647 w 72"/>
              <a:gd name="T3" fmla="*/ 2147483647 h 64"/>
              <a:gd name="T4" fmla="*/ 2147483647 w 72"/>
              <a:gd name="T5" fmla="*/ 2147483647 h 64"/>
              <a:gd name="T6" fmla="*/ 2147483647 w 72"/>
              <a:gd name="T7" fmla="*/ 2147483647 h 64"/>
              <a:gd name="T8" fmla="*/ 2147483647 w 72"/>
              <a:gd name="T9" fmla="*/ 2147483647 h 64"/>
              <a:gd name="T10" fmla="*/ 2147483647 w 72"/>
              <a:gd name="T11" fmla="*/ 2147483647 h 64"/>
              <a:gd name="T12" fmla="*/ 2147483647 w 72"/>
              <a:gd name="T13" fmla="*/ 2147483647 h 64"/>
              <a:gd name="T14" fmla="*/ 2147483647 w 72"/>
              <a:gd name="T15" fmla="*/ 2147483647 h 64"/>
              <a:gd name="T16" fmla="*/ 2147483647 w 72"/>
              <a:gd name="T17" fmla="*/ 2147483647 h 64"/>
              <a:gd name="T18" fmla="*/ 2147483647 w 72"/>
              <a:gd name="T19" fmla="*/ 2147483647 h 64"/>
              <a:gd name="T20" fmla="*/ 2147483647 w 72"/>
              <a:gd name="T21" fmla="*/ 2147483647 h 64"/>
              <a:gd name="T22" fmla="*/ 2147483647 w 72"/>
              <a:gd name="T23" fmla="*/ 2147483647 h 64"/>
              <a:gd name="T24" fmla="*/ 2147483647 w 72"/>
              <a:gd name="T25" fmla="*/ 2147483647 h 64"/>
              <a:gd name="T26" fmla="*/ 2147483647 w 72"/>
              <a:gd name="T27" fmla="*/ 2147483647 h 64"/>
              <a:gd name="T28" fmla="*/ 2147483647 w 72"/>
              <a:gd name="T29" fmla="*/ 2147483647 h 64"/>
              <a:gd name="T30" fmla="*/ 0 w 72"/>
              <a:gd name="T31" fmla="*/ 0 h 64"/>
              <a:gd name="T32" fmla="*/ 2147483647 w 72"/>
              <a:gd name="T33" fmla="*/ 2147483647 h 64"/>
              <a:gd name="T34" fmla="*/ 2147483647 w 72"/>
              <a:gd name="T35" fmla="*/ 2147483647 h 64"/>
              <a:gd name="T36" fmla="*/ 2147483647 w 72"/>
              <a:gd name="T37" fmla="*/ 2147483647 h 64"/>
              <a:gd name="T38" fmla="*/ 2147483647 w 72"/>
              <a:gd name="T39" fmla="*/ 2147483647 h 6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72" h="64">
                <a:moveTo>
                  <a:pt x="8" y="40"/>
                </a:moveTo>
                <a:lnTo>
                  <a:pt x="16" y="64"/>
                </a:lnTo>
                <a:lnTo>
                  <a:pt x="24" y="56"/>
                </a:lnTo>
                <a:lnTo>
                  <a:pt x="16" y="40"/>
                </a:lnTo>
                <a:lnTo>
                  <a:pt x="24" y="48"/>
                </a:lnTo>
                <a:lnTo>
                  <a:pt x="32" y="40"/>
                </a:lnTo>
                <a:lnTo>
                  <a:pt x="48" y="48"/>
                </a:lnTo>
                <a:lnTo>
                  <a:pt x="56" y="40"/>
                </a:lnTo>
                <a:lnTo>
                  <a:pt x="64" y="40"/>
                </a:lnTo>
                <a:lnTo>
                  <a:pt x="72" y="32"/>
                </a:lnTo>
                <a:lnTo>
                  <a:pt x="64" y="32"/>
                </a:lnTo>
                <a:lnTo>
                  <a:pt x="56" y="24"/>
                </a:lnTo>
                <a:lnTo>
                  <a:pt x="56" y="16"/>
                </a:lnTo>
                <a:lnTo>
                  <a:pt x="48" y="24"/>
                </a:lnTo>
                <a:lnTo>
                  <a:pt x="40" y="16"/>
                </a:lnTo>
                <a:lnTo>
                  <a:pt x="0" y="0"/>
                </a:lnTo>
                <a:lnTo>
                  <a:pt x="8" y="8"/>
                </a:lnTo>
                <a:lnTo>
                  <a:pt x="16" y="32"/>
                </a:lnTo>
                <a:lnTo>
                  <a:pt x="8" y="32"/>
                </a:lnTo>
                <a:lnTo>
                  <a:pt x="8" y="4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8" name="Line 167"/>
          <p:cNvSpPr>
            <a:spLocks noChangeAspect="1" noChangeShapeType="1"/>
          </p:cNvSpPr>
          <p:nvPr/>
        </p:nvSpPr>
        <p:spPr bwMode="auto">
          <a:xfrm flipV="1">
            <a:off x="5319142" y="2942391"/>
            <a:ext cx="14287" cy="17463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9" name="Line 168"/>
          <p:cNvSpPr>
            <a:spLocks noChangeAspect="1" noChangeShapeType="1"/>
          </p:cNvSpPr>
          <p:nvPr/>
        </p:nvSpPr>
        <p:spPr bwMode="auto">
          <a:xfrm flipV="1">
            <a:off x="5352479" y="2893179"/>
            <a:ext cx="4763" cy="19050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0" name="Line 169"/>
          <p:cNvSpPr>
            <a:spLocks noChangeAspect="1" noChangeShapeType="1"/>
          </p:cNvSpPr>
          <p:nvPr/>
        </p:nvSpPr>
        <p:spPr bwMode="auto">
          <a:xfrm flipV="1">
            <a:off x="5565204" y="2389941"/>
            <a:ext cx="1588" cy="15875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1" name="Freeform 170"/>
          <p:cNvSpPr>
            <a:spLocks noChangeAspect="1"/>
          </p:cNvSpPr>
          <p:nvPr/>
        </p:nvSpPr>
        <p:spPr bwMode="auto">
          <a:xfrm>
            <a:off x="5584254" y="2339141"/>
            <a:ext cx="34925" cy="34925"/>
          </a:xfrm>
          <a:custGeom>
            <a:avLst/>
            <a:gdLst>
              <a:gd name="T0" fmla="*/ 0 w 16"/>
              <a:gd name="T1" fmla="*/ 2147483647 h 16"/>
              <a:gd name="T2" fmla="*/ 2147483647 w 16"/>
              <a:gd name="T3" fmla="*/ 0 h 16"/>
              <a:gd name="T4" fmla="*/ 2147483647 w 16"/>
              <a:gd name="T5" fmla="*/ 0 h 16"/>
              <a:gd name="T6" fmla="*/ 0 w 16"/>
              <a:gd name="T7" fmla="*/ 2147483647 h 1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6" h="16">
                <a:moveTo>
                  <a:pt x="0" y="16"/>
                </a:moveTo>
                <a:lnTo>
                  <a:pt x="16" y="0"/>
                </a:lnTo>
                <a:lnTo>
                  <a:pt x="8" y="0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2" name="Line 171"/>
          <p:cNvSpPr>
            <a:spLocks noChangeAspect="1" noChangeShapeType="1"/>
          </p:cNvSpPr>
          <p:nvPr/>
        </p:nvSpPr>
        <p:spPr bwMode="auto">
          <a:xfrm flipV="1">
            <a:off x="5636642" y="2324854"/>
            <a:ext cx="1587" cy="33337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3" name="Line 172"/>
          <p:cNvSpPr>
            <a:spLocks noChangeAspect="1" noChangeShapeType="1"/>
          </p:cNvSpPr>
          <p:nvPr/>
        </p:nvSpPr>
        <p:spPr bwMode="auto">
          <a:xfrm>
            <a:off x="5654104" y="2307391"/>
            <a:ext cx="19050" cy="1588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4" name="Freeform 173"/>
          <p:cNvSpPr>
            <a:spLocks noChangeAspect="1"/>
          </p:cNvSpPr>
          <p:nvPr/>
        </p:nvSpPr>
        <p:spPr bwMode="auto">
          <a:xfrm>
            <a:off x="5673154" y="2172454"/>
            <a:ext cx="15875" cy="34925"/>
          </a:xfrm>
          <a:custGeom>
            <a:avLst/>
            <a:gdLst>
              <a:gd name="T0" fmla="*/ 0 w 8"/>
              <a:gd name="T1" fmla="*/ 2147483647 h 16"/>
              <a:gd name="T2" fmla="*/ 0 w 8"/>
              <a:gd name="T3" fmla="*/ 2147483647 h 16"/>
              <a:gd name="T4" fmla="*/ 2147483647 w 8"/>
              <a:gd name="T5" fmla="*/ 2147483647 h 16"/>
              <a:gd name="T6" fmla="*/ 0 w 8"/>
              <a:gd name="T7" fmla="*/ 0 h 16"/>
              <a:gd name="T8" fmla="*/ 0 w 8"/>
              <a:gd name="T9" fmla="*/ 2147483647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8" h="16">
                <a:moveTo>
                  <a:pt x="0" y="8"/>
                </a:moveTo>
                <a:lnTo>
                  <a:pt x="0" y="16"/>
                </a:lnTo>
                <a:lnTo>
                  <a:pt x="8" y="8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5" name="Freeform 174"/>
          <p:cNvSpPr>
            <a:spLocks noChangeAspect="1"/>
          </p:cNvSpPr>
          <p:nvPr/>
        </p:nvSpPr>
        <p:spPr bwMode="auto">
          <a:xfrm>
            <a:off x="5619179" y="1921629"/>
            <a:ext cx="17463" cy="15875"/>
          </a:xfrm>
          <a:custGeom>
            <a:avLst/>
            <a:gdLst>
              <a:gd name="T0" fmla="*/ 0 w 8"/>
              <a:gd name="T1" fmla="*/ 2147483647 h 8"/>
              <a:gd name="T2" fmla="*/ 2147483647 w 8"/>
              <a:gd name="T3" fmla="*/ 2147483647 h 8"/>
              <a:gd name="T4" fmla="*/ 0 w 8"/>
              <a:gd name="T5" fmla="*/ 0 h 8"/>
              <a:gd name="T6" fmla="*/ 0 w 8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8"/>
                </a:moveTo>
                <a:lnTo>
                  <a:pt x="8" y="8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6" name="Freeform 175"/>
          <p:cNvSpPr>
            <a:spLocks noChangeAspect="1"/>
          </p:cNvSpPr>
          <p:nvPr/>
        </p:nvSpPr>
        <p:spPr bwMode="auto">
          <a:xfrm>
            <a:off x="5495354" y="1586666"/>
            <a:ext cx="69850" cy="15875"/>
          </a:xfrm>
          <a:custGeom>
            <a:avLst/>
            <a:gdLst>
              <a:gd name="T0" fmla="*/ 2147483647 w 32"/>
              <a:gd name="T1" fmla="*/ 2147483647 h 8"/>
              <a:gd name="T2" fmla="*/ 2147483647 w 32"/>
              <a:gd name="T3" fmla="*/ 0 h 8"/>
              <a:gd name="T4" fmla="*/ 0 w 32"/>
              <a:gd name="T5" fmla="*/ 0 h 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32" h="8">
                <a:moveTo>
                  <a:pt x="8" y="8"/>
                </a:moveTo>
                <a:lnTo>
                  <a:pt x="32" y="0"/>
                </a:lnTo>
                <a:lnTo>
                  <a:pt x="0" y="0"/>
                </a:lnTo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7" name="Freeform 176"/>
          <p:cNvSpPr>
            <a:spLocks noChangeAspect="1"/>
          </p:cNvSpPr>
          <p:nvPr/>
        </p:nvSpPr>
        <p:spPr bwMode="auto">
          <a:xfrm>
            <a:off x="4606354" y="1518404"/>
            <a:ext cx="71438" cy="17462"/>
          </a:xfrm>
          <a:custGeom>
            <a:avLst/>
            <a:gdLst>
              <a:gd name="T0" fmla="*/ 0 w 32"/>
              <a:gd name="T1" fmla="*/ 2147483647 h 8"/>
              <a:gd name="T2" fmla="*/ 2147483647 w 32"/>
              <a:gd name="T3" fmla="*/ 2147483647 h 8"/>
              <a:gd name="T4" fmla="*/ 2147483647 w 32"/>
              <a:gd name="T5" fmla="*/ 0 h 8"/>
              <a:gd name="T6" fmla="*/ 0 w 32"/>
              <a:gd name="T7" fmla="*/ 0 h 8"/>
              <a:gd name="T8" fmla="*/ 0 w 32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2" h="8">
                <a:moveTo>
                  <a:pt x="0" y="8"/>
                </a:moveTo>
                <a:lnTo>
                  <a:pt x="32" y="8"/>
                </a:lnTo>
                <a:lnTo>
                  <a:pt x="8" y="0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8" name="Line 177"/>
          <p:cNvSpPr>
            <a:spLocks noChangeAspect="1" noChangeShapeType="1"/>
          </p:cNvSpPr>
          <p:nvPr/>
        </p:nvSpPr>
        <p:spPr bwMode="auto">
          <a:xfrm>
            <a:off x="5495354" y="1602541"/>
            <a:ext cx="15875" cy="15875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9" name="Line 178"/>
          <p:cNvSpPr>
            <a:spLocks noChangeAspect="1" noChangeShapeType="1"/>
          </p:cNvSpPr>
          <p:nvPr/>
        </p:nvSpPr>
        <p:spPr bwMode="auto">
          <a:xfrm>
            <a:off x="4571429" y="1535866"/>
            <a:ext cx="15875" cy="1588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0" name="Freeform 179"/>
          <p:cNvSpPr>
            <a:spLocks noChangeAspect="1"/>
          </p:cNvSpPr>
          <p:nvPr/>
        </p:nvSpPr>
        <p:spPr bwMode="auto">
          <a:xfrm>
            <a:off x="4641279" y="1483479"/>
            <a:ext cx="107950" cy="19050"/>
          </a:xfrm>
          <a:custGeom>
            <a:avLst/>
            <a:gdLst>
              <a:gd name="T0" fmla="*/ 0 w 48"/>
              <a:gd name="T1" fmla="*/ 0 h 8"/>
              <a:gd name="T2" fmla="*/ 2147483647 w 48"/>
              <a:gd name="T3" fmla="*/ 2147483647 h 8"/>
              <a:gd name="T4" fmla="*/ 2147483647 w 48"/>
              <a:gd name="T5" fmla="*/ 0 h 8"/>
              <a:gd name="T6" fmla="*/ 0 w 48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8" h="8">
                <a:moveTo>
                  <a:pt x="0" y="0"/>
                </a:moveTo>
                <a:lnTo>
                  <a:pt x="48" y="8"/>
                </a:lnTo>
                <a:lnTo>
                  <a:pt x="48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1" name="Freeform 180"/>
          <p:cNvSpPr>
            <a:spLocks noChangeAspect="1"/>
          </p:cNvSpPr>
          <p:nvPr/>
        </p:nvSpPr>
        <p:spPr bwMode="auto">
          <a:xfrm>
            <a:off x="4444429" y="1467604"/>
            <a:ext cx="177800" cy="34925"/>
          </a:xfrm>
          <a:custGeom>
            <a:avLst/>
            <a:gdLst>
              <a:gd name="T0" fmla="*/ 2147483647 w 80"/>
              <a:gd name="T1" fmla="*/ 2147483647 h 16"/>
              <a:gd name="T2" fmla="*/ 2147483647 w 80"/>
              <a:gd name="T3" fmla="*/ 2147483647 h 16"/>
              <a:gd name="T4" fmla="*/ 2147483647 w 80"/>
              <a:gd name="T5" fmla="*/ 2147483647 h 16"/>
              <a:gd name="T6" fmla="*/ 2147483647 w 80"/>
              <a:gd name="T7" fmla="*/ 2147483647 h 16"/>
              <a:gd name="T8" fmla="*/ 2147483647 w 80"/>
              <a:gd name="T9" fmla="*/ 0 h 16"/>
              <a:gd name="T10" fmla="*/ 2147483647 w 80"/>
              <a:gd name="T11" fmla="*/ 0 h 16"/>
              <a:gd name="T12" fmla="*/ 0 w 80"/>
              <a:gd name="T13" fmla="*/ 0 h 16"/>
              <a:gd name="T14" fmla="*/ 2147483647 w 80"/>
              <a:gd name="T15" fmla="*/ 2147483647 h 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80" h="16">
                <a:moveTo>
                  <a:pt x="8" y="8"/>
                </a:moveTo>
                <a:lnTo>
                  <a:pt x="40" y="16"/>
                </a:lnTo>
                <a:lnTo>
                  <a:pt x="72" y="16"/>
                </a:lnTo>
                <a:lnTo>
                  <a:pt x="80" y="8"/>
                </a:lnTo>
                <a:lnTo>
                  <a:pt x="40" y="0"/>
                </a:lnTo>
                <a:lnTo>
                  <a:pt x="8" y="0"/>
                </a:lnTo>
                <a:lnTo>
                  <a:pt x="0" y="0"/>
                </a:lnTo>
                <a:lnTo>
                  <a:pt x="8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2" name="Freeform 181"/>
          <p:cNvSpPr>
            <a:spLocks noChangeAspect="1"/>
          </p:cNvSpPr>
          <p:nvPr/>
        </p:nvSpPr>
        <p:spPr bwMode="auto">
          <a:xfrm>
            <a:off x="3647504" y="1385054"/>
            <a:ext cx="88900" cy="34925"/>
          </a:xfrm>
          <a:custGeom>
            <a:avLst/>
            <a:gdLst>
              <a:gd name="T0" fmla="*/ 0 w 40"/>
              <a:gd name="T1" fmla="*/ 2147483647 h 16"/>
              <a:gd name="T2" fmla="*/ 2147483647 w 40"/>
              <a:gd name="T3" fmla="*/ 2147483647 h 16"/>
              <a:gd name="T4" fmla="*/ 2147483647 w 40"/>
              <a:gd name="T5" fmla="*/ 2147483647 h 16"/>
              <a:gd name="T6" fmla="*/ 2147483647 w 40"/>
              <a:gd name="T7" fmla="*/ 0 h 16"/>
              <a:gd name="T8" fmla="*/ 0 w 40"/>
              <a:gd name="T9" fmla="*/ 0 h 16"/>
              <a:gd name="T10" fmla="*/ 0 w 40"/>
              <a:gd name="T11" fmla="*/ 2147483647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" h="16">
                <a:moveTo>
                  <a:pt x="0" y="16"/>
                </a:moveTo>
                <a:lnTo>
                  <a:pt x="40" y="16"/>
                </a:lnTo>
                <a:lnTo>
                  <a:pt x="32" y="8"/>
                </a:lnTo>
                <a:lnTo>
                  <a:pt x="8" y="0"/>
                </a:lnTo>
                <a:lnTo>
                  <a:pt x="0" y="0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3" name="Freeform 182"/>
          <p:cNvSpPr>
            <a:spLocks noChangeAspect="1"/>
          </p:cNvSpPr>
          <p:nvPr/>
        </p:nvSpPr>
        <p:spPr bwMode="auto">
          <a:xfrm>
            <a:off x="3433192" y="1351716"/>
            <a:ext cx="193675" cy="50800"/>
          </a:xfrm>
          <a:custGeom>
            <a:avLst/>
            <a:gdLst>
              <a:gd name="T0" fmla="*/ 0 w 88"/>
              <a:gd name="T1" fmla="*/ 2147483647 h 24"/>
              <a:gd name="T2" fmla="*/ 2147483647 w 88"/>
              <a:gd name="T3" fmla="*/ 2147483647 h 24"/>
              <a:gd name="T4" fmla="*/ 2147483647 w 88"/>
              <a:gd name="T5" fmla="*/ 2147483647 h 24"/>
              <a:gd name="T6" fmla="*/ 2147483647 w 88"/>
              <a:gd name="T7" fmla="*/ 2147483647 h 24"/>
              <a:gd name="T8" fmla="*/ 2147483647 w 88"/>
              <a:gd name="T9" fmla="*/ 0 h 24"/>
              <a:gd name="T10" fmla="*/ 2147483647 w 88"/>
              <a:gd name="T11" fmla="*/ 0 h 24"/>
              <a:gd name="T12" fmla="*/ 2147483647 w 88"/>
              <a:gd name="T13" fmla="*/ 2147483647 h 24"/>
              <a:gd name="T14" fmla="*/ 0 w 88"/>
              <a:gd name="T15" fmla="*/ 2147483647 h 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88" h="24">
                <a:moveTo>
                  <a:pt x="0" y="8"/>
                </a:moveTo>
                <a:lnTo>
                  <a:pt x="40" y="24"/>
                </a:lnTo>
                <a:lnTo>
                  <a:pt x="88" y="24"/>
                </a:lnTo>
                <a:lnTo>
                  <a:pt x="80" y="16"/>
                </a:lnTo>
                <a:lnTo>
                  <a:pt x="24" y="0"/>
                </a:lnTo>
                <a:lnTo>
                  <a:pt x="8" y="0"/>
                </a:lnTo>
                <a:lnTo>
                  <a:pt x="8" y="8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4" name="Freeform 183"/>
          <p:cNvSpPr>
            <a:spLocks noChangeAspect="1"/>
          </p:cNvSpPr>
          <p:nvPr/>
        </p:nvSpPr>
        <p:spPr bwMode="auto">
          <a:xfrm>
            <a:off x="2790254" y="1451729"/>
            <a:ext cx="304800" cy="150812"/>
          </a:xfrm>
          <a:custGeom>
            <a:avLst/>
            <a:gdLst>
              <a:gd name="T0" fmla="*/ 2147483647 w 136"/>
              <a:gd name="T1" fmla="*/ 2147483647 h 72"/>
              <a:gd name="T2" fmla="*/ 2147483647 w 136"/>
              <a:gd name="T3" fmla="*/ 2147483647 h 72"/>
              <a:gd name="T4" fmla="*/ 2147483647 w 136"/>
              <a:gd name="T5" fmla="*/ 2147483647 h 72"/>
              <a:gd name="T6" fmla="*/ 2147483647 w 136"/>
              <a:gd name="T7" fmla="*/ 2147483647 h 72"/>
              <a:gd name="T8" fmla="*/ 2147483647 w 136"/>
              <a:gd name="T9" fmla="*/ 2147483647 h 72"/>
              <a:gd name="T10" fmla="*/ 2147483647 w 136"/>
              <a:gd name="T11" fmla="*/ 2147483647 h 72"/>
              <a:gd name="T12" fmla="*/ 2147483647 w 136"/>
              <a:gd name="T13" fmla="*/ 2147483647 h 72"/>
              <a:gd name="T14" fmla="*/ 2147483647 w 136"/>
              <a:gd name="T15" fmla="*/ 0 h 72"/>
              <a:gd name="T16" fmla="*/ 2147483647 w 136"/>
              <a:gd name="T17" fmla="*/ 0 h 72"/>
              <a:gd name="T18" fmla="*/ 2147483647 w 136"/>
              <a:gd name="T19" fmla="*/ 0 h 72"/>
              <a:gd name="T20" fmla="*/ 2147483647 w 136"/>
              <a:gd name="T21" fmla="*/ 2147483647 h 72"/>
              <a:gd name="T22" fmla="*/ 2147483647 w 136"/>
              <a:gd name="T23" fmla="*/ 2147483647 h 72"/>
              <a:gd name="T24" fmla="*/ 2147483647 w 136"/>
              <a:gd name="T25" fmla="*/ 2147483647 h 72"/>
              <a:gd name="T26" fmla="*/ 2147483647 w 136"/>
              <a:gd name="T27" fmla="*/ 2147483647 h 72"/>
              <a:gd name="T28" fmla="*/ 2147483647 w 136"/>
              <a:gd name="T29" fmla="*/ 2147483647 h 72"/>
              <a:gd name="T30" fmla="*/ 2147483647 w 136"/>
              <a:gd name="T31" fmla="*/ 2147483647 h 72"/>
              <a:gd name="T32" fmla="*/ 2147483647 w 136"/>
              <a:gd name="T33" fmla="*/ 2147483647 h 72"/>
              <a:gd name="T34" fmla="*/ 0 w 136"/>
              <a:gd name="T35" fmla="*/ 2147483647 h 72"/>
              <a:gd name="T36" fmla="*/ 2147483647 w 136"/>
              <a:gd name="T37" fmla="*/ 2147483647 h 7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36" h="72">
                <a:moveTo>
                  <a:pt x="8" y="64"/>
                </a:moveTo>
                <a:lnTo>
                  <a:pt x="32" y="72"/>
                </a:lnTo>
                <a:lnTo>
                  <a:pt x="64" y="72"/>
                </a:lnTo>
                <a:lnTo>
                  <a:pt x="48" y="64"/>
                </a:lnTo>
                <a:lnTo>
                  <a:pt x="40" y="48"/>
                </a:lnTo>
                <a:lnTo>
                  <a:pt x="72" y="16"/>
                </a:lnTo>
                <a:lnTo>
                  <a:pt x="136" y="8"/>
                </a:lnTo>
                <a:lnTo>
                  <a:pt x="128" y="0"/>
                </a:lnTo>
                <a:lnTo>
                  <a:pt x="120" y="0"/>
                </a:lnTo>
                <a:lnTo>
                  <a:pt x="104" y="0"/>
                </a:lnTo>
                <a:lnTo>
                  <a:pt x="64" y="8"/>
                </a:lnTo>
                <a:lnTo>
                  <a:pt x="24" y="16"/>
                </a:lnTo>
                <a:lnTo>
                  <a:pt x="24" y="32"/>
                </a:lnTo>
                <a:lnTo>
                  <a:pt x="16" y="32"/>
                </a:lnTo>
                <a:lnTo>
                  <a:pt x="24" y="40"/>
                </a:lnTo>
                <a:lnTo>
                  <a:pt x="8" y="48"/>
                </a:lnTo>
                <a:lnTo>
                  <a:pt x="16" y="48"/>
                </a:lnTo>
                <a:lnTo>
                  <a:pt x="0" y="56"/>
                </a:lnTo>
                <a:lnTo>
                  <a:pt x="8" y="6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5" name="Freeform 184"/>
          <p:cNvSpPr>
            <a:spLocks noChangeAspect="1"/>
          </p:cNvSpPr>
          <p:nvPr/>
        </p:nvSpPr>
        <p:spPr bwMode="auto">
          <a:xfrm>
            <a:off x="2756917" y="1635879"/>
            <a:ext cx="52387" cy="17462"/>
          </a:xfrm>
          <a:custGeom>
            <a:avLst/>
            <a:gdLst>
              <a:gd name="T0" fmla="*/ 2147483647 w 24"/>
              <a:gd name="T1" fmla="*/ 2147483647 h 8"/>
              <a:gd name="T2" fmla="*/ 2147483647 w 24"/>
              <a:gd name="T3" fmla="*/ 2147483647 h 8"/>
              <a:gd name="T4" fmla="*/ 2147483647 w 24"/>
              <a:gd name="T5" fmla="*/ 0 h 8"/>
              <a:gd name="T6" fmla="*/ 2147483647 w 24"/>
              <a:gd name="T7" fmla="*/ 0 h 8"/>
              <a:gd name="T8" fmla="*/ 0 w 24"/>
              <a:gd name="T9" fmla="*/ 0 h 8"/>
              <a:gd name="T10" fmla="*/ 2147483647 w 24"/>
              <a:gd name="T11" fmla="*/ 2147483647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4" h="8">
                <a:moveTo>
                  <a:pt x="8" y="8"/>
                </a:moveTo>
                <a:lnTo>
                  <a:pt x="16" y="8"/>
                </a:lnTo>
                <a:lnTo>
                  <a:pt x="24" y="0"/>
                </a:lnTo>
                <a:lnTo>
                  <a:pt x="8" y="0"/>
                </a:lnTo>
                <a:lnTo>
                  <a:pt x="0" y="0"/>
                </a:lnTo>
                <a:lnTo>
                  <a:pt x="8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6" name="Freeform 185"/>
          <p:cNvSpPr>
            <a:spLocks noChangeAspect="1"/>
          </p:cNvSpPr>
          <p:nvPr/>
        </p:nvSpPr>
        <p:spPr bwMode="auto">
          <a:xfrm>
            <a:off x="2790254" y="1351716"/>
            <a:ext cx="144463" cy="17463"/>
          </a:xfrm>
          <a:custGeom>
            <a:avLst/>
            <a:gdLst>
              <a:gd name="T0" fmla="*/ 0 w 64"/>
              <a:gd name="T1" fmla="*/ 2147483647 h 8"/>
              <a:gd name="T2" fmla="*/ 2147483647 w 64"/>
              <a:gd name="T3" fmla="*/ 2147483647 h 8"/>
              <a:gd name="T4" fmla="*/ 2147483647 w 64"/>
              <a:gd name="T5" fmla="*/ 2147483647 h 8"/>
              <a:gd name="T6" fmla="*/ 2147483647 w 64"/>
              <a:gd name="T7" fmla="*/ 0 h 8"/>
              <a:gd name="T8" fmla="*/ 2147483647 w 64"/>
              <a:gd name="T9" fmla="*/ 0 h 8"/>
              <a:gd name="T10" fmla="*/ 2147483647 w 64"/>
              <a:gd name="T11" fmla="*/ 0 h 8"/>
              <a:gd name="T12" fmla="*/ 0 w 64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8">
                <a:moveTo>
                  <a:pt x="0" y="8"/>
                </a:moveTo>
                <a:lnTo>
                  <a:pt x="40" y="8"/>
                </a:lnTo>
                <a:lnTo>
                  <a:pt x="48" y="8"/>
                </a:lnTo>
                <a:lnTo>
                  <a:pt x="40" y="0"/>
                </a:lnTo>
                <a:lnTo>
                  <a:pt x="64" y="0"/>
                </a:lnTo>
                <a:lnTo>
                  <a:pt x="56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7" name="Freeform 186"/>
          <p:cNvSpPr>
            <a:spLocks noChangeAspect="1"/>
          </p:cNvSpPr>
          <p:nvPr/>
        </p:nvSpPr>
        <p:spPr bwMode="auto">
          <a:xfrm>
            <a:off x="2737867" y="1334254"/>
            <a:ext cx="90487" cy="17462"/>
          </a:xfrm>
          <a:custGeom>
            <a:avLst/>
            <a:gdLst>
              <a:gd name="T0" fmla="*/ 0 w 40"/>
              <a:gd name="T1" fmla="*/ 2147483647 h 8"/>
              <a:gd name="T2" fmla="*/ 2147483647 w 40"/>
              <a:gd name="T3" fmla="*/ 2147483647 h 8"/>
              <a:gd name="T4" fmla="*/ 2147483647 w 40"/>
              <a:gd name="T5" fmla="*/ 2147483647 h 8"/>
              <a:gd name="T6" fmla="*/ 2147483647 w 40"/>
              <a:gd name="T7" fmla="*/ 0 h 8"/>
              <a:gd name="T8" fmla="*/ 2147483647 w 40"/>
              <a:gd name="T9" fmla="*/ 2147483647 h 8"/>
              <a:gd name="T10" fmla="*/ 0 w 40"/>
              <a:gd name="T11" fmla="*/ 2147483647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" h="8">
                <a:moveTo>
                  <a:pt x="0" y="8"/>
                </a:moveTo>
                <a:lnTo>
                  <a:pt x="40" y="8"/>
                </a:lnTo>
                <a:lnTo>
                  <a:pt x="32" y="8"/>
                </a:lnTo>
                <a:lnTo>
                  <a:pt x="32" y="0"/>
                </a:lnTo>
                <a:lnTo>
                  <a:pt x="16" y="8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8" name="Freeform 187"/>
          <p:cNvSpPr>
            <a:spLocks noChangeAspect="1"/>
          </p:cNvSpPr>
          <p:nvPr/>
        </p:nvSpPr>
        <p:spPr bwMode="auto">
          <a:xfrm>
            <a:off x="2560067" y="1351716"/>
            <a:ext cx="123825" cy="17463"/>
          </a:xfrm>
          <a:custGeom>
            <a:avLst/>
            <a:gdLst>
              <a:gd name="T0" fmla="*/ 0 w 56"/>
              <a:gd name="T1" fmla="*/ 2147483647 h 8"/>
              <a:gd name="T2" fmla="*/ 2147483647 w 56"/>
              <a:gd name="T3" fmla="*/ 2147483647 h 8"/>
              <a:gd name="T4" fmla="*/ 2147483647 w 56"/>
              <a:gd name="T5" fmla="*/ 2147483647 h 8"/>
              <a:gd name="T6" fmla="*/ 2147483647 w 56"/>
              <a:gd name="T7" fmla="*/ 2147483647 h 8"/>
              <a:gd name="T8" fmla="*/ 2147483647 w 56"/>
              <a:gd name="T9" fmla="*/ 0 h 8"/>
              <a:gd name="T10" fmla="*/ 0 w 56"/>
              <a:gd name="T11" fmla="*/ 2147483647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6" h="8">
                <a:moveTo>
                  <a:pt x="0" y="8"/>
                </a:moveTo>
                <a:lnTo>
                  <a:pt x="40" y="8"/>
                </a:lnTo>
                <a:lnTo>
                  <a:pt x="48" y="8"/>
                </a:lnTo>
                <a:lnTo>
                  <a:pt x="56" y="8"/>
                </a:lnTo>
                <a:lnTo>
                  <a:pt x="24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9" name="Freeform 188"/>
          <p:cNvSpPr>
            <a:spLocks noChangeAspect="1"/>
          </p:cNvSpPr>
          <p:nvPr/>
        </p:nvSpPr>
        <p:spPr bwMode="auto">
          <a:xfrm>
            <a:off x="1955229" y="1369179"/>
            <a:ext cx="301625" cy="82550"/>
          </a:xfrm>
          <a:custGeom>
            <a:avLst/>
            <a:gdLst>
              <a:gd name="T0" fmla="*/ 0 w 136"/>
              <a:gd name="T1" fmla="*/ 2147483647 h 40"/>
              <a:gd name="T2" fmla="*/ 2147483647 w 136"/>
              <a:gd name="T3" fmla="*/ 2147483647 h 40"/>
              <a:gd name="T4" fmla="*/ 2147483647 w 136"/>
              <a:gd name="T5" fmla="*/ 2147483647 h 40"/>
              <a:gd name="T6" fmla="*/ 2147483647 w 136"/>
              <a:gd name="T7" fmla="*/ 2147483647 h 40"/>
              <a:gd name="T8" fmla="*/ 2147483647 w 136"/>
              <a:gd name="T9" fmla="*/ 2147483647 h 40"/>
              <a:gd name="T10" fmla="*/ 2147483647 w 136"/>
              <a:gd name="T11" fmla="*/ 2147483647 h 40"/>
              <a:gd name="T12" fmla="*/ 2147483647 w 136"/>
              <a:gd name="T13" fmla="*/ 2147483647 h 40"/>
              <a:gd name="T14" fmla="*/ 2147483647 w 136"/>
              <a:gd name="T15" fmla="*/ 2147483647 h 40"/>
              <a:gd name="T16" fmla="*/ 2147483647 w 136"/>
              <a:gd name="T17" fmla="*/ 2147483647 h 40"/>
              <a:gd name="T18" fmla="*/ 2147483647 w 136"/>
              <a:gd name="T19" fmla="*/ 2147483647 h 40"/>
              <a:gd name="T20" fmla="*/ 2147483647 w 136"/>
              <a:gd name="T21" fmla="*/ 2147483647 h 40"/>
              <a:gd name="T22" fmla="*/ 2147483647 w 136"/>
              <a:gd name="T23" fmla="*/ 2147483647 h 40"/>
              <a:gd name="T24" fmla="*/ 2147483647 w 136"/>
              <a:gd name="T25" fmla="*/ 2147483647 h 40"/>
              <a:gd name="T26" fmla="*/ 2147483647 w 136"/>
              <a:gd name="T27" fmla="*/ 2147483647 h 40"/>
              <a:gd name="T28" fmla="*/ 2147483647 w 136"/>
              <a:gd name="T29" fmla="*/ 2147483647 h 40"/>
              <a:gd name="T30" fmla="*/ 2147483647 w 136"/>
              <a:gd name="T31" fmla="*/ 2147483647 h 40"/>
              <a:gd name="T32" fmla="*/ 2147483647 w 136"/>
              <a:gd name="T33" fmla="*/ 2147483647 h 40"/>
              <a:gd name="T34" fmla="*/ 2147483647 w 136"/>
              <a:gd name="T35" fmla="*/ 0 h 40"/>
              <a:gd name="T36" fmla="*/ 2147483647 w 136"/>
              <a:gd name="T37" fmla="*/ 0 h 40"/>
              <a:gd name="T38" fmla="*/ 2147483647 w 136"/>
              <a:gd name="T39" fmla="*/ 2147483647 h 40"/>
              <a:gd name="T40" fmla="*/ 0 w 136"/>
              <a:gd name="T41" fmla="*/ 2147483647 h 4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36" h="40">
                <a:moveTo>
                  <a:pt x="0" y="8"/>
                </a:moveTo>
                <a:lnTo>
                  <a:pt x="8" y="16"/>
                </a:lnTo>
                <a:lnTo>
                  <a:pt x="16" y="24"/>
                </a:lnTo>
                <a:lnTo>
                  <a:pt x="32" y="24"/>
                </a:lnTo>
                <a:lnTo>
                  <a:pt x="24" y="24"/>
                </a:lnTo>
                <a:lnTo>
                  <a:pt x="24" y="32"/>
                </a:lnTo>
                <a:lnTo>
                  <a:pt x="48" y="40"/>
                </a:lnTo>
                <a:lnTo>
                  <a:pt x="64" y="24"/>
                </a:lnTo>
                <a:lnTo>
                  <a:pt x="80" y="16"/>
                </a:lnTo>
                <a:lnTo>
                  <a:pt x="88" y="24"/>
                </a:lnTo>
                <a:lnTo>
                  <a:pt x="88" y="32"/>
                </a:lnTo>
                <a:lnTo>
                  <a:pt x="104" y="32"/>
                </a:lnTo>
                <a:lnTo>
                  <a:pt x="120" y="32"/>
                </a:lnTo>
                <a:lnTo>
                  <a:pt x="64" y="16"/>
                </a:lnTo>
                <a:lnTo>
                  <a:pt x="64" y="8"/>
                </a:lnTo>
                <a:lnTo>
                  <a:pt x="104" y="16"/>
                </a:lnTo>
                <a:lnTo>
                  <a:pt x="136" y="8"/>
                </a:lnTo>
                <a:lnTo>
                  <a:pt x="128" y="0"/>
                </a:lnTo>
                <a:lnTo>
                  <a:pt x="72" y="0"/>
                </a:lnTo>
                <a:lnTo>
                  <a:pt x="40" y="8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10" name="Line 189"/>
          <p:cNvSpPr>
            <a:spLocks noChangeAspect="1" noChangeShapeType="1"/>
          </p:cNvSpPr>
          <p:nvPr/>
        </p:nvSpPr>
        <p:spPr bwMode="auto">
          <a:xfrm>
            <a:off x="2720404" y="1385054"/>
            <a:ext cx="36513" cy="1587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11" name="Line 190"/>
          <p:cNvSpPr>
            <a:spLocks noChangeAspect="1" noChangeShapeType="1"/>
          </p:cNvSpPr>
          <p:nvPr/>
        </p:nvSpPr>
        <p:spPr bwMode="auto">
          <a:xfrm>
            <a:off x="1528192" y="1853366"/>
            <a:ext cx="17462" cy="3175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12" name="Freeform 191"/>
          <p:cNvSpPr>
            <a:spLocks noChangeAspect="1"/>
          </p:cNvSpPr>
          <p:nvPr/>
        </p:nvSpPr>
        <p:spPr bwMode="auto">
          <a:xfrm>
            <a:off x="1653604" y="1889879"/>
            <a:ext cx="17463" cy="15875"/>
          </a:xfrm>
          <a:custGeom>
            <a:avLst/>
            <a:gdLst>
              <a:gd name="T0" fmla="*/ 0 w 8"/>
              <a:gd name="T1" fmla="*/ 0 h 8"/>
              <a:gd name="T2" fmla="*/ 2147483647 w 8"/>
              <a:gd name="T3" fmla="*/ 0 h 8"/>
              <a:gd name="T4" fmla="*/ 0 w 8"/>
              <a:gd name="T5" fmla="*/ 2147483647 h 8"/>
              <a:gd name="T6" fmla="*/ 0 w 8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0"/>
                </a:moveTo>
                <a:lnTo>
                  <a:pt x="8" y="0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13" name="Freeform 192"/>
          <p:cNvSpPr>
            <a:spLocks noChangeAspect="1"/>
          </p:cNvSpPr>
          <p:nvPr/>
        </p:nvSpPr>
        <p:spPr bwMode="auto">
          <a:xfrm>
            <a:off x="1512317" y="1937504"/>
            <a:ext cx="33337" cy="34925"/>
          </a:xfrm>
          <a:custGeom>
            <a:avLst/>
            <a:gdLst>
              <a:gd name="T0" fmla="*/ 0 w 16"/>
              <a:gd name="T1" fmla="*/ 2147483647 h 16"/>
              <a:gd name="T2" fmla="*/ 2147483647 w 16"/>
              <a:gd name="T3" fmla="*/ 2147483647 h 16"/>
              <a:gd name="T4" fmla="*/ 2147483647 w 16"/>
              <a:gd name="T5" fmla="*/ 0 h 16"/>
              <a:gd name="T6" fmla="*/ 0 w 16"/>
              <a:gd name="T7" fmla="*/ 2147483647 h 16"/>
              <a:gd name="T8" fmla="*/ 0 w 16"/>
              <a:gd name="T9" fmla="*/ 2147483647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" h="16">
                <a:moveTo>
                  <a:pt x="0" y="16"/>
                </a:moveTo>
                <a:lnTo>
                  <a:pt x="8" y="16"/>
                </a:lnTo>
                <a:lnTo>
                  <a:pt x="16" y="0"/>
                </a:lnTo>
                <a:lnTo>
                  <a:pt x="0" y="8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14" name="Freeform 193"/>
          <p:cNvSpPr>
            <a:spLocks noChangeAspect="1"/>
          </p:cNvSpPr>
          <p:nvPr/>
        </p:nvSpPr>
        <p:spPr bwMode="auto">
          <a:xfrm>
            <a:off x="2133029" y="1954966"/>
            <a:ext cx="19050" cy="34925"/>
          </a:xfrm>
          <a:custGeom>
            <a:avLst/>
            <a:gdLst>
              <a:gd name="T0" fmla="*/ 0 w 8"/>
              <a:gd name="T1" fmla="*/ 2147483647 h 16"/>
              <a:gd name="T2" fmla="*/ 0 w 8"/>
              <a:gd name="T3" fmla="*/ 2147483647 h 16"/>
              <a:gd name="T4" fmla="*/ 0 w 8"/>
              <a:gd name="T5" fmla="*/ 2147483647 h 16"/>
              <a:gd name="T6" fmla="*/ 2147483647 w 8"/>
              <a:gd name="T7" fmla="*/ 0 h 16"/>
              <a:gd name="T8" fmla="*/ 0 w 8"/>
              <a:gd name="T9" fmla="*/ 2147483647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8" h="16">
                <a:moveTo>
                  <a:pt x="0" y="8"/>
                </a:moveTo>
                <a:lnTo>
                  <a:pt x="0" y="16"/>
                </a:lnTo>
                <a:lnTo>
                  <a:pt x="0" y="8"/>
                </a:lnTo>
                <a:lnTo>
                  <a:pt x="8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15" name="Freeform 194"/>
          <p:cNvSpPr>
            <a:spLocks noChangeAspect="1"/>
          </p:cNvSpPr>
          <p:nvPr/>
        </p:nvSpPr>
        <p:spPr bwMode="auto">
          <a:xfrm>
            <a:off x="2223517" y="1937504"/>
            <a:ext cx="15875" cy="17462"/>
          </a:xfrm>
          <a:custGeom>
            <a:avLst/>
            <a:gdLst>
              <a:gd name="T0" fmla="*/ 0 w 8"/>
              <a:gd name="T1" fmla="*/ 2147483647 h 8"/>
              <a:gd name="T2" fmla="*/ 2147483647 w 8"/>
              <a:gd name="T3" fmla="*/ 0 h 8"/>
              <a:gd name="T4" fmla="*/ 0 w 8"/>
              <a:gd name="T5" fmla="*/ 0 h 8"/>
              <a:gd name="T6" fmla="*/ 0 w 8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8"/>
                </a:moveTo>
                <a:lnTo>
                  <a:pt x="8" y="0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16" name="Freeform 195"/>
          <p:cNvSpPr>
            <a:spLocks noChangeAspect="1"/>
          </p:cNvSpPr>
          <p:nvPr/>
        </p:nvSpPr>
        <p:spPr bwMode="auto">
          <a:xfrm>
            <a:off x="2223517" y="1921629"/>
            <a:ext cx="15875" cy="15875"/>
          </a:xfrm>
          <a:custGeom>
            <a:avLst/>
            <a:gdLst>
              <a:gd name="T0" fmla="*/ 0 w 8"/>
              <a:gd name="T1" fmla="*/ 2147483647 h 8"/>
              <a:gd name="T2" fmla="*/ 2147483647 w 8"/>
              <a:gd name="T3" fmla="*/ 2147483647 h 8"/>
              <a:gd name="T4" fmla="*/ 0 w 8"/>
              <a:gd name="T5" fmla="*/ 0 h 8"/>
              <a:gd name="T6" fmla="*/ 0 w 8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8"/>
                </a:moveTo>
                <a:lnTo>
                  <a:pt x="8" y="8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17" name="Freeform 196"/>
          <p:cNvSpPr>
            <a:spLocks noChangeAspect="1"/>
          </p:cNvSpPr>
          <p:nvPr/>
        </p:nvSpPr>
        <p:spPr bwMode="auto">
          <a:xfrm>
            <a:off x="1528192" y="1937504"/>
            <a:ext cx="193675" cy="252412"/>
          </a:xfrm>
          <a:custGeom>
            <a:avLst/>
            <a:gdLst>
              <a:gd name="T0" fmla="*/ 0 w 88"/>
              <a:gd name="T1" fmla="*/ 2147483647 h 120"/>
              <a:gd name="T2" fmla="*/ 2147483647 w 88"/>
              <a:gd name="T3" fmla="*/ 2147483647 h 120"/>
              <a:gd name="T4" fmla="*/ 2147483647 w 88"/>
              <a:gd name="T5" fmla="*/ 2147483647 h 120"/>
              <a:gd name="T6" fmla="*/ 2147483647 w 88"/>
              <a:gd name="T7" fmla="*/ 2147483647 h 120"/>
              <a:gd name="T8" fmla="*/ 2147483647 w 88"/>
              <a:gd name="T9" fmla="*/ 2147483647 h 120"/>
              <a:gd name="T10" fmla="*/ 2147483647 w 88"/>
              <a:gd name="T11" fmla="*/ 2147483647 h 120"/>
              <a:gd name="T12" fmla="*/ 2147483647 w 88"/>
              <a:gd name="T13" fmla="*/ 2147483647 h 120"/>
              <a:gd name="T14" fmla="*/ 2147483647 w 88"/>
              <a:gd name="T15" fmla="*/ 2147483647 h 120"/>
              <a:gd name="T16" fmla="*/ 2147483647 w 88"/>
              <a:gd name="T17" fmla="*/ 2147483647 h 120"/>
              <a:gd name="T18" fmla="*/ 2147483647 w 88"/>
              <a:gd name="T19" fmla="*/ 2147483647 h 120"/>
              <a:gd name="T20" fmla="*/ 2147483647 w 88"/>
              <a:gd name="T21" fmla="*/ 2147483647 h 120"/>
              <a:gd name="T22" fmla="*/ 2147483647 w 88"/>
              <a:gd name="T23" fmla="*/ 2147483647 h 120"/>
              <a:gd name="T24" fmla="*/ 2147483647 w 88"/>
              <a:gd name="T25" fmla="*/ 2147483647 h 120"/>
              <a:gd name="T26" fmla="*/ 2147483647 w 88"/>
              <a:gd name="T27" fmla="*/ 2147483647 h 120"/>
              <a:gd name="T28" fmla="*/ 2147483647 w 88"/>
              <a:gd name="T29" fmla="*/ 2147483647 h 120"/>
              <a:gd name="T30" fmla="*/ 2147483647 w 88"/>
              <a:gd name="T31" fmla="*/ 2147483647 h 120"/>
              <a:gd name="T32" fmla="*/ 2147483647 w 88"/>
              <a:gd name="T33" fmla="*/ 2147483647 h 120"/>
              <a:gd name="T34" fmla="*/ 2147483647 w 88"/>
              <a:gd name="T35" fmla="*/ 2147483647 h 120"/>
              <a:gd name="T36" fmla="*/ 2147483647 w 88"/>
              <a:gd name="T37" fmla="*/ 2147483647 h 120"/>
              <a:gd name="T38" fmla="*/ 2147483647 w 88"/>
              <a:gd name="T39" fmla="*/ 0 h 120"/>
              <a:gd name="T40" fmla="*/ 2147483647 w 88"/>
              <a:gd name="T41" fmla="*/ 0 h 120"/>
              <a:gd name="T42" fmla="*/ 2147483647 w 88"/>
              <a:gd name="T43" fmla="*/ 2147483647 h 120"/>
              <a:gd name="T44" fmla="*/ 2147483647 w 88"/>
              <a:gd name="T45" fmla="*/ 2147483647 h 120"/>
              <a:gd name="T46" fmla="*/ 0 w 88"/>
              <a:gd name="T47" fmla="*/ 2147483647 h 120"/>
              <a:gd name="T48" fmla="*/ 2147483647 w 88"/>
              <a:gd name="T49" fmla="*/ 2147483647 h 120"/>
              <a:gd name="T50" fmla="*/ 2147483647 w 88"/>
              <a:gd name="T51" fmla="*/ 2147483647 h 120"/>
              <a:gd name="T52" fmla="*/ 0 w 88"/>
              <a:gd name="T53" fmla="*/ 2147483647 h 120"/>
              <a:gd name="T54" fmla="*/ 2147483647 w 88"/>
              <a:gd name="T55" fmla="*/ 2147483647 h 120"/>
              <a:gd name="T56" fmla="*/ 2147483647 w 88"/>
              <a:gd name="T57" fmla="*/ 2147483647 h 120"/>
              <a:gd name="T58" fmla="*/ 2147483647 w 88"/>
              <a:gd name="T59" fmla="*/ 2147483647 h 120"/>
              <a:gd name="T60" fmla="*/ 2147483647 w 88"/>
              <a:gd name="T61" fmla="*/ 2147483647 h 120"/>
              <a:gd name="T62" fmla="*/ 2147483647 w 88"/>
              <a:gd name="T63" fmla="*/ 2147483647 h 120"/>
              <a:gd name="T64" fmla="*/ 2147483647 w 88"/>
              <a:gd name="T65" fmla="*/ 2147483647 h 120"/>
              <a:gd name="T66" fmla="*/ 2147483647 w 88"/>
              <a:gd name="T67" fmla="*/ 2147483647 h 120"/>
              <a:gd name="T68" fmla="*/ 2147483647 w 88"/>
              <a:gd name="T69" fmla="*/ 2147483647 h 120"/>
              <a:gd name="T70" fmla="*/ 2147483647 w 88"/>
              <a:gd name="T71" fmla="*/ 2147483647 h 120"/>
              <a:gd name="T72" fmla="*/ 2147483647 w 88"/>
              <a:gd name="T73" fmla="*/ 2147483647 h 120"/>
              <a:gd name="T74" fmla="*/ 2147483647 w 88"/>
              <a:gd name="T75" fmla="*/ 2147483647 h 120"/>
              <a:gd name="T76" fmla="*/ 2147483647 w 88"/>
              <a:gd name="T77" fmla="*/ 2147483647 h 120"/>
              <a:gd name="T78" fmla="*/ 2147483647 w 88"/>
              <a:gd name="T79" fmla="*/ 2147483647 h 120"/>
              <a:gd name="T80" fmla="*/ 2147483647 w 88"/>
              <a:gd name="T81" fmla="*/ 2147483647 h 120"/>
              <a:gd name="T82" fmla="*/ 2147483647 w 88"/>
              <a:gd name="T83" fmla="*/ 2147483647 h 120"/>
              <a:gd name="T84" fmla="*/ 2147483647 w 88"/>
              <a:gd name="T85" fmla="*/ 2147483647 h 120"/>
              <a:gd name="T86" fmla="*/ 2147483647 w 88"/>
              <a:gd name="T87" fmla="*/ 2147483647 h 120"/>
              <a:gd name="T88" fmla="*/ 0 w 88"/>
              <a:gd name="T89" fmla="*/ 2147483647 h 12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88" h="120">
                <a:moveTo>
                  <a:pt x="0" y="120"/>
                </a:moveTo>
                <a:lnTo>
                  <a:pt x="8" y="120"/>
                </a:lnTo>
                <a:lnTo>
                  <a:pt x="24" y="120"/>
                </a:lnTo>
                <a:lnTo>
                  <a:pt x="32" y="112"/>
                </a:lnTo>
                <a:lnTo>
                  <a:pt x="40" y="120"/>
                </a:lnTo>
                <a:lnTo>
                  <a:pt x="72" y="112"/>
                </a:lnTo>
                <a:lnTo>
                  <a:pt x="80" y="104"/>
                </a:lnTo>
                <a:lnTo>
                  <a:pt x="72" y="104"/>
                </a:lnTo>
                <a:lnTo>
                  <a:pt x="88" y="88"/>
                </a:lnTo>
                <a:lnTo>
                  <a:pt x="80" y="80"/>
                </a:lnTo>
                <a:lnTo>
                  <a:pt x="64" y="80"/>
                </a:lnTo>
                <a:lnTo>
                  <a:pt x="72" y="80"/>
                </a:lnTo>
                <a:lnTo>
                  <a:pt x="64" y="64"/>
                </a:lnTo>
                <a:lnTo>
                  <a:pt x="56" y="56"/>
                </a:lnTo>
                <a:lnTo>
                  <a:pt x="48" y="40"/>
                </a:lnTo>
                <a:lnTo>
                  <a:pt x="32" y="40"/>
                </a:lnTo>
                <a:lnTo>
                  <a:pt x="48" y="16"/>
                </a:lnTo>
                <a:lnTo>
                  <a:pt x="24" y="16"/>
                </a:lnTo>
                <a:lnTo>
                  <a:pt x="40" y="8"/>
                </a:lnTo>
                <a:lnTo>
                  <a:pt x="40" y="0"/>
                </a:lnTo>
                <a:lnTo>
                  <a:pt x="16" y="0"/>
                </a:lnTo>
                <a:lnTo>
                  <a:pt x="8" y="16"/>
                </a:lnTo>
                <a:lnTo>
                  <a:pt x="8" y="24"/>
                </a:lnTo>
                <a:lnTo>
                  <a:pt x="0" y="32"/>
                </a:lnTo>
                <a:lnTo>
                  <a:pt x="8" y="32"/>
                </a:lnTo>
                <a:lnTo>
                  <a:pt x="8" y="40"/>
                </a:lnTo>
                <a:lnTo>
                  <a:pt x="0" y="40"/>
                </a:lnTo>
                <a:lnTo>
                  <a:pt x="8" y="40"/>
                </a:lnTo>
                <a:lnTo>
                  <a:pt x="8" y="48"/>
                </a:lnTo>
                <a:lnTo>
                  <a:pt x="16" y="40"/>
                </a:lnTo>
                <a:lnTo>
                  <a:pt x="16" y="48"/>
                </a:lnTo>
                <a:lnTo>
                  <a:pt x="8" y="56"/>
                </a:lnTo>
                <a:lnTo>
                  <a:pt x="16" y="56"/>
                </a:lnTo>
                <a:lnTo>
                  <a:pt x="32" y="56"/>
                </a:lnTo>
                <a:lnTo>
                  <a:pt x="24" y="56"/>
                </a:lnTo>
                <a:lnTo>
                  <a:pt x="40" y="64"/>
                </a:lnTo>
                <a:lnTo>
                  <a:pt x="32" y="80"/>
                </a:lnTo>
                <a:lnTo>
                  <a:pt x="16" y="80"/>
                </a:lnTo>
                <a:lnTo>
                  <a:pt x="16" y="88"/>
                </a:lnTo>
                <a:lnTo>
                  <a:pt x="8" y="96"/>
                </a:lnTo>
                <a:lnTo>
                  <a:pt x="8" y="104"/>
                </a:lnTo>
                <a:lnTo>
                  <a:pt x="24" y="104"/>
                </a:lnTo>
                <a:lnTo>
                  <a:pt x="32" y="104"/>
                </a:lnTo>
                <a:lnTo>
                  <a:pt x="16" y="104"/>
                </a:lnTo>
                <a:lnTo>
                  <a:pt x="0" y="12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18" name="Freeform 197"/>
          <p:cNvSpPr>
            <a:spLocks noChangeAspect="1"/>
          </p:cNvSpPr>
          <p:nvPr/>
        </p:nvSpPr>
        <p:spPr bwMode="auto">
          <a:xfrm>
            <a:off x="1883792" y="2423279"/>
            <a:ext cx="17462" cy="50800"/>
          </a:xfrm>
          <a:custGeom>
            <a:avLst/>
            <a:gdLst>
              <a:gd name="T0" fmla="*/ 0 w 8"/>
              <a:gd name="T1" fmla="*/ 0 h 24"/>
              <a:gd name="T2" fmla="*/ 0 w 8"/>
              <a:gd name="T3" fmla="*/ 2147483647 h 24"/>
              <a:gd name="T4" fmla="*/ 2147483647 w 8"/>
              <a:gd name="T5" fmla="*/ 2147483647 h 24"/>
              <a:gd name="T6" fmla="*/ 2147483647 w 8"/>
              <a:gd name="T7" fmla="*/ 0 h 24"/>
              <a:gd name="T8" fmla="*/ 0 w 8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8" h="24">
                <a:moveTo>
                  <a:pt x="0" y="0"/>
                </a:moveTo>
                <a:lnTo>
                  <a:pt x="0" y="16"/>
                </a:lnTo>
                <a:lnTo>
                  <a:pt x="8" y="24"/>
                </a:lnTo>
                <a:lnTo>
                  <a:pt x="8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19" name="Freeform 198"/>
          <p:cNvSpPr>
            <a:spLocks noChangeAspect="1"/>
          </p:cNvSpPr>
          <p:nvPr/>
        </p:nvSpPr>
        <p:spPr bwMode="auto">
          <a:xfrm>
            <a:off x="1867917" y="2474079"/>
            <a:ext cx="50800" cy="66675"/>
          </a:xfrm>
          <a:custGeom>
            <a:avLst/>
            <a:gdLst>
              <a:gd name="T0" fmla="*/ 0 w 24"/>
              <a:gd name="T1" fmla="*/ 0 h 32"/>
              <a:gd name="T2" fmla="*/ 2147483647 w 24"/>
              <a:gd name="T3" fmla="*/ 2147483647 h 32"/>
              <a:gd name="T4" fmla="*/ 2147483647 w 24"/>
              <a:gd name="T5" fmla="*/ 2147483647 h 32"/>
              <a:gd name="T6" fmla="*/ 2147483647 w 24"/>
              <a:gd name="T7" fmla="*/ 2147483647 h 32"/>
              <a:gd name="T8" fmla="*/ 2147483647 w 24"/>
              <a:gd name="T9" fmla="*/ 0 h 32"/>
              <a:gd name="T10" fmla="*/ 0 w 24"/>
              <a:gd name="T11" fmla="*/ 0 h 3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4" h="32">
                <a:moveTo>
                  <a:pt x="0" y="0"/>
                </a:moveTo>
                <a:lnTo>
                  <a:pt x="8" y="32"/>
                </a:lnTo>
                <a:lnTo>
                  <a:pt x="24" y="32"/>
                </a:lnTo>
                <a:lnTo>
                  <a:pt x="24" y="8"/>
                </a:lnTo>
                <a:lnTo>
                  <a:pt x="16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20" name="Freeform 199"/>
          <p:cNvSpPr>
            <a:spLocks noChangeAspect="1"/>
          </p:cNvSpPr>
          <p:nvPr/>
        </p:nvSpPr>
        <p:spPr bwMode="auto">
          <a:xfrm>
            <a:off x="1990154" y="2558216"/>
            <a:ext cx="88900" cy="50800"/>
          </a:xfrm>
          <a:custGeom>
            <a:avLst/>
            <a:gdLst>
              <a:gd name="T0" fmla="*/ 0 w 40"/>
              <a:gd name="T1" fmla="*/ 2147483647 h 24"/>
              <a:gd name="T2" fmla="*/ 0 w 40"/>
              <a:gd name="T3" fmla="*/ 2147483647 h 24"/>
              <a:gd name="T4" fmla="*/ 2147483647 w 40"/>
              <a:gd name="T5" fmla="*/ 2147483647 h 24"/>
              <a:gd name="T6" fmla="*/ 2147483647 w 40"/>
              <a:gd name="T7" fmla="*/ 0 h 24"/>
              <a:gd name="T8" fmla="*/ 2147483647 w 40"/>
              <a:gd name="T9" fmla="*/ 2147483647 h 24"/>
              <a:gd name="T10" fmla="*/ 2147483647 w 40"/>
              <a:gd name="T11" fmla="*/ 2147483647 h 24"/>
              <a:gd name="T12" fmla="*/ 0 w 40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0" h="24">
                <a:moveTo>
                  <a:pt x="0" y="8"/>
                </a:moveTo>
                <a:lnTo>
                  <a:pt x="0" y="16"/>
                </a:lnTo>
                <a:lnTo>
                  <a:pt x="32" y="24"/>
                </a:lnTo>
                <a:lnTo>
                  <a:pt x="40" y="0"/>
                </a:lnTo>
                <a:lnTo>
                  <a:pt x="24" y="8"/>
                </a:lnTo>
                <a:lnTo>
                  <a:pt x="8" y="8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21" name="Freeform 200"/>
          <p:cNvSpPr>
            <a:spLocks noChangeAspect="1"/>
          </p:cNvSpPr>
          <p:nvPr/>
        </p:nvSpPr>
        <p:spPr bwMode="auto">
          <a:xfrm>
            <a:off x="2239392" y="2558216"/>
            <a:ext cx="53975" cy="68263"/>
          </a:xfrm>
          <a:custGeom>
            <a:avLst/>
            <a:gdLst>
              <a:gd name="T0" fmla="*/ 0 w 24"/>
              <a:gd name="T1" fmla="*/ 2147483647 h 32"/>
              <a:gd name="T2" fmla="*/ 0 w 24"/>
              <a:gd name="T3" fmla="*/ 2147483647 h 32"/>
              <a:gd name="T4" fmla="*/ 2147483647 w 24"/>
              <a:gd name="T5" fmla="*/ 2147483647 h 32"/>
              <a:gd name="T6" fmla="*/ 2147483647 w 24"/>
              <a:gd name="T7" fmla="*/ 2147483647 h 32"/>
              <a:gd name="T8" fmla="*/ 2147483647 w 24"/>
              <a:gd name="T9" fmla="*/ 2147483647 h 32"/>
              <a:gd name="T10" fmla="*/ 2147483647 w 24"/>
              <a:gd name="T11" fmla="*/ 2147483647 h 32"/>
              <a:gd name="T12" fmla="*/ 2147483647 w 24"/>
              <a:gd name="T13" fmla="*/ 2147483647 h 32"/>
              <a:gd name="T14" fmla="*/ 2147483647 w 24"/>
              <a:gd name="T15" fmla="*/ 2147483647 h 32"/>
              <a:gd name="T16" fmla="*/ 2147483647 w 24"/>
              <a:gd name="T17" fmla="*/ 2147483647 h 32"/>
              <a:gd name="T18" fmla="*/ 2147483647 w 24"/>
              <a:gd name="T19" fmla="*/ 0 h 32"/>
              <a:gd name="T20" fmla="*/ 0 w 24"/>
              <a:gd name="T21" fmla="*/ 2147483647 h 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4" h="32">
                <a:moveTo>
                  <a:pt x="0" y="8"/>
                </a:moveTo>
                <a:lnTo>
                  <a:pt x="0" y="16"/>
                </a:lnTo>
                <a:lnTo>
                  <a:pt x="8" y="24"/>
                </a:lnTo>
                <a:lnTo>
                  <a:pt x="16" y="32"/>
                </a:lnTo>
                <a:lnTo>
                  <a:pt x="16" y="24"/>
                </a:lnTo>
                <a:lnTo>
                  <a:pt x="24" y="32"/>
                </a:lnTo>
                <a:lnTo>
                  <a:pt x="16" y="16"/>
                </a:lnTo>
                <a:lnTo>
                  <a:pt x="24" y="16"/>
                </a:lnTo>
                <a:lnTo>
                  <a:pt x="16" y="8"/>
                </a:lnTo>
                <a:lnTo>
                  <a:pt x="8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22" name="Freeform 201"/>
          <p:cNvSpPr>
            <a:spLocks noChangeAspect="1"/>
          </p:cNvSpPr>
          <p:nvPr/>
        </p:nvSpPr>
        <p:spPr bwMode="auto">
          <a:xfrm>
            <a:off x="2310829" y="2640766"/>
            <a:ext cx="71438" cy="34925"/>
          </a:xfrm>
          <a:custGeom>
            <a:avLst/>
            <a:gdLst>
              <a:gd name="T0" fmla="*/ 0 w 32"/>
              <a:gd name="T1" fmla="*/ 2147483647 h 16"/>
              <a:gd name="T2" fmla="*/ 2147483647 w 32"/>
              <a:gd name="T3" fmla="*/ 2147483647 h 16"/>
              <a:gd name="T4" fmla="*/ 2147483647 w 32"/>
              <a:gd name="T5" fmla="*/ 2147483647 h 16"/>
              <a:gd name="T6" fmla="*/ 2147483647 w 32"/>
              <a:gd name="T7" fmla="*/ 2147483647 h 16"/>
              <a:gd name="T8" fmla="*/ 2147483647 w 32"/>
              <a:gd name="T9" fmla="*/ 2147483647 h 16"/>
              <a:gd name="T10" fmla="*/ 0 w 32"/>
              <a:gd name="T11" fmla="*/ 0 h 16"/>
              <a:gd name="T12" fmla="*/ 0 w 32"/>
              <a:gd name="T13" fmla="*/ 2147483647 h 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2" h="16">
                <a:moveTo>
                  <a:pt x="0" y="8"/>
                </a:moveTo>
                <a:lnTo>
                  <a:pt x="16" y="16"/>
                </a:lnTo>
                <a:lnTo>
                  <a:pt x="32" y="16"/>
                </a:lnTo>
                <a:lnTo>
                  <a:pt x="32" y="8"/>
                </a:lnTo>
                <a:lnTo>
                  <a:pt x="24" y="8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23" name="Freeform 202"/>
          <p:cNvSpPr>
            <a:spLocks noChangeAspect="1"/>
          </p:cNvSpPr>
          <p:nvPr/>
        </p:nvSpPr>
        <p:spPr bwMode="auto">
          <a:xfrm>
            <a:off x="2542604" y="2640766"/>
            <a:ext cx="71438" cy="34925"/>
          </a:xfrm>
          <a:custGeom>
            <a:avLst/>
            <a:gdLst>
              <a:gd name="T0" fmla="*/ 0 w 32"/>
              <a:gd name="T1" fmla="*/ 2147483647 h 16"/>
              <a:gd name="T2" fmla="*/ 2147483647 w 32"/>
              <a:gd name="T3" fmla="*/ 2147483647 h 16"/>
              <a:gd name="T4" fmla="*/ 2147483647 w 32"/>
              <a:gd name="T5" fmla="*/ 2147483647 h 16"/>
              <a:gd name="T6" fmla="*/ 2147483647 w 32"/>
              <a:gd name="T7" fmla="*/ 2147483647 h 16"/>
              <a:gd name="T8" fmla="*/ 2147483647 w 32"/>
              <a:gd name="T9" fmla="*/ 2147483647 h 16"/>
              <a:gd name="T10" fmla="*/ 2147483647 w 32"/>
              <a:gd name="T11" fmla="*/ 0 h 16"/>
              <a:gd name="T12" fmla="*/ 0 w 32"/>
              <a:gd name="T13" fmla="*/ 2147483647 h 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2" h="16">
                <a:moveTo>
                  <a:pt x="0" y="16"/>
                </a:moveTo>
                <a:lnTo>
                  <a:pt x="8" y="16"/>
                </a:lnTo>
                <a:lnTo>
                  <a:pt x="16" y="16"/>
                </a:lnTo>
                <a:lnTo>
                  <a:pt x="24" y="16"/>
                </a:lnTo>
                <a:lnTo>
                  <a:pt x="24" y="8"/>
                </a:lnTo>
                <a:lnTo>
                  <a:pt x="32" y="0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24" name="Freeform 203"/>
          <p:cNvSpPr>
            <a:spLocks noChangeAspect="1"/>
          </p:cNvSpPr>
          <p:nvPr/>
        </p:nvSpPr>
        <p:spPr bwMode="auto">
          <a:xfrm>
            <a:off x="1707579" y="2507416"/>
            <a:ext cx="34925" cy="33338"/>
          </a:xfrm>
          <a:custGeom>
            <a:avLst/>
            <a:gdLst>
              <a:gd name="T0" fmla="*/ 0 w 16"/>
              <a:gd name="T1" fmla="*/ 2147483647 h 16"/>
              <a:gd name="T2" fmla="*/ 2147483647 w 16"/>
              <a:gd name="T3" fmla="*/ 2147483647 h 16"/>
              <a:gd name="T4" fmla="*/ 2147483647 w 16"/>
              <a:gd name="T5" fmla="*/ 2147483647 h 16"/>
              <a:gd name="T6" fmla="*/ 2147483647 w 16"/>
              <a:gd name="T7" fmla="*/ 0 h 16"/>
              <a:gd name="T8" fmla="*/ 0 w 16"/>
              <a:gd name="T9" fmla="*/ 2147483647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" h="16">
                <a:moveTo>
                  <a:pt x="0" y="8"/>
                </a:moveTo>
                <a:lnTo>
                  <a:pt x="16" y="16"/>
                </a:lnTo>
                <a:lnTo>
                  <a:pt x="16" y="8"/>
                </a:lnTo>
                <a:lnTo>
                  <a:pt x="8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25" name="Freeform 204"/>
          <p:cNvSpPr>
            <a:spLocks noChangeAspect="1"/>
          </p:cNvSpPr>
          <p:nvPr/>
        </p:nvSpPr>
        <p:spPr bwMode="auto">
          <a:xfrm>
            <a:off x="1156717" y="2875716"/>
            <a:ext cx="15875" cy="17463"/>
          </a:xfrm>
          <a:custGeom>
            <a:avLst/>
            <a:gdLst>
              <a:gd name="T0" fmla="*/ 0 w 8"/>
              <a:gd name="T1" fmla="*/ 0 h 8"/>
              <a:gd name="T2" fmla="*/ 0 w 8"/>
              <a:gd name="T3" fmla="*/ 2147483647 h 8"/>
              <a:gd name="T4" fmla="*/ 2147483647 w 8"/>
              <a:gd name="T5" fmla="*/ 0 h 8"/>
              <a:gd name="T6" fmla="*/ 0 w 8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0"/>
                </a:moveTo>
                <a:lnTo>
                  <a:pt x="0" y="8"/>
                </a:lnTo>
                <a:lnTo>
                  <a:pt x="8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26" name="Freeform 205"/>
          <p:cNvSpPr>
            <a:spLocks noChangeAspect="1"/>
          </p:cNvSpPr>
          <p:nvPr/>
        </p:nvSpPr>
        <p:spPr bwMode="auto">
          <a:xfrm>
            <a:off x="1228154" y="2859841"/>
            <a:ext cx="33338" cy="33338"/>
          </a:xfrm>
          <a:custGeom>
            <a:avLst/>
            <a:gdLst>
              <a:gd name="T0" fmla="*/ 0 w 16"/>
              <a:gd name="T1" fmla="*/ 2147483647 h 16"/>
              <a:gd name="T2" fmla="*/ 2147483647 w 16"/>
              <a:gd name="T3" fmla="*/ 2147483647 h 16"/>
              <a:gd name="T4" fmla="*/ 2147483647 w 16"/>
              <a:gd name="T5" fmla="*/ 0 h 16"/>
              <a:gd name="T6" fmla="*/ 2147483647 w 16"/>
              <a:gd name="T7" fmla="*/ 0 h 16"/>
              <a:gd name="T8" fmla="*/ 0 w 16"/>
              <a:gd name="T9" fmla="*/ 2147483647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" h="16">
                <a:moveTo>
                  <a:pt x="0" y="16"/>
                </a:moveTo>
                <a:lnTo>
                  <a:pt x="8" y="8"/>
                </a:lnTo>
                <a:lnTo>
                  <a:pt x="8" y="0"/>
                </a:lnTo>
                <a:lnTo>
                  <a:pt x="16" y="0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27" name="Freeform 206"/>
          <p:cNvSpPr>
            <a:spLocks noChangeAspect="1"/>
          </p:cNvSpPr>
          <p:nvPr/>
        </p:nvSpPr>
        <p:spPr bwMode="auto">
          <a:xfrm>
            <a:off x="4890517" y="4115554"/>
            <a:ext cx="1154112" cy="908050"/>
          </a:xfrm>
          <a:custGeom>
            <a:avLst/>
            <a:gdLst>
              <a:gd name="T0" fmla="*/ 2147483647 w 520"/>
              <a:gd name="T1" fmla="*/ 2147483647 h 432"/>
              <a:gd name="T2" fmla="*/ 2147483647 w 520"/>
              <a:gd name="T3" fmla="*/ 2147483647 h 432"/>
              <a:gd name="T4" fmla="*/ 2147483647 w 520"/>
              <a:gd name="T5" fmla="*/ 2147483647 h 432"/>
              <a:gd name="T6" fmla="*/ 2147483647 w 520"/>
              <a:gd name="T7" fmla="*/ 2147483647 h 432"/>
              <a:gd name="T8" fmla="*/ 2147483647 w 520"/>
              <a:gd name="T9" fmla="*/ 2147483647 h 432"/>
              <a:gd name="T10" fmla="*/ 2147483647 w 520"/>
              <a:gd name="T11" fmla="*/ 2147483647 h 432"/>
              <a:gd name="T12" fmla="*/ 2147483647 w 520"/>
              <a:gd name="T13" fmla="*/ 2147483647 h 432"/>
              <a:gd name="T14" fmla="*/ 2147483647 w 520"/>
              <a:gd name="T15" fmla="*/ 2147483647 h 432"/>
              <a:gd name="T16" fmla="*/ 2147483647 w 520"/>
              <a:gd name="T17" fmla="*/ 2147483647 h 432"/>
              <a:gd name="T18" fmla="*/ 2147483647 w 520"/>
              <a:gd name="T19" fmla="*/ 2147483647 h 432"/>
              <a:gd name="T20" fmla="*/ 2147483647 w 520"/>
              <a:gd name="T21" fmla="*/ 2147483647 h 432"/>
              <a:gd name="T22" fmla="*/ 2147483647 w 520"/>
              <a:gd name="T23" fmla="*/ 2147483647 h 432"/>
              <a:gd name="T24" fmla="*/ 2147483647 w 520"/>
              <a:gd name="T25" fmla="*/ 2147483647 h 432"/>
              <a:gd name="T26" fmla="*/ 2147483647 w 520"/>
              <a:gd name="T27" fmla="*/ 2147483647 h 432"/>
              <a:gd name="T28" fmla="*/ 2147483647 w 520"/>
              <a:gd name="T29" fmla="*/ 2147483647 h 432"/>
              <a:gd name="T30" fmla="*/ 2147483647 w 520"/>
              <a:gd name="T31" fmla="*/ 2147483647 h 432"/>
              <a:gd name="T32" fmla="*/ 2147483647 w 520"/>
              <a:gd name="T33" fmla="*/ 2147483647 h 432"/>
              <a:gd name="T34" fmla="*/ 2147483647 w 520"/>
              <a:gd name="T35" fmla="*/ 2147483647 h 432"/>
              <a:gd name="T36" fmla="*/ 2147483647 w 520"/>
              <a:gd name="T37" fmla="*/ 2147483647 h 432"/>
              <a:gd name="T38" fmla="*/ 2147483647 w 520"/>
              <a:gd name="T39" fmla="*/ 2147483647 h 432"/>
              <a:gd name="T40" fmla="*/ 2147483647 w 520"/>
              <a:gd name="T41" fmla="*/ 2147483647 h 432"/>
              <a:gd name="T42" fmla="*/ 2147483647 w 520"/>
              <a:gd name="T43" fmla="*/ 2147483647 h 432"/>
              <a:gd name="T44" fmla="*/ 2147483647 w 520"/>
              <a:gd name="T45" fmla="*/ 2147483647 h 432"/>
              <a:gd name="T46" fmla="*/ 2147483647 w 520"/>
              <a:gd name="T47" fmla="*/ 2147483647 h 432"/>
              <a:gd name="T48" fmla="*/ 2147483647 w 520"/>
              <a:gd name="T49" fmla="*/ 0 h 432"/>
              <a:gd name="T50" fmla="*/ 2147483647 w 520"/>
              <a:gd name="T51" fmla="*/ 2147483647 h 432"/>
              <a:gd name="T52" fmla="*/ 2147483647 w 520"/>
              <a:gd name="T53" fmla="*/ 2147483647 h 432"/>
              <a:gd name="T54" fmla="*/ 2147483647 w 520"/>
              <a:gd name="T55" fmla="*/ 2147483647 h 432"/>
              <a:gd name="T56" fmla="*/ 2147483647 w 520"/>
              <a:gd name="T57" fmla="*/ 2147483647 h 432"/>
              <a:gd name="T58" fmla="*/ 2147483647 w 520"/>
              <a:gd name="T59" fmla="*/ 2147483647 h 432"/>
              <a:gd name="T60" fmla="*/ 2147483647 w 520"/>
              <a:gd name="T61" fmla="*/ 2147483647 h 432"/>
              <a:gd name="T62" fmla="*/ 2147483647 w 520"/>
              <a:gd name="T63" fmla="*/ 2147483647 h 432"/>
              <a:gd name="T64" fmla="*/ 2147483647 w 520"/>
              <a:gd name="T65" fmla="*/ 2147483647 h 432"/>
              <a:gd name="T66" fmla="*/ 2147483647 w 520"/>
              <a:gd name="T67" fmla="*/ 2147483647 h 432"/>
              <a:gd name="T68" fmla="*/ 2147483647 w 520"/>
              <a:gd name="T69" fmla="*/ 2147483647 h 432"/>
              <a:gd name="T70" fmla="*/ 2147483647 w 520"/>
              <a:gd name="T71" fmla="*/ 2147483647 h 432"/>
              <a:gd name="T72" fmla="*/ 2147483647 w 520"/>
              <a:gd name="T73" fmla="*/ 2147483647 h 432"/>
              <a:gd name="T74" fmla="*/ 2147483647 w 520"/>
              <a:gd name="T75" fmla="*/ 2147483647 h 432"/>
              <a:gd name="T76" fmla="*/ 2147483647 w 520"/>
              <a:gd name="T77" fmla="*/ 2147483647 h 432"/>
              <a:gd name="T78" fmla="*/ 2147483647 w 520"/>
              <a:gd name="T79" fmla="*/ 2147483647 h 432"/>
              <a:gd name="T80" fmla="*/ 2147483647 w 520"/>
              <a:gd name="T81" fmla="*/ 2147483647 h 432"/>
              <a:gd name="T82" fmla="*/ 2147483647 w 520"/>
              <a:gd name="T83" fmla="*/ 2147483647 h 432"/>
              <a:gd name="T84" fmla="*/ 2147483647 w 520"/>
              <a:gd name="T85" fmla="*/ 2147483647 h 432"/>
              <a:gd name="T86" fmla="*/ 2147483647 w 520"/>
              <a:gd name="T87" fmla="*/ 2147483647 h 432"/>
              <a:gd name="T88" fmla="*/ 2147483647 w 520"/>
              <a:gd name="T89" fmla="*/ 2147483647 h 432"/>
              <a:gd name="T90" fmla="*/ 2147483647 w 520"/>
              <a:gd name="T91" fmla="*/ 2147483647 h 432"/>
              <a:gd name="T92" fmla="*/ 2147483647 w 520"/>
              <a:gd name="T93" fmla="*/ 2147483647 h 432"/>
              <a:gd name="T94" fmla="*/ 2147483647 w 520"/>
              <a:gd name="T95" fmla="*/ 2147483647 h 432"/>
              <a:gd name="T96" fmla="*/ 2147483647 w 520"/>
              <a:gd name="T97" fmla="*/ 2147483647 h 432"/>
              <a:gd name="T98" fmla="*/ 2147483647 w 520"/>
              <a:gd name="T99" fmla="*/ 2147483647 h 432"/>
              <a:gd name="T100" fmla="*/ 2147483647 w 520"/>
              <a:gd name="T101" fmla="*/ 2147483647 h 432"/>
              <a:gd name="T102" fmla="*/ 2147483647 w 520"/>
              <a:gd name="T103" fmla="*/ 2147483647 h 432"/>
              <a:gd name="T104" fmla="*/ 2147483647 w 520"/>
              <a:gd name="T105" fmla="*/ 2147483647 h 432"/>
              <a:gd name="T106" fmla="*/ 0 w 520"/>
              <a:gd name="T107" fmla="*/ 2147483647 h 43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20" h="432">
                <a:moveTo>
                  <a:pt x="0" y="360"/>
                </a:moveTo>
                <a:lnTo>
                  <a:pt x="8" y="368"/>
                </a:lnTo>
                <a:lnTo>
                  <a:pt x="32" y="368"/>
                </a:lnTo>
                <a:lnTo>
                  <a:pt x="64" y="352"/>
                </a:lnTo>
                <a:lnTo>
                  <a:pt x="104" y="352"/>
                </a:lnTo>
                <a:lnTo>
                  <a:pt x="112" y="336"/>
                </a:lnTo>
                <a:lnTo>
                  <a:pt x="144" y="328"/>
                </a:lnTo>
                <a:lnTo>
                  <a:pt x="216" y="320"/>
                </a:lnTo>
                <a:lnTo>
                  <a:pt x="248" y="336"/>
                </a:lnTo>
                <a:lnTo>
                  <a:pt x="248" y="344"/>
                </a:lnTo>
                <a:lnTo>
                  <a:pt x="248" y="368"/>
                </a:lnTo>
                <a:lnTo>
                  <a:pt x="288" y="336"/>
                </a:lnTo>
                <a:lnTo>
                  <a:pt x="288" y="344"/>
                </a:lnTo>
                <a:lnTo>
                  <a:pt x="264" y="376"/>
                </a:lnTo>
                <a:lnTo>
                  <a:pt x="272" y="368"/>
                </a:lnTo>
                <a:lnTo>
                  <a:pt x="288" y="360"/>
                </a:lnTo>
                <a:lnTo>
                  <a:pt x="288" y="368"/>
                </a:lnTo>
                <a:lnTo>
                  <a:pt x="280" y="376"/>
                </a:lnTo>
                <a:lnTo>
                  <a:pt x="288" y="376"/>
                </a:lnTo>
                <a:lnTo>
                  <a:pt x="288" y="384"/>
                </a:lnTo>
                <a:lnTo>
                  <a:pt x="296" y="392"/>
                </a:lnTo>
                <a:lnTo>
                  <a:pt x="288" y="400"/>
                </a:lnTo>
                <a:lnTo>
                  <a:pt x="296" y="424"/>
                </a:lnTo>
                <a:lnTo>
                  <a:pt x="312" y="424"/>
                </a:lnTo>
                <a:lnTo>
                  <a:pt x="320" y="424"/>
                </a:lnTo>
                <a:lnTo>
                  <a:pt x="344" y="408"/>
                </a:lnTo>
                <a:lnTo>
                  <a:pt x="344" y="424"/>
                </a:lnTo>
                <a:lnTo>
                  <a:pt x="352" y="416"/>
                </a:lnTo>
                <a:lnTo>
                  <a:pt x="352" y="424"/>
                </a:lnTo>
                <a:lnTo>
                  <a:pt x="352" y="432"/>
                </a:lnTo>
                <a:lnTo>
                  <a:pt x="384" y="416"/>
                </a:lnTo>
                <a:lnTo>
                  <a:pt x="408" y="408"/>
                </a:lnTo>
                <a:lnTo>
                  <a:pt x="432" y="384"/>
                </a:lnTo>
                <a:lnTo>
                  <a:pt x="496" y="312"/>
                </a:lnTo>
                <a:lnTo>
                  <a:pt x="520" y="272"/>
                </a:lnTo>
                <a:lnTo>
                  <a:pt x="520" y="232"/>
                </a:lnTo>
                <a:lnTo>
                  <a:pt x="512" y="200"/>
                </a:lnTo>
                <a:lnTo>
                  <a:pt x="504" y="192"/>
                </a:lnTo>
                <a:lnTo>
                  <a:pt x="504" y="184"/>
                </a:lnTo>
                <a:lnTo>
                  <a:pt x="496" y="176"/>
                </a:lnTo>
                <a:lnTo>
                  <a:pt x="488" y="144"/>
                </a:lnTo>
                <a:lnTo>
                  <a:pt x="472" y="136"/>
                </a:lnTo>
                <a:lnTo>
                  <a:pt x="464" y="128"/>
                </a:lnTo>
                <a:lnTo>
                  <a:pt x="464" y="104"/>
                </a:lnTo>
                <a:lnTo>
                  <a:pt x="456" y="88"/>
                </a:lnTo>
                <a:lnTo>
                  <a:pt x="456" y="64"/>
                </a:lnTo>
                <a:lnTo>
                  <a:pt x="448" y="56"/>
                </a:lnTo>
                <a:lnTo>
                  <a:pt x="440" y="56"/>
                </a:lnTo>
                <a:lnTo>
                  <a:pt x="432" y="8"/>
                </a:lnTo>
                <a:lnTo>
                  <a:pt x="424" y="0"/>
                </a:lnTo>
                <a:lnTo>
                  <a:pt x="424" y="8"/>
                </a:lnTo>
                <a:lnTo>
                  <a:pt x="408" y="80"/>
                </a:lnTo>
                <a:lnTo>
                  <a:pt x="392" y="104"/>
                </a:lnTo>
                <a:lnTo>
                  <a:pt x="384" y="104"/>
                </a:lnTo>
                <a:lnTo>
                  <a:pt x="376" y="112"/>
                </a:lnTo>
                <a:lnTo>
                  <a:pt x="368" y="96"/>
                </a:lnTo>
                <a:lnTo>
                  <a:pt x="352" y="80"/>
                </a:lnTo>
                <a:lnTo>
                  <a:pt x="336" y="80"/>
                </a:lnTo>
                <a:lnTo>
                  <a:pt x="336" y="72"/>
                </a:lnTo>
                <a:lnTo>
                  <a:pt x="328" y="64"/>
                </a:lnTo>
                <a:lnTo>
                  <a:pt x="336" y="56"/>
                </a:lnTo>
                <a:lnTo>
                  <a:pt x="336" y="40"/>
                </a:lnTo>
                <a:lnTo>
                  <a:pt x="344" y="40"/>
                </a:lnTo>
                <a:lnTo>
                  <a:pt x="352" y="24"/>
                </a:lnTo>
                <a:lnTo>
                  <a:pt x="344" y="24"/>
                </a:lnTo>
                <a:lnTo>
                  <a:pt x="336" y="32"/>
                </a:lnTo>
                <a:lnTo>
                  <a:pt x="336" y="24"/>
                </a:lnTo>
                <a:lnTo>
                  <a:pt x="328" y="24"/>
                </a:lnTo>
                <a:lnTo>
                  <a:pt x="296" y="8"/>
                </a:lnTo>
                <a:lnTo>
                  <a:pt x="296" y="16"/>
                </a:lnTo>
                <a:lnTo>
                  <a:pt x="288" y="24"/>
                </a:lnTo>
                <a:lnTo>
                  <a:pt x="272" y="24"/>
                </a:lnTo>
                <a:lnTo>
                  <a:pt x="264" y="32"/>
                </a:lnTo>
                <a:lnTo>
                  <a:pt x="264" y="48"/>
                </a:lnTo>
                <a:lnTo>
                  <a:pt x="256" y="48"/>
                </a:lnTo>
                <a:lnTo>
                  <a:pt x="248" y="56"/>
                </a:lnTo>
                <a:lnTo>
                  <a:pt x="256" y="64"/>
                </a:lnTo>
                <a:lnTo>
                  <a:pt x="248" y="72"/>
                </a:lnTo>
                <a:lnTo>
                  <a:pt x="240" y="64"/>
                </a:lnTo>
                <a:lnTo>
                  <a:pt x="232" y="72"/>
                </a:lnTo>
                <a:lnTo>
                  <a:pt x="224" y="56"/>
                </a:lnTo>
                <a:lnTo>
                  <a:pt x="224" y="48"/>
                </a:lnTo>
                <a:lnTo>
                  <a:pt x="216" y="48"/>
                </a:lnTo>
                <a:lnTo>
                  <a:pt x="200" y="64"/>
                </a:lnTo>
                <a:lnTo>
                  <a:pt x="192" y="64"/>
                </a:lnTo>
                <a:lnTo>
                  <a:pt x="176" y="88"/>
                </a:lnTo>
                <a:lnTo>
                  <a:pt x="168" y="80"/>
                </a:lnTo>
                <a:lnTo>
                  <a:pt x="168" y="88"/>
                </a:lnTo>
                <a:lnTo>
                  <a:pt x="168" y="96"/>
                </a:lnTo>
                <a:lnTo>
                  <a:pt x="160" y="104"/>
                </a:lnTo>
                <a:lnTo>
                  <a:pt x="160" y="88"/>
                </a:lnTo>
                <a:lnTo>
                  <a:pt x="144" y="104"/>
                </a:lnTo>
                <a:lnTo>
                  <a:pt x="144" y="112"/>
                </a:lnTo>
                <a:lnTo>
                  <a:pt x="120" y="136"/>
                </a:lnTo>
                <a:lnTo>
                  <a:pt x="56" y="152"/>
                </a:lnTo>
                <a:lnTo>
                  <a:pt x="32" y="176"/>
                </a:lnTo>
                <a:lnTo>
                  <a:pt x="32" y="168"/>
                </a:lnTo>
                <a:lnTo>
                  <a:pt x="24" y="184"/>
                </a:lnTo>
                <a:lnTo>
                  <a:pt x="24" y="192"/>
                </a:lnTo>
                <a:lnTo>
                  <a:pt x="16" y="200"/>
                </a:lnTo>
                <a:lnTo>
                  <a:pt x="16" y="240"/>
                </a:lnTo>
                <a:lnTo>
                  <a:pt x="8" y="224"/>
                </a:lnTo>
                <a:lnTo>
                  <a:pt x="8" y="240"/>
                </a:lnTo>
                <a:lnTo>
                  <a:pt x="8" y="232"/>
                </a:lnTo>
                <a:lnTo>
                  <a:pt x="16" y="280"/>
                </a:lnTo>
                <a:lnTo>
                  <a:pt x="16" y="320"/>
                </a:lnTo>
                <a:lnTo>
                  <a:pt x="8" y="344"/>
                </a:lnTo>
                <a:lnTo>
                  <a:pt x="0" y="344"/>
                </a:lnTo>
                <a:lnTo>
                  <a:pt x="0" y="36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28" name="Freeform 209"/>
          <p:cNvSpPr>
            <a:spLocks noChangeAspect="1"/>
          </p:cNvSpPr>
          <p:nvPr/>
        </p:nvSpPr>
        <p:spPr bwMode="auto">
          <a:xfrm>
            <a:off x="4461892" y="3596441"/>
            <a:ext cx="322262" cy="368300"/>
          </a:xfrm>
          <a:custGeom>
            <a:avLst/>
            <a:gdLst>
              <a:gd name="T0" fmla="*/ 0 w 144"/>
              <a:gd name="T1" fmla="*/ 0 h 176"/>
              <a:gd name="T2" fmla="*/ 0 w 144"/>
              <a:gd name="T3" fmla="*/ 2147483647 h 176"/>
              <a:gd name="T4" fmla="*/ 2147483647 w 144"/>
              <a:gd name="T5" fmla="*/ 2147483647 h 176"/>
              <a:gd name="T6" fmla="*/ 2147483647 w 144"/>
              <a:gd name="T7" fmla="*/ 2147483647 h 176"/>
              <a:gd name="T8" fmla="*/ 2147483647 w 144"/>
              <a:gd name="T9" fmla="*/ 2147483647 h 176"/>
              <a:gd name="T10" fmla="*/ 2147483647 w 144"/>
              <a:gd name="T11" fmla="*/ 2147483647 h 176"/>
              <a:gd name="T12" fmla="*/ 2147483647 w 144"/>
              <a:gd name="T13" fmla="*/ 2147483647 h 176"/>
              <a:gd name="T14" fmla="*/ 2147483647 w 144"/>
              <a:gd name="T15" fmla="*/ 2147483647 h 176"/>
              <a:gd name="T16" fmla="*/ 2147483647 w 144"/>
              <a:gd name="T17" fmla="*/ 2147483647 h 176"/>
              <a:gd name="T18" fmla="*/ 2147483647 w 144"/>
              <a:gd name="T19" fmla="*/ 2147483647 h 176"/>
              <a:gd name="T20" fmla="*/ 2147483647 w 144"/>
              <a:gd name="T21" fmla="*/ 2147483647 h 176"/>
              <a:gd name="T22" fmla="*/ 2147483647 w 144"/>
              <a:gd name="T23" fmla="*/ 2147483647 h 176"/>
              <a:gd name="T24" fmla="*/ 2147483647 w 144"/>
              <a:gd name="T25" fmla="*/ 2147483647 h 176"/>
              <a:gd name="T26" fmla="*/ 2147483647 w 144"/>
              <a:gd name="T27" fmla="*/ 2147483647 h 176"/>
              <a:gd name="T28" fmla="*/ 2147483647 w 144"/>
              <a:gd name="T29" fmla="*/ 2147483647 h 176"/>
              <a:gd name="T30" fmla="*/ 2147483647 w 144"/>
              <a:gd name="T31" fmla="*/ 2147483647 h 176"/>
              <a:gd name="T32" fmla="*/ 2147483647 w 144"/>
              <a:gd name="T33" fmla="*/ 2147483647 h 176"/>
              <a:gd name="T34" fmla="*/ 2147483647 w 144"/>
              <a:gd name="T35" fmla="*/ 2147483647 h 176"/>
              <a:gd name="T36" fmla="*/ 2147483647 w 144"/>
              <a:gd name="T37" fmla="*/ 2147483647 h 176"/>
              <a:gd name="T38" fmla="*/ 2147483647 w 144"/>
              <a:gd name="T39" fmla="*/ 2147483647 h 176"/>
              <a:gd name="T40" fmla="*/ 2147483647 w 144"/>
              <a:gd name="T41" fmla="*/ 2147483647 h 176"/>
              <a:gd name="T42" fmla="*/ 2147483647 w 144"/>
              <a:gd name="T43" fmla="*/ 2147483647 h 176"/>
              <a:gd name="T44" fmla="*/ 2147483647 w 144"/>
              <a:gd name="T45" fmla="*/ 2147483647 h 176"/>
              <a:gd name="T46" fmla="*/ 2147483647 w 144"/>
              <a:gd name="T47" fmla="*/ 2147483647 h 176"/>
              <a:gd name="T48" fmla="*/ 2147483647 w 144"/>
              <a:gd name="T49" fmla="*/ 2147483647 h 176"/>
              <a:gd name="T50" fmla="*/ 0 w 144"/>
              <a:gd name="T51" fmla="*/ 0 h 17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44" h="176">
                <a:moveTo>
                  <a:pt x="0" y="0"/>
                </a:moveTo>
                <a:lnTo>
                  <a:pt x="0" y="16"/>
                </a:lnTo>
                <a:lnTo>
                  <a:pt x="16" y="32"/>
                </a:lnTo>
                <a:lnTo>
                  <a:pt x="32" y="48"/>
                </a:lnTo>
                <a:lnTo>
                  <a:pt x="48" y="56"/>
                </a:lnTo>
                <a:lnTo>
                  <a:pt x="48" y="80"/>
                </a:lnTo>
                <a:lnTo>
                  <a:pt x="64" y="96"/>
                </a:lnTo>
                <a:lnTo>
                  <a:pt x="72" y="120"/>
                </a:lnTo>
                <a:lnTo>
                  <a:pt x="80" y="136"/>
                </a:lnTo>
                <a:lnTo>
                  <a:pt x="120" y="168"/>
                </a:lnTo>
                <a:lnTo>
                  <a:pt x="120" y="176"/>
                </a:lnTo>
                <a:lnTo>
                  <a:pt x="128" y="168"/>
                </a:lnTo>
                <a:lnTo>
                  <a:pt x="136" y="176"/>
                </a:lnTo>
                <a:lnTo>
                  <a:pt x="144" y="136"/>
                </a:lnTo>
                <a:lnTo>
                  <a:pt x="136" y="120"/>
                </a:lnTo>
                <a:lnTo>
                  <a:pt x="128" y="120"/>
                </a:lnTo>
                <a:lnTo>
                  <a:pt x="120" y="104"/>
                </a:lnTo>
                <a:lnTo>
                  <a:pt x="112" y="104"/>
                </a:lnTo>
                <a:lnTo>
                  <a:pt x="104" y="96"/>
                </a:lnTo>
                <a:lnTo>
                  <a:pt x="112" y="88"/>
                </a:lnTo>
                <a:lnTo>
                  <a:pt x="104" y="80"/>
                </a:lnTo>
                <a:lnTo>
                  <a:pt x="104" y="72"/>
                </a:lnTo>
                <a:lnTo>
                  <a:pt x="80" y="56"/>
                </a:lnTo>
                <a:lnTo>
                  <a:pt x="72" y="56"/>
                </a:lnTo>
                <a:lnTo>
                  <a:pt x="24" y="8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29" name="Freeform 210"/>
          <p:cNvSpPr>
            <a:spLocks noChangeAspect="1"/>
          </p:cNvSpPr>
          <p:nvPr/>
        </p:nvSpPr>
        <p:spPr bwMode="auto">
          <a:xfrm>
            <a:off x="4749229" y="3964741"/>
            <a:ext cx="266700" cy="85725"/>
          </a:xfrm>
          <a:custGeom>
            <a:avLst/>
            <a:gdLst>
              <a:gd name="T0" fmla="*/ 0 w 120"/>
              <a:gd name="T1" fmla="*/ 2147483647 h 40"/>
              <a:gd name="T2" fmla="*/ 2147483647 w 120"/>
              <a:gd name="T3" fmla="*/ 2147483647 h 40"/>
              <a:gd name="T4" fmla="*/ 2147483647 w 120"/>
              <a:gd name="T5" fmla="*/ 2147483647 h 40"/>
              <a:gd name="T6" fmla="*/ 2147483647 w 120"/>
              <a:gd name="T7" fmla="*/ 2147483647 h 40"/>
              <a:gd name="T8" fmla="*/ 2147483647 w 120"/>
              <a:gd name="T9" fmla="*/ 2147483647 h 40"/>
              <a:gd name="T10" fmla="*/ 2147483647 w 120"/>
              <a:gd name="T11" fmla="*/ 2147483647 h 40"/>
              <a:gd name="T12" fmla="*/ 2147483647 w 120"/>
              <a:gd name="T13" fmla="*/ 2147483647 h 40"/>
              <a:gd name="T14" fmla="*/ 2147483647 w 120"/>
              <a:gd name="T15" fmla="*/ 2147483647 h 40"/>
              <a:gd name="T16" fmla="*/ 2147483647 w 120"/>
              <a:gd name="T17" fmla="*/ 2147483647 h 40"/>
              <a:gd name="T18" fmla="*/ 2147483647 w 120"/>
              <a:gd name="T19" fmla="*/ 2147483647 h 40"/>
              <a:gd name="T20" fmla="*/ 2147483647 w 120"/>
              <a:gd name="T21" fmla="*/ 2147483647 h 40"/>
              <a:gd name="T22" fmla="*/ 2147483647 w 120"/>
              <a:gd name="T23" fmla="*/ 2147483647 h 40"/>
              <a:gd name="T24" fmla="*/ 2147483647 w 120"/>
              <a:gd name="T25" fmla="*/ 0 h 40"/>
              <a:gd name="T26" fmla="*/ 2147483647 w 120"/>
              <a:gd name="T27" fmla="*/ 0 h 40"/>
              <a:gd name="T28" fmla="*/ 0 w 120"/>
              <a:gd name="T29" fmla="*/ 2147483647 h 4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20" h="40">
                <a:moveTo>
                  <a:pt x="0" y="8"/>
                </a:moveTo>
                <a:lnTo>
                  <a:pt x="40" y="24"/>
                </a:lnTo>
                <a:lnTo>
                  <a:pt x="56" y="24"/>
                </a:lnTo>
                <a:lnTo>
                  <a:pt x="96" y="40"/>
                </a:lnTo>
                <a:lnTo>
                  <a:pt x="104" y="32"/>
                </a:lnTo>
                <a:lnTo>
                  <a:pt x="120" y="40"/>
                </a:lnTo>
                <a:lnTo>
                  <a:pt x="120" y="24"/>
                </a:lnTo>
                <a:lnTo>
                  <a:pt x="104" y="24"/>
                </a:lnTo>
                <a:lnTo>
                  <a:pt x="96" y="16"/>
                </a:lnTo>
                <a:lnTo>
                  <a:pt x="72" y="8"/>
                </a:lnTo>
                <a:lnTo>
                  <a:pt x="72" y="16"/>
                </a:lnTo>
                <a:lnTo>
                  <a:pt x="48" y="16"/>
                </a:lnTo>
                <a:lnTo>
                  <a:pt x="32" y="0"/>
                </a:lnTo>
                <a:lnTo>
                  <a:pt x="16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0" name="Freeform 211"/>
          <p:cNvSpPr>
            <a:spLocks noChangeAspect="1"/>
          </p:cNvSpPr>
          <p:nvPr/>
        </p:nvSpPr>
        <p:spPr bwMode="auto">
          <a:xfrm>
            <a:off x="5015929" y="4034591"/>
            <a:ext cx="34925" cy="15875"/>
          </a:xfrm>
          <a:custGeom>
            <a:avLst/>
            <a:gdLst>
              <a:gd name="T0" fmla="*/ 0 w 16"/>
              <a:gd name="T1" fmla="*/ 0 h 8"/>
              <a:gd name="T2" fmla="*/ 2147483647 w 16"/>
              <a:gd name="T3" fmla="*/ 2147483647 h 8"/>
              <a:gd name="T4" fmla="*/ 2147483647 w 16"/>
              <a:gd name="T5" fmla="*/ 0 h 8"/>
              <a:gd name="T6" fmla="*/ 0 w 16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6" h="8">
                <a:moveTo>
                  <a:pt x="0" y="0"/>
                </a:moveTo>
                <a:lnTo>
                  <a:pt x="8" y="8"/>
                </a:lnTo>
                <a:lnTo>
                  <a:pt x="16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1" name="Freeform 212"/>
          <p:cNvSpPr>
            <a:spLocks noChangeAspect="1"/>
          </p:cNvSpPr>
          <p:nvPr/>
        </p:nvSpPr>
        <p:spPr bwMode="auto">
          <a:xfrm>
            <a:off x="5066729" y="4034591"/>
            <a:ext cx="231775" cy="31750"/>
          </a:xfrm>
          <a:custGeom>
            <a:avLst/>
            <a:gdLst>
              <a:gd name="T0" fmla="*/ 0 w 104"/>
              <a:gd name="T1" fmla="*/ 2147483647 h 16"/>
              <a:gd name="T2" fmla="*/ 2147483647 w 104"/>
              <a:gd name="T3" fmla="*/ 2147483647 h 16"/>
              <a:gd name="T4" fmla="*/ 2147483647 w 104"/>
              <a:gd name="T5" fmla="*/ 2147483647 h 16"/>
              <a:gd name="T6" fmla="*/ 2147483647 w 104"/>
              <a:gd name="T7" fmla="*/ 2147483647 h 16"/>
              <a:gd name="T8" fmla="*/ 2147483647 w 104"/>
              <a:gd name="T9" fmla="*/ 2147483647 h 16"/>
              <a:gd name="T10" fmla="*/ 2147483647 w 104"/>
              <a:gd name="T11" fmla="*/ 0 h 16"/>
              <a:gd name="T12" fmla="*/ 2147483647 w 104"/>
              <a:gd name="T13" fmla="*/ 2147483647 h 16"/>
              <a:gd name="T14" fmla="*/ 2147483647 w 104"/>
              <a:gd name="T15" fmla="*/ 0 h 16"/>
              <a:gd name="T16" fmla="*/ 2147483647 w 104"/>
              <a:gd name="T17" fmla="*/ 2147483647 h 16"/>
              <a:gd name="T18" fmla="*/ 2147483647 w 104"/>
              <a:gd name="T19" fmla="*/ 0 h 16"/>
              <a:gd name="T20" fmla="*/ 2147483647 w 104"/>
              <a:gd name="T21" fmla="*/ 2147483647 h 16"/>
              <a:gd name="T22" fmla="*/ 2147483647 w 104"/>
              <a:gd name="T23" fmla="*/ 0 h 16"/>
              <a:gd name="T24" fmla="*/ 0 w 104"/>
              <a:gd name="T25" fmla="*/ 2147483647 h 16"/>
              <a:gd name="T26" fmla="*/ 0 w 104"/>
              <a:gd name="T27" fmla="*/ 2147483647 h 1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04" h="16">
                <a:moveTo>
                  <a:pt x="0" y="16"/>
                </a:moveTo>
                <a:lnTo>
                  <a:pt x="16" y="16"/>
                </a:lnTo>
                <a:lnTo>
                  <a:pt x="48" y="8"/>
                </a:lnTo>
                <a:lnTo>
                  <a:pt x="80" y="16"/>
                </a:lnTo>
                <a:lnTo>
                  <a:pt x="104" y="8"/>
                </a:lnTo>
                <a:lnTo>
                  <a:pt x="88" y="0"/>
                </a:lnTo>
                <a:lnTo>
                  <a:pt x="80" y="8"/>
                </a:lnTo>
                <a:lnTo>
                  <a:pt x="56" y="0"/>
                </a:lnTo>
                <a:lnTo>
                  <a:pt x="48" y="8"/>
                </a:lnTo>
                <a:lnTo>
                  <a:pt x="24" y="0"/>
                </a:lnTo>
                <a:lnTo>
                  <a:pt x="24" y="8"/>
                </a:lnTo>
                <a:lnTo>
                  <a:pt x="8" y="0"/>
                </a:lnTo>
                <a:lnTo>
                  <a:pt x="0" y="8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2" name="Freeform 213"/>
          <p:cNvSpPr>
            <a:spLocks noChangeAspect="1"/>
          </p:cNvSpPr>
          <p:nvPr/>
        </p:nvSpPr>
        <p:spPr bwMode="auto">
          <a:xfrm>
            <a:off x="5319142" y="4034591"/>
            <a:ext cx="14287" cy="15875"/>
          </a:xfrm>
          <a:custGeom>
            <a:avLst/>
            <a:gdLst>
              <a:gd name="T0" fmla="*/ 0 w 8"/>
              <a:gd name="T1" fmla="*/ 2147483647 h 8"/>
              <a:gd name="T2" fmla="*/ 2147483647 w 8"/>
              <a:gd name="T3" fmla="*/ 0 h 8"/>
              <a:gd name="T4" fmla="*/ 0 w 8"/>
              <a:gd name="T5" fmla="*/ 0 h 8"/>
              <a:gd name="T6" fmla="*/ 0 w 8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8"/>
                </a:moveTo>
                <a:lnTo>
                  <a:pt x="8" y="0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3" name="Freeform 214"/>
          <p:cNvSpPr>
            <a:spLocks noChangeAspect="1"/>
          </p:cNvSpPr>
          <p:nvPr/>
        </p:nvSpPr>
        <p:spPr bwMode="auto">
          <a:xfrm>
            <a:off x="5352479" y="4017129"/>
            <a:ext cx="34925" cy="17462"/>
          </a:xfrm>
          <a:custGeom>
            <a:avLst/>
            <a:gdLst>
              <a:gd name="T0" fmla="*/ 0 w 16"/>
              <a:gd name="T1" fmla="*/ 2147483647 h 8"/>
              <a:gd name="T2" fmla="*/ 2147483647 w 16"/>
              <a:gd name="T3" fmla="*/ 2147483647 h 8"/>
              <a:gd name="T4" fmla="*/ 2147483647 w 16"/>
              <a:gd name="T5" fmla="*/ 0 h 8"/>
              <a:gd name="T6" fmla="*/ 2147483647 w 16"/>
              <a:gd name="T7" fmla="*/ 0 h 8"/>
              <a:gd name="T8" fmla="*/ 0 w 16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" h="8">
                <a:moveTo>
                  <a:pt x="0" y="8"/>
                </a:moveTo>
                <a:lnTo>
                  <a:pt x="8" y="8"/>
                </a:lnTo>
                <a:lnTo>
                  <a:pt x="16" y="0"/>
                </a:lnTo>
                <a:lnTo>
                  <a:pt x="8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4" name="Freeform 215"/>
          <p:cNvSpPr>
            <a:spLocks noChangeAspect="1"/>
          </p:cNvSpPr>
          <p:nvPr/>
        </p:nvSpPr>
        <p:spPr bwMode="auto">
          <a:xfrm>
            <a:off x="5155629" y="4083804"/>
            <a:ext cx="53975" cy="17462"/>
          </a:xfrm>
          <a:custGeom>
            <a:avLst/>
            <a:gdLst>
              <a:gd name="T0" fmla="*/ 0 w 24"/>
              <a:gd name="T1" fmla="*/ 0 h 8"/>
              <a:gd name="T2" fmla="*/ 2147483647 w 24"/>
              <a:gd name="T3" fmla="*/ 2147483647 h 8"/>
              <a:gd name="T4" fmla="*/ 2147483647 w 24"/>
              <a:gd name="T5" fmla="*/ 2147483647 h 8"/>
              <a:gd name="T6" fmla="*/ 2147483647 w 24"/>
              <a:gd name="T7" fmla="*/ 0 h 8"/>
              <a:gd name="T8" fmla="*/ 0 w 24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" h="8">
                <a:moveTo>
                  <a:pt x="0" y="0"/>
                </a:moveTo>
                <a:lnTo>
                  <a:pt x="16" y="8"/>
                </a:lnTo>
                <a:lnTo>
                  <a:pt x="24" y="8"/>
                </a:lnTo>
                <a:lnTo>
                  <a:pt x="8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5" name="Freeform 216"/>
          <p:cNvSpPr>
            <a:spLocks noChangeAspect="1"/>
          </p:cNvSpPr>
          <p:nvPr/>
        </p:nvSpPr>
        <p:spPr bwMode="auto">
          <a:xfrm>
            <a:off x="5511229" y="4001254"/>
            <a:ext cx="17463" cy="33337"/>
          </a:xfrm>
          <a:custGeom>
            <a:avLst/>
            <a:gdLst>
              <a:gd name="T0" fmla="*/ 0 w 8"/>
              <a:gd name="T1" fmla="*/ 2147483647 h 16"/>
              <a:gd name="T2" fmla="*/ 2147483647 w 8"/>
              <a:gd name="T3" fmla="*/ 2147483647 h 16"/>
              <a:gd name="T4" fmla="*/ 2147483647 w 8"/>
              <a:gd name="T5" fmla="*/ 0 h 16"/>
              <a:gd name="T6" fmla="*/ 0 w 8"/>
              <a:gd name="T7" fmla="*/ 2147483647 h 1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16">
                <a:moveTo>
                  <a:pt x="0" y="16"/>
                </a:moveTo>
                <a:lnTo>
                  <a:pt x="8" y="8"/>
                </a:lnTo>
                <a:lnTo>
                  <a:pt x="8" y="0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6" name="Freeform 217"/>
          <p:cNvSpPr>
            <a:spLocks noChangeAspect="1"/>
          </p:cNvSpPr>
          <p:nvPr/>
        </p:nvSpPr>
        <p:spPr bwMode="auto">
          <a:xfrm>
            <a:off x="5600129" y="3948866"/>
            <a:ext cx="19050" cy="52388"/>
          </a:xfrm>
          <a:custGeom>
            <a:avLst/>
            <a:gdLst>
              <a:gd name="T0" fmla="*/ 0 w 8"/>
              <a:gd name="T1" fmla="*/ 2147483647 h 24"/>
              <a:gd name="T2" fmla="*/ 2147483647 w 8"/>
              <a:gd name="T3" fmla="*/ 2147483647 h 24"/>
              <a:gd name="T4" fmla="*/ 2147483647 w 8"/>
              <a:gd name="T5" fmla="*/ 0 h 24"/>
              <a:gd name="T6" fmla="*/ 0 w 8"/>
              <a:gd name="T7" fmla="*/ 2147483647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24">
                <a:moveTo>
                  <a:pt x="0" y="24"/>
                </a:moveTo>
                <a:lnTo>
                  <a:pt x="8" y="8"/>
                </a:lnTo>
                <a:lnTo>
                  <a:pt x="8" y="0"/>
                </a:lnTo>
                <a:lnTo>
                  <a:pt x="0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7" name="Freeform 218"/>
          <p:cNvSpPr>
            <a:spLocks noChangeAspect="1"/>
          </p:cNvSpPr>
          <p:nvPr/>
        </p:nvSpPr>
        <p:spPr bwMode="auto">
          <a:xfrm>
            <a:off x="4749229" y="3829804"/>
            <a:ext cx="50800" cy="52387"/>
          </a:xfrm>
          <a:custGeom>
            <a:avLst/>
            <a:gdLst>
              <a:gd name="T0" fmla="*/ 0 w 24"/>
              <a:gd name="T1" fmla="*/ 0 h 24"/>
              <a:gd name="T2" fmla="*/ 2147483647 w 24"/>
              <a:gd name="T3" fmla="*/ 2147483647 h 24"/>
              <a:gd name="T4" fmla="*/ 2147483647 w 24"/>
              <a:gd name="T5" fmla="*/ 2147483647 h 24"/>
              <a:gd name="T6" fmla="*/ 2147483647 w 24"/>
              <a:gd name="T7" fmla="*/ 2147483647 h 24"/>
              <a:gd name="T8" fmla="*/ 2147483647 w 24"/>
              <a:gd name="T9" fmla="*/ 2147483647 h 24"/>
              <a:gd name="T10" fmla="*/ 2147483647 w 24"/>
              <a:gd name="T11" fmla="*/ 2147483647 h 24"/>
              <a:gd name="T12" fmla="*/ 2147483647 w 24"/>
              <a:gd name="T13" fmla="*/ 0 h 24"/>
              <a:gd name="T14" fmla="*/ 0 w 24"/>
              <a:gd name="T15" fmla="*/ 0 h 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4" h="24">
                <a:moveTo>
                  <a:pt x="0" y="0"/>
                </a:moveTo>
                <a:lnTo>
                  <a:pt x="8" y="8"/>
                </a:lnTo>
                <a:lnTo>
                  <a:pt x="8" y="16"/>
                </a:lnTo>
                <a:lnTo>
                  <a:pt x="24" y="24"/>
                </a:lnTo>
                <a:lnTo>
                  <a:pt x="24" y="16"/>
                </a:lnTo>
                <a:lnTo>
                  <a:pt x="16" y="8"/>
                </a:lnTo>
                <a:lnTo>
                  <a:pt x="16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8" name="Freeform 219"/>
          <p:cNvSpPr>
            <a:spLocks noChangeAspect="1"/>
          </p:cNvSpPr>
          <p:nvPr/>
        </p:nvSpPr>
        <p:spPr bwMode="auto">
          <a:xfrm>
            <a:off x="4819079" y="3864729"/>
            <a:ext cx="19050" cy="17462"/>
          </a:xfrm>
          <a:custGeom>
            <a:avLst/>
            <a:gdLst>
              <a:gd name="T0" fmla="*/ 0 w 8"/>
              <a:gd name="T1" fmla="*/ 2147483647 h 8"/>
              <a:gd name="T2" fmla="*/ 2147483647 w 8"/>
              <a:gd name="T3" fmla="*/ 2147483647 h 8"/>
              <a:gd name="T4" fmla="*/ 2147483647 w 8"/>
              <a:gd name="T5" fmla="*/ 0 h 8"/>
              <a:gd name="T6" fmla="*/ 0 w 8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8"/>
                </a:moveTo>
                <a:lnTo>
                  <a:pt x="8" y="8"/>
                </a:lnTo>
                <a:lnTo>
                  <a:pt x="8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9" name="Line 220"/>
          <p:cNvSpPr>
            <a:spLocks noChangeAspect="1" noChangeShapeType="1"/>
          </p:cNvSpPr>
          <p:nvPr/>
        </p:nvSpPr>
        <p:spPr bwMode="auto">
          <a:xfrm>
            <a:off x="1618679" y="1937504"/>
            <a:ext cx="1588" cy="17462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40" name="Line 221"/>
          <p:cNvSpPr>
            <a:spLocks noChangeAspect="1" noChangeShapeType="1"/>
          </p:cNvSpPr>
          <p:nvPr/>
        </p:nvSpPr>
        <p:spPr bwMode="auto">
          <a:xfrm>
            <a:off x="4976242" y="4017129"/>
            <a:ext cx="39687" cy="1587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41" name="Freeform 222"/>
          <p:cNvSpPr>
            <a:spLocks noChangeAspect="1"/>
          </p:cNvSpPr>
          <p:nvPr/>
        </p:nvSpPr>
        <p:spPr bwMode="auto">
          <a:xfrm>
            <a:off x="5155629" y="3731379"/>
            <a:ext cx="196850" cy="233362"/>
          </a:xfrm>
          <a:custGeom>
            <a:avLst/>
            <a:gdLst>
              <a:gd name="T0" fmla="*/ 0 w 88"/>
              <a:gd name="T1" fmla="*/ 2147483647 h 112"/>
              <a:gd name="T2" fmla="*/ 0 w 88"/>
              <a:gd name="T3" fmla="*/ 2147483647 h 112"/>
              <a:gd name="T4" fmla="*/ 2147483647 w 88"/>
              <a:gd name="T5" fmla="*/ 2147483647 h 112"/>
              <a:gd name="T6" fmla="*/ 2147483647 w 88"/>
              <a:gd name="T7" fmla="*/ 2147483647 h 112"/>
              <a:gd name="T8" fmla="*/ 2147483647 w 88"/>
              <a:gd name="T9" fmla="*/ 2147483647 h 112"/>
              <a:gd name="T10" fmla="*/ 2147483647 w 88"/>
              <a:gd name="T11" fmla="*/ 2147483647 h 112"/>
              <a:gd name="T12" fmla="*/ 2147483647 w 88"/>
              <a:gd name="T13" fmla="*/ 2147483647 h 112"/>
              <a:gd name="T14" fmla="*/ 2147483647 w 88"/>
              <a:gd name="T15" fmla="*/ 2147483647 h 112"/>
              <a:gd name="T16" fmla="*/ 2147483647 w 88"/>
              <a:gd name="T17" fmla="*/ 2147483647 h 112"/>
              <a:gd name="T18" fmla="*/ 2147483647 w 88"/>
              <a:gd name="T19" fmla="*/ 2147483647 h 112"/>
              <a:gd name="T20" fmla="*/ 2147483647 w 88"/>
              <a:gd name="T21" fmla="*/ 2147483647 h 112"/>
              <a:gd name="T22" fmla="*/ 2147483647 w 88"/>
              <a:gd name="T23" fmla="*/ 2147483647 h 112"/>
              <a:gd name="T24" fmla="*/ 2147483647 w 88"/>
              <a:gd name="T25" fmla="*/ 2147483647 h 112"/>
              <a:gd name="T26" fmla="*/ 2147483647 w 88"/>
              <a:gd name="T27" fmla="*/ 2147483647 h 112"/>
              <a:gd name="T28" fmla="*/ 2147483647 w 88"/>
              <a:gd name="T29" fmla="*/ 2147483647 h 112"/>
              <a:gd name="T30" fmla="*/ 2147483647 w 88"/>
              <a:gd name="T31" fmla="*/ 2147483647 h 112"/>
              <a:gd name="T32" fmla="*/ 2147483647 w 88"/>
              <a:gd name="T33" fmla="*/ 2147483647 h 112"/>
              <a:gd name="T34" fmla="*/ 2147483647 w 88"/>
              <a:gd name="T35" fmla="*/ 2147483647 h 112"/>
              <a:gd name="T36" fmla="*/ 2147483647 w 88"/>
              <a:gd name="T37" fmla="*/ 2147483647 h 112"/>
              <a:gd name="T38" fmla="*/ 2147483647 w 88"/>
              <a:gd name="T39" fmla="*/ 2147483647 h 112"/>
              <a:gd name="T40" fmla="*/ 2147483647 w 88"/>
              <a:gd name="T41" fmla="*/ 2147483647 h 112"/>
              <a:gd name="T42" fmla="*/ 2147483647 w 88"/>
              <a:gd name="T43" fmla="*/ 2147483647 h 112"/>
              <a:gd name="T44" fmla="*/ 2147483647 w 88"/>
              <a:gd name="T45" fmla="*/ 2147483647 h 112"/>
              <a:gd name="T46" fmla="*/ 2147483647 w 88"/>
              <a:gd name="T47" fmla="*/ 2147483647 h 112"/>
              <a:gd name="T48" fmla="*/ 2147483647 w 88"/>
              <a:gd name="T49" fmla="*/ 2147483647 h 112"/>
              <a:gd name="T50" fmla="*/ 2147483647 w 88"/>
              <a:gd name="T51" fmla="*/ 2147483647 h 112"/>
              <a:gd name="T52" fmla="*/ 2147483647 w 88"/>
              <a:gd name="T53" fmla="*/ 2147483647 h 112"/>
              <a:gd name="T54" fmla="*/ 2147483647 w 88"/>
              <a:gd name="T55" fmla="*/ 2147483647 h 112"/>
              <a:gd name="T56" fmla="*/ 2147483647 w 88"/>
              <a:gd name="T57" fmla="*/ 2147483647 h 112"/>
              <a:gd name="T58" fmla="*/ 2147483647 w 88"/>
              <a:gd name="T59" fmla="*/ 0 h 112"/>
              <a:gd name="T60" fmla="*/ 2147483647 w 88"/>
              <a:gd name="T61" fmla="*/ 0 h 112"/>
              <a:gd name="T62" fmla="*/ 2147483647 w 88"/>
              <a:gd name="T63" fmla="*/ 2147483647 h 112"/>
              <a:gd name="T64" fmla="*/ 2147483647 w 88"/>
              <a:gd name="T65" fmla="*/ 2147483647 h 112"/>
              <a:gd name="T66" fmla="*/ 2147483647 w 88"/>
              <a:gd name="T67" fmla="*/ 0 h 112"/>
              <a:gd name="T68" fmla="*/ 2147483647 w 88"/>
              <a:gd name="T69" fmla="*/ 2147483647 h 112"/>
              <a:gd name="T70" fmla="*/ 2147483647 w 88"/>
              <a:gd name="T71" fmla="*/ 2147483647 h 112"/>
              <a:gd name="T72" fmla="*/ 2147483647 w 88"/>
              <a:gd name="T73" fmla="*/ 2147483647 h 112"/>
              <a:gd name="T74" fmla="*/ 0 w 88"/>
              <a:gd name="T75" fmla="*/ 2147483647 h 11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88" h="112">
                <a:moveTo>
                  <a:pt x="0" y="64"/>
                </a:moveTo>
                <a:lnTo>
                  <a:pt x="0" y="72"/>
                </a:lnTo>
                <a:lnTo>
                  <a:pt x="8" y="72"/>
                </a:lnTo>
                <a:lnTo>
                  <a:pt x="8" y="80"/>
                </a:lnTo>
                <a:lnTo>
                  <a:pt x="8" y="104"/>
                </a:lnTo>
                <a:lnTo>
                  <a:pt x="16" y="104"/>
                </a:lnTo>
                <a:lnTo>
                  <a:pt x="16" y="72"/>
                </a:lnTo>
                <a:lnTo>
                  <a:pt x="24" y="64"/>
                </a:lnTo>
                <a:lnTo>
                  <a:pt x="32" y="64"/>
                </a:lnTo>
                <a:lnTo>
                  <a:pt x="24" y="72"/>
                </a:lnTo>
                <a:lnTo>
                  <a:pt x="40" y="88"/>
                </a:lnTo>
                <a:lnTo>
                  <a:pt x="40" y="96"/>
                </a:lnTo>
                <a:lnTo>
                  <a:pt x="48" y="96"/>
                </a:lnTo>
                <a:lnTo>
                  <a:pt x="48" y="104"/>
                </a:lnTo>
                <a:lnTo>
                  <a:pt x="48" y="112"/>
                </a:lnTo>
                <a:lnTo>
                  <a:pt x="56" y="104"/>
                </a:lnTo>
                <a:lnTo>
                  <a:pt x="56" y="96"/>
                </a:lnTo>
                <a:lnTo>
                  <a:pt x="40" y="72"/>
                </a:lnTo>
                <a:lnTo>
                  <a:pt x="48" y="72"/>
                </a:lnTo>
                <a:lnTo>
                  <a:pt x="40" y="48"/>
                </a:lnTo>
                <a:lnTo>
                  <a:pt x="56" y="40"/>
                </a:lnTo>
                <a:lnTo>
                  <a:pt x="64" y="40"/>
                </a:lnTo>
                <a:lnTo>
                  <a:pt x="56" y="32"/>
                </a:lnTo>
                <a:lnTo>
                  <a:pt x="24" y="40"/>
                </a:lnTo>
                <a:lnTo>
                  <a:pt x="16" y="32"/>
                </a:lnTo>
                <a:lnTo>
                  <a:pt x="16" y="24"/>
                </a:lnTo>
                <a:lnTo>
                  <a:pt x="24" y="16"/>
                </a:lnTo>
                <a:lnTo>
                  <a:pt x="64" y="16"/>
                </a:lnTo>
                <a:lnTo>
                  <a:pt x="80" y="16"/>
                </a:lnTo>
                <a:lnTo>
                  <a:pt x="88" y="0"/>
                </a:lnTo>
                <a:lnTo>
                  <a:pt x="80" y="0"/>
                </a:lnTo>
                <a:lnTo>
                  <a:pt x="72" y="8"/>
                </a:lnTo>
                <a:lnTo>
                  <a:pt x="56" y="8"/>
                </a:lnTo>
                <a:lnTo>
                  <a:pt x="32" y="0"/>
                </a:lnTo>
                <a:lnTo>
                  <a:pt x="24" y="8"/>
                </a:lnTo>
                <a:lnTo>
                  <a:pt x="16" y="8"/>
                </a:lnTo>
                <a:lnTo>
                  <a:pt x="16" y="32"/>
                </a:lnTo>
                <a:lnTo>
                  <a:pt x="0" y="6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42" name="Freeform 223"/>
          <p:cNvSpPr>
            <a:spLocks noChangeAspect="1"/>
          </p:cNvSpPr>
          <p:nvPr/>
        </p:nvSpPr>
        <p:spPr bwMode="auto">
          <a:xfrm>
            <a:off x="5406454" y="3715504"/>
            <a:ext cx="50800" cy="98425"/>
          </a:xfrm>
          <a:custGeom>
            <a:avLst/>
            <a:gdLst>
              <a:gd name="T0" fmla="*/ 0 w 24"/>
              <a:gd name="T1" fmla="*/ 2147483647 h 48"/>
              <a:gd name="T2" fmla="*/ 2147483647 w 24"/>
              <a:gd name="T3" fmla="*/ 2147483647 h 48"/>
              <a:gd name="T4" fmla="*/ 2147483647 w 24"/>
              <a:gd name="T5" fmla="*/ 2147483647 h 48"/>
              <a:gd name="T6" fmla="*/ 2147483647 w 24"/>
              <a:gd name="T7" fmla="*/ 2147483647 h 48"/>
              <a:gd name="T8" fmla="*/ 2147483647 w 24"/>
              <a:gd name="T9" fmla="*/ 2147483647 h 48"/>
              <a:gd name="T10" fmla="*/ 2147483647 w 24"/>
              <a:gd name="T11" fmla="*/ 2147483647 h 48"/>
              <a:gd name="T12" fmla="*/ 2147483647 w 24"/>
              <a:gd name="T13" fmla="*/ 2147483647 h 48"/>
              <a:gd name="T14" fmla="*/ 2147483647 w 24"/>
              <a:gd name="T15" fmla="*/ 2147483647 h 48"/>
              <a:gd name="T16" fmla="*/ 2147483647 w 24"/>
              <a:gd name="T17" fmla="*/ 2147483647 h 48"/>
              <a:gd name="T18" fmla="*/ 2147483647 w 24"/>
              <a:gd name="T19" fmla="*/ 2147483647 h 48"/>
              <a:gd name="T20" fmla="*/ 2147483647 w 24"/>
              <a:gd name="T21" fmla="*/ 0 h 48"/>
              <a:gd name="T22" fmla="*/ 0 w 24"/>
              <a:gd name="T23" fmla="*/ 2147483647 h 4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4" h="48">
                <a:moveTo>
                  <a:pt x="0" y="16"/>
                </a:moveTo>
                <a:lnTo>
                  <a:pt x="8" y="32"/>
                </a:lnTo>
                <a:lnTo>
                  <a:pt x="16" y="48"/>
                </a:lnTo>
                <a:lnTo>
                  <a:pt x="8" y="32"/>
                </a:lnTo>
                <a:lnTo>
                  <a:pt x="8" y="24"/>
                </a:lnTo>
                <a:lnTo>
                  <a:pt x="16" y="24"/>
                </a:lnTo>
                <a:lnTo>
                  <a:pt x="16" y="16"/>
                </a:lnTo>
                <a:lnTo>
                  <a:pt x="24" y="16"/>
                </a:lnTo>
                <a:lnTo>
                  <a:pt x="24" y="8"/>
                </a:lnTo>
                <a:lnTo>
                  <a:pt x="16" y="8"/>
                </a:lnTo>
                <a:lnTo>
                  <a:pt x="8" y="0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43" name="Freeform 224"/>
          <p:cNvSpPr>
            <a:spLocks noChangeAspect="1"/>
          </p:cNvSpPr>
          <p:nvPr/>
        </p:nvSpPr>
        <p:spPr bwMode="auto">
          <a:xfrm>
            <a:off x="5368354" y="3882191"/>
            <a:ext cx="38100" cy="15875"/>
          </a:xfrm>
          <a:custGeom>
            <a:avLst/>
            <a:gdLst>
              <a:gd name="T0" fmla="*/ 0 w 16"/>
              <a:gd name="T1" fmla="*/ 0 h 8"/>
              <a:gd name="T2" fmla="*/ 2147483647 w 16"/>
              <a:gd name="T3" fmla="*/ 2147483647 h 8"/>
              <a:gd name="T4" fmla="*/ 2147483647 w 16"/>
              <a:gd name="T5" fmla="*/ 2147483647 h 8"/>
              <a:gd name="T6" fmla="*/ 2147483647 w 16"/>
              <a:gd name="T7" fmla="*/ 0 h 8"/>
              <a:gd name="T8" fmla="*/ 0 w 16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" h="8">
                <a:moveTo>
                  <a:pt x="0" y="0"/>
                </a:moveTo>
                <a:lnTo>
                  <a:pt x="8" y="8"/>
                </a:lnTo>
                <a:lnTo>
                  <a:pt x="16" y="8"/>
                </a:lnTo>
                <a:lnTo>
                  <a:pt x="16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44" name="Freeform 225"/>
          <p:cNvSpPr>
            <a:spLocks noChangeAspect="1"/>
          </p:cNvSpPr>
          <p:nvPr/>
        </p:nvSpPr>
        <p:spPr bwMode="auto">
          <a:xfrm>
            <a:off x="5422329" y="3864729"/>
            <a:ext cx="88900" cy="33337"/>
          </a:xfrm>
          <a:custGeom>
            <a:avLst/>
            <a:gdLst>
              <a:gd name="T0" fmla="*/ 0 w 40"/>
              <a:gd name="T1" fmla="*/ 2147483647 h 16"/>
              <a:gd name="T2" fmla="*/ 2147483647 w 40"/>
              <a:gd name="T3" fmla="*/ 2147483647 h 16"/>
              <a:gd name="T4" fmla="*/ 2147483647 w 40"/>
              <a:gd name="T5" fmla="*/ 2147483647 h 16"/>
              <a:gd name="T6" fmla="*/ 2147483647 w 40"/>
              <a:gd name="T7" fmla="*/ 0 h 16"/>
              <a:gd name="T8" fmla="*/ 2147483647 w 40"/>
              <a:gd name="T9" fmla="*/ 0 h 16"/>
              <a:gd name="T10" fmla="*/ 0 w 40"/>
              <a:gd name="T11" fmla="*/ 2147483647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" h="16">
                <a:moveTo>
                  <a:pt x="0" y="8"/>
                </a:moveTo>
                <a:lnTo>
                  <a:pt x="40" y="16"/>
                </a:lnTo>
                <a:lnTo>
                  <a:pt x="32" y="8"/>
                </a:lnTo>
                <a:lnTo>
                  <a:pt x="24" y="0"/>
                </a:lnTo>
                <a:lnTo>
                  <a:pt x="8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45" name="Freeform 226"/>
          <p:cNvSpPr>
            <a:spLocks noChangeAspect="1"/>
          </p:cNvSpPr>
          <p:nvPr/>
        </p:nvSpPr>
        <p:spPr bwMode="auto">
          <a:xfrm>
            <a:off x="5406454" y="3813929"/>
            <a:ext cx="34925" cy="15875"/>
          </a:xfrm>
          <a:custGeom>
            <a:avLst/>
            <a:gdLst>
              <a:gd name="T0" fmla="*/ 0 w 16"/>
              <a:gd name="T1" fmla="*/ 2147483647 h 8"/>
              <a:gd name="T2" fmla="*/ 2147483647 w 16"/>
              <a:gd name="T3" fmla="*/ 2147483647 h 8"/>
              <a:gd name="T4" fmla="*/ 2147483647 w 16"/>
              <a:gd name="T5" fmla="*/ 0 h 8"/>
              <a:gd name="T6" fmla="*/ 0 w 16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6" h="8">
                <a:moveTo>
                  <a:pt x="0" y="8"/>
                </a:moveTo>
                <a:lnTo>
                  <a:pt x="16" y="8"/>
                </a:lnTo>
                <a:lnTo>
                  <a:pt x="8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46" name="Freeform 227"/>
          <p:cNvSpPr>
            <a:spLocks noChangeAspect="1"/>
          </p:cNvSpPr>
          <p:nvPr/>
        </p:nvSpPr>
        <p:spPr bwMode="auto">
          <a:xfrm>
            <a:off x="5495354" y="3782179"/>
            <a:ext cx="33338" cy="14287"/>
          </a:xfrm>
          <a:custGeom>
            <a:avLst/>
            <a:gdLst>
              <a:gd name="T0" fmla="*/ 0 w 16"/>
              <a:gd name="T1" fmla="*/ 0 h 8"/>
              <a:gd name="T2" fmla="*/ 2147483647 w 16"/>
              <a:gd name="T3" fmla="*/ 2147483647 h 8"/>
              <a:gd name="T4" fmla="*/ 2147483647 w 16"/>
              <a:gd name="T5" fmla="*/ 0 h 8"/>
              <a:gd name="T6" fmla="*/ 2147483647 w 16"/>
              <a:gd name="T7" fmla="*/ 0 h 8"/>
              <a:gd name="T8" fmla="*/ 0 w 16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" h="8">
                <a:moveTo>
                  <a:pt x="0" y="0"/>
                </a:moveTo>
                <a:lnTo>
                  <a:pt x="8" y="8"/>
                </a:lnTo>
                <a:lnTo>
                  <a:pt x="16" y="0"/>
                </a:lnTo>
                <a:lnTo>
                  <a:pt x="8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47" name="Freeform 228"/>
          <p:cNvSpPr>
            <a:spLocks noChangeAspect="1"/>
          </p:cNvSpPr>
          <p:nvPr/>
        </p:nvSpPr>
        <p:spPr bwMode="auto">
          <a:xfrm>
            <a:off x="5654104" y="3796466"/>
            <a:ext cx="19050" cy="17463"/>
          </a:xfrm>
          <a:custGeom>
            <a:avLst/>
            <a:gdLst>
              <a:gd name="T0" fmla="*/ 0 w 8"/>
              <a:gd name="T1" fmla="*/ 0 h 8"/>
              <a:gd name="T2" fmla="*/ 2147483647 w 8"/>
              <a:gd name="T3" fmla="*/ 2147483647 h 8"/>
              <a:gd name="T4" fmla="*/ 2147483647 w 8"/>
              <a:gd name="T5" fmla="*/ 0 h 8"/>
              <a:gd name="T6" fmla="*/ 0 w 8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0"/>
                </a:moveTo>
                <a:lnTo>
                  <a:pt x="8" y="8"/>
                </a:lnTo>
                <a:lnTo>
                  <a:pt x="8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48" name="Freeform 229"/>
          <p:cNvSpPr>
            <a:spLocks noChangeAspect="1"/>
          </p:cNvSpPr>
          <p:nvPr/>
        </p:nvSpPr>
        <p:spPr bwMode="auto">
          <a:xfrm>
            <a:off x="5155629" y="3194804"/>
            <a:ext cx="142875" cy="166687"/>
          </a:xfrm>
          <a:custGeom>
            <a:avLst/>
            <a:gdLst>
              <a:gd name="T0" fmla="*/ 0 w 64"/>
              <a:gd name="T1" fmla="*/ 2147483647 h 80"/>
              <a:gd name="T2" fmla="*/ 0 w 64"/>
              <a:gd name="T3" fmla="*/ 2147483647 h 80"/>
              <a:gd name="T4" fmla="*/ 2147483647 w 64"/>
              <a:gd name="T5" fmla="*/ 2147483647 h 80"/>
              <a:gd name="T6" fmla="*/ 2147483647 w 64"/>
              <a:gd name="T7" fmla="*/ 2147483647 h 80"/>
              <a:gd name="T8" fmla="*/ 2147483647 w 64"/>
              <a:gd name="T9" fmla="*/ 2147483647 h 80"/>
              <a:gd name="T10" fmla="*/ 2147483647 w 64"/>
              <a:gd name="T11" fmla="*/ 2147483647 h 80"/>
              <a:gd name="T12" fmla="*/ 2147483647 w 64"/>
              <a:gd name="T13" fmla="*/ 2147483647 h 80"/>
              <a:gd name="T14" fmla="*/ 2147483647 w 64"/>
              <a:gd name="T15" fmla="*/ 2147483647 h 80"/>
              <a:gd name="T16" fmla="*/ 2147483647 w 64"/>
              <a:gd name="T17" fmla="*/ 2147483647 h 80"/>
              <a:gd name="T18" fmla="*/ 2147483647 w 64"/>
              <a:gd name="T19" fmla="*/ 2147483647 h 80"/>
              <a:gd name="T20" fmla="*/ 2147483647 w 64"/>
              <a:gd name="T21" fmla="*/ 2147483647 h 80"/>
              <a:gd name="T22" fmla="*/ 2147483647 w 64"/>
              <a:gd name="T23" fmla="*/ 2147483647 h 80"/>
              <a:gd name="T24" fmla="*/ 2147483647 w 64"/>
              <a:gd name="T25" fmla="*/ 2147483647 h 80"/>
              <a:gd name="T26" fmla="*/ 2147483647 w 64"/>
              <a:gd name="T27" fmla="*/ 2147483647 h 80"/>
              <a:gd name="T28" fmla="*/ 2147483647 w 64"/>
              <a:gd name="T29" fmla="*/ 2147483647 h 80"/>
              <a:gd name="T30" fmla="*/ 2147483647 w 64"/>
              <a:gd name="T31" fmla="*/ 2147483647 h 80"/>
              <a:gd name="T32" fmla="*/ 2147483647 w 64"/>
              <a:gd name="T33" fmla="*/ 0 h 80"/>
              <a:gd name="T34" fmla="*/ 0 w 64"/>
              <a:gd name="T35" fmla="*/ 0 h 80"/>
              <a:gd name="T36" fmla="*/ 2147483647 w 64"/>
              <a:gd name="T37" fmla="*/ 2147483647 h 80"/>
              <a:gd name="T38" fmla="*/ 0 w 64"/>
              <a:gd name="T39" fmla="*/ 2147483647 h 8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64" h="80">
                <a:moveTo>
                  <a:pt x="0" y="32"/>
                </a:moveTo>
                <a:lnTo>
                  <a:pt x="0" y="56"/>
                </a:lnTo>
                <a:lnTo>
                  <a:pt x="16" y="56"/>
                </a:lnTo>
                <a:lnTo>
                  <a:pt x="16" y="72"/>
                </a:lnTo>
                <a:lnTo>
                  <a:pt x="24" y="72"/>
                </a:lnTo>
                <a:lnTo>
                  <a:pt x="40" y="80"/>
                </a:lnTo>
                <a:lnTo>
                  <a:pt x="40" y="72"/>
                </a:lnTo>
                <a:lnTo>
                  <a:pt x="48" y="80"/>
                </a:lnTo>
                <a:lnTo>
                  <a:pt x="64" y="80"/>
                </a:lnTo>
                <a:lnTo>
                  <a:pt x="56" y="72"/>
                </a:lnTo>
                <a:lnTo>
                  <a:pt x="40" y="64"/>
                </a:lnTo>
                <a:lnTo>
                  <a:pt x="32" y="72"/>
                </a:lnTo>
                <a:lnTo>
                  <a:pt x="32" y="64"/>
                </a:lnTo>
                <a:lnTo>
                  <a:pt x="24" y="48"/>
                </a:lnTo>
                <a:lnTo>
                  <a:pt x="32" y="24"/>
                </a:lnTo>
                <a:lnTo>
                  <a:pt x="24" y="16"/>
                </a:lnTo>
                <a:lnTo>
                  <a:pt x="24" y="0"/>
                </a:lnTo>
                <a:lnTo>
                  <a:pt x="0" y="0"/>
                </a:lnTo>
                <a:lnTo>
                  <a:pt x="8" y="32"/>
                </a:lnTo>
                <a:lnTo>
                  <a:pt x="0" y="3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49" name="Freeform 230"/>
          <p:cNvSpPr>
            <a:spLocks noChangeAspect="1"/>
          </p:cNvSpPr>
          <p:nvPr/>
        </p:nvSpPr>
        <p:spPr bwMode="auto">
          <a:xfrm>
            <a:off x="5104829" y="3429754"/>
            <a:ext cx="68263" cy="82550"/>
          </a:xfrm>
          <a:custGeom>
            <a:avLst/>
            <a:gdLst>
              <a:gd name="T0" fmla="*/ 0 w 32"/>
              <a:gd name="T1" fmla="*/ 2147483647 h 40"/>
              <a:gd name="T2" fmla="*/ 2147483647 w 32"/>
              <a:gd name="T3" fmla="*/ 2147483647 h 40"/>
              <a:gd name="T4" fmla="*/ 2147483647 w 32"/>
              <a:gd name="T5" fmla="*/ 0 h 40"/>
              <a:gd name="T6" fmla="*/ 2147483647 w 32"/>
              <a:gd name="T7" fmla="*/ 2147483647 h 40"/>
              <a:gd name="T8" fmla="*/ 0 w 32"/>
              <a:gd name="T9" fmla="*/ 2147483647 h 4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2" h="40">
                <a:moveTo>
                  <a:pt x="0" y="40"/>
                </a:moveTo>
                <a:lnTo>
                  <a:pt x="32" y="8"/>
                </a:lnTo>
                <a:lnTo>
                  <a:pt x="24" y="0"/>
                </a:lnTo>
                <a:lnTo>
                  <a:pt x="24" y="8"/>
                </a:lnTo>
                <a:lnTo>
                  <a:pt x="0" y="4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50" name="Freeform 231"/>
          <p:cNvSpPr>
            <a:spLocks noChangeAspect="1"/>
          </p:cNvSpPr>
          <p:nvPr/>
        </p:nvSpPr>
        <p:spPr bwMode="auto">
          <a:xfrm>
            <a:off x="5173092" y="3345616"/>
            <a:ext cx="36512" cy="50800"/>
          </a:xfrm>
          <a:custGeom>
            <a:avLst/>
            <a:gdLst>
              <a:gd name="T0" fmla="*/ 0 w 16"/>
              <a:gd name="T1" fmla="*/ 0 h 24"/>
              <a:gd name="T2" fmla="*/ 2147483647 w 16"/>
              <a:gd name="T3" fmla="*/ 2147483647 h 24"/>
              <a:gd name="T4" fmla="*/ 2147483647 w 16"/>
              <a:gd name="T5" fmla="*/ 2147483647 h 24"/>
              <a:gd name="T6" fmla="*/ 2147483647 w 16"/>
              <a:gd name="T7" fmla="*/ 2147483647 h 24"/>
              <a:gd name="T8" fmla="*/ 0 w 1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" h="24">
                <a:moveTo>
                  <a:pt x="0" y="0"/>
                </a:moveTo>
                <a:lnTo>
                  <a:pt x="16" y="24"/>
                </a:lnTo>
                <a:lnTo>
                  <a:pt x="16" y="16"/>
                </a:lnTo>
                <a:lnTo>
                  <a:pt x="16" y="8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51" name="Freeform 232"/>
          <p:cNvSpPr>
            <a:spLocks noChangeAspect="1"/>
          </p:cNvSpPr>
          <p:nvPr/>
        </p:nvSpPr>
        <p:spPr bwMode="auto">
          <a:xfrm>
            <a:off x="5298504" y="3380541"/>
            <a:ext cx="34925" cy="82550"/>
          </a:xfrm>
          <a:custGeom>
            <a:avLst/>
            <a:gdLst>
              <a:gd name="T0" fmla="*/ 0 w 16"/>
              <a:gd name="T1" fmla="*/ 0 h 40"/>
              <a:gd name="T2" fmla="*/ 2147483647 w 16"/>
              <a:gd name="T3" fmla="*/ 2147483647 h 40"/>
              <a:gd name="T4" fmla="*/ 0 w 16"/>
              <a:gd name="T5" fmla="*/ 2147483647 h 40"/>
              <a:gd name="T6" fmla="*/ 0 w 16"/>
              <a:gd name="T7" fmla="*/ 2147483647 h 40"/>
              <a:gd name="T8" fmla="*/ 2147483647 w 16"/>
              <a:gd name="T9" fmla="*/ 2147483647 h 40"/>
              <a:gd name="T10" fmla="*/ 2147483647 w 16"/>
              <a:gd name="T11" fmla="*/ 2147483647 h 40"/>
              <a:gd name="T12" fmla="*/ 2147483647 w 16"/>
              <a:gd name="T13" fmla="*/ 2147483647 h 40"/>
              <a:gd name="T14" fmla="*/ 2147483647 w 16"/>
              <a:gd name="T15" fmla="*/ 2147483647 h 40"/>
              <a:gd name="T16" fmla="*/ 2147483647 w 16"/>
              <a:gd name="T17" fmla="*/ 2147483647 h 40"/>
              <a:gd name="T18" fmla="*/ 2147483647 w 16"/>
              <a:gd name="T19" fmla="*/ 2147483647 h 40"/>
              <a:gd name="T20" fmla="*/ 2147483647 w 16"/>
              <a:gd name="T21" fmla="*/ 0 h 40"/>
              <a:gd name="T22" fmla="*/ 0 w 16"/>
              <a:gd name="T23" fmla="*/ 0 h 4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6" h="40">
                <a:moveTo>
                  <a:pt x="0" y="0"/>
                </a:moveTo>
                <a:lnTo>
                  <a:pt x="8" y="16"/>
                </a:lnTo>
                <a:lnTo>
                  <a:pt x="0" y="16"/>
                </a:lnTo>
                <a:lnTo>
                  <a:pt x="0" y="24"/>
                </a:lnTo>
                <a:lnTo>
                  <a:pt x="8" y="24"/>
                </a:lnTo>
                <a:lnTo>
                  <a:pt x="8" y="40"/>
                </a:lnTo>
                <a:lnTo>
                  <a:pt x="16" y="32"/>
                </a:lnTo>
                <a:lnTo>
                  <a:pt x="8" y="24"/>
                </a:lnTo>
                <a:lnTo>
                  <a:pt x="16" y="24"/>
                </a:lnTo>
                <a:lnTo>
                  <a:pt x="16" y="8"/>
                </a:lnTo>
                <a:lnTo>
                  <a:pt x="16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52" name="Freeform 233"/>
          <p:cNvSpPr>
            <a:spLocks noChangeAspect="1"/>
          </p:cNvSpPr>
          <p:nvPr/>
        </p:nvSpPr>
        <p:spPr bwMode="auto">
          <a:xfrm>
            <a:off x="5230242" y="3396416"/>
            <a:ext cx="88900" cy="98425"/>
          </a:xfrm>
          <a:custGeom>
            <a:avLst/>
            <a:gdLst>
              <a:gd name="T0" fmla="*/ 0 w 40"/>
              <a:gd name="T1" fmla="*/ 2147483647 h 48"/>
              <a:gd name="T2" fmla="*/ 2147483647 w 40"/>
              <a:gd name="T3" fmla="*/ 2147483647 h 48"/>
              <a:gd name="T4" fmla="*/ 2147483647 w 40"/>
              <a:gd name="T5" fmla="*/ 2147483647 h 48"/>
              <a:gd name="T6" fmla="*/ 2147483647 w 40"/>
              <a:gd name="T7" fmla="*/ 2147483647 h 48"/>
              <a:gd name="T8" fmla="*/ 2147483647 w 40"/>
              <a:gd name="T9" fmla="*/ 2147483647 h 48"/>
              <a:gd name="T10" fmla="*/ 2147483647 w 40"/>
              <a:gd name="T11" fmla="*/ 2147483647 h 48"/>
              <a:gd name="T12" fmla="*/ 2147483647 w 40"/>
              <a:gd name="T13" fmla="*/ 2147483647 h 48"/>
              <a:gd name="T14" fmla="*/ 2147483647 w 40"/>
              <a:gd name="T15" fmla="*/ 2147483647 h 48"/>
              <a:gd name="T16" fmla="*/ 2147483647 w 40"/>
              <a:gd name="T17" fmla="*/ 2147483647 h 48"/>
              <a:gd name="T18" fmla="*/ 2147483647 w 40"/>
              <a:gd name="T19" fmla="*/ 2147483647 h 48"/>
              <a:gd name="T20" fmla="*/ 2147483647 w 40"/>
              <a:gd name="T21" fmla="*/ 2147483647 h 48"/>
              <a:gd name="T22" fmla="*/ 2147483647 w 40"/>
              <a:gd name="T23" fmla="*/ 2147483647 h 48"/>
              <a:gd name="T24" fmla="*/ 2147483647 w 40"/>
              <a:gd name="T25" fmla="*/ 2147483647 h 48"/>
              <a:gd name="T26" fmla="*/ 2147483647 w 40"/>
              <a:gd name="T27" fmla="*/ 2147483647 h 48"/>
              <a:gd name="T28" fmla="*/ 2147483647 w 40"/>
              <a:gd name="T29" fmla="*/ 2147483647 h 48"/>
              <a:gd name="T30" fmla="*/ 2147483647 w 40"/>
              <a:gd name="T31" fmla="*/ 2147483647 h 48"/>
              <a:gd name="T32" fmla="*/ 2147483647 w 40"/>
              <a:gd name="T33" fmla="*/ 2147483647 h 48"/>
              <a:gd name="T34" fmla="*/ 0 w 40"/>
              <a:gd name="T35" fmla="*/ 0 h 48"/>
              <a:gd name="T36" fmla="*/ 0 w 40"/>
              <a:gd name="T37" fmla="*/ 2147483647 h 4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48">
                <a:moveTo>
                  <a:pt x="0" y="24"/>
                </a:moveTo>
                <a:lnTo>
                  <a:pt x="16" y="24"/>
                </a:lnTo>
                <a:lnTo>
                  <a:pt x="16" y="32"/>
                </a:lnTo>
                <a:lnTo>
                  <a:pt x="8" y="32"/>
                </a:lnTo>
                <a:lnTo>
                  <a:pt x="16" y="48"/>
                </a:lnTo>
                <a:lnTo>
                  <a:pt x="24" y="40"/>
                </a:lnTo>
                <a:lnTo>
                  <a:pt x="24" y="32"/>
                </a:lnTo>
                <a:lnTo>
                  <a:pt x="24" y="40"/>
                </a:lnTo>
                <a:lnTo>
                  <a:pt x="32" y="32"/>
                </a:lnTo>
                <a:lnTo>
                  <a:pt x="32" y="40"/>
                </a:lnTo>
                <a:lnTo>
                  <a:pt x="40" y="40"/>
                </a:lnTo>
                <a:lnTo>
                  <a:pt x="40" y="32"/>
                </a:lnTo>
                <a:lnTo>
                  <a:pt x="32" y="32"/>
                </a:lnTo>
                <a:lnTo>
                  <a:pt x="32" y="16"/>
                </a:lnTo>
                <a:lnTo>
                  <a:pt x="24" y="24"/>
                </a:lnTo>
                <a:lnTo>
                  <a:pt x="16" y="8"/>
                </a:lnTo>
                <a:lnTo>
                  <a:pt x="8" y="8"/>
                </a:lnTo>
                <a:lnTo>
                  <a:pt x="0" y="0"/>
                </a:lnTo>
                <a:lnTo>
                  <a:pt x="0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53" name="Freeform 234"/>
          <p:cNvSpPr>
            <a:spLocks noChangeAspect="1"/>
          </p:cNvSpPr>
          <p:nvPr/>
        </p:nvSpPr>
        <p:spPr bwMode="auto">
          <a:xfrm>
            <a:off x="5244529" y="3463091"/>
            <a:ext cx="142875" cy="133350"/>
          </a:xfrm>
          <a:custGeom>
            <a:avLst/>
            <a:gdLst>
              <a:gd name="T0" fmla="*/ 0 w 64"/>
              <a:gd name="T1" fmla="*/ 2147483647 h 64"/>
              <a:gd name="T2" fmla="*/ 0 w 64"/>
              <a:gd name="T3" fmla="*/ 2147483647 h 64"/>
              <a:gd name="T4" fmla="*/ 2147483647 w 64"/>
              <a:gd name="T5" fmla="*/ 2147483647 h 64"/>
              <a:gd name="T6" fmla="*/ 2147483647 w 64"/>
              <a:gd name="T7" fmla="*/ 2147483647 h 64"/>
              <a:gd name="T8" fmla="*/ 2147483647 w 64"/>
              <a:gd name="T9" fmla="*/ 2147483647 h 64"/>
              <a:gd name="T10" fmla="*/ 2147483647 w 64"/>
              <a:gd name="T11" fmla="*/ 2147483647 h 64"/>
              <a:gd name="T12" fmla="*/ 2147483647 w 64"/>
              <a:gd name="T13" fmla="*/ 2147483647 h 64"/>
              <a:gd name="T14" fmla="*/ 2147483647 w 64"/>
              <a:gd name="T15" fmla="*/ 2147483647 h 64"/>
              <a:gd name="T16" fmla="*/ 2147483647 w 64"/>
              <a:gd name="T17" fmla="*/ 2147483647 h 64"/>
              <a:gd name="T18" fmla="*/ 2147483647 w 64"/>
              <a:gd name="T19" fmla="*/ 2147483647 h 64"/>
              <a:gd name="T20" fmla="*/ 2147483647 w 64"/>
              <a:gd name="T21" fmla="*/ 2147483647 h 64"/>
              <a:gd name="T22" fmla="*/ 2147483647 w 64"/>
              <a:gd name="T23" fmla="*/ 2147483647 h 64"/>
              <a:gd name="T24" fmla="*/ 2147483647 w 64"/>
              <a:gd name="T25" fmla="*/ 2147483647 h 64"/>
              <a:gd name="T26" fmla="*/ 2147483647 w 64"/>
              <a:gd name="T27" fmla="*/ 2147483647 h 64"/>
              <a:gd name="T28" fmla="*/ 2147483647 w 64"/>
              <a:gd name="T29" fmla="*/ 0 h 64"/>
              <a:gd name="T30" fmla="*/ 2147483647 w 64"/>
              <a:gd name="T31" fmla="*/ 2147483647 h 64"/>
              <a:gd name="T32" fmla="*/ 2147483647 w 64"/>
              <a:gd name="T33" fmla="*/ 2147483647 h 64"/>
              <a:gd name="T34" fmla="*/ 2147483647 w 64"/>
              <a:gd name="T35" fmla="*/ 2147483647 h 64"/>
              <a:gd name="T36" fmla="*/ 2147483647 w 64"/>
              <a:gd name="T37" fmla="*/ 2147483647 h 64"/>
              <a:gd name="T38" fmla="*/ 2147483647 w 64"/>
              <a:gd name="T39" fmla="*/ 2147483647 h 64"/>
              <a:gd name="T40" fmla="*/ 2147483647 w 64"/>
              <a:gd name="T41" fmla="*/ 2147483647 h 64"/>
              <a:gd name="T42" fmla="*/ 2147483647 w 64"/>
              <a:gd name="T43" fmla="*/ 2147483647 h 64"/>
              <a:gd name="T44" fmla="*/ 0 w 64"/>
              <a:gd name="T45" fmla="*/ 2147483647 h 64"/>
              <a:gd name="T46" fmla="*/ 0 w 64"/>
              <a:gd name="T47" fmla="*/ 2147483647 h 6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4" h="64">
                <a:moveTo>
                  <a:pt x="0" y="40"/>
                </a:moveTo>
                <a:lnTo>
                  <a:pt x="0" y="48"/>
                </a:lnTo>
                <a:lnTo>
                  <a:pt x="8" y="32"/>
                </a:lnTo>
                <a:lnTo>
                  <a:pt x="8" y="40"/>
                </a:lnTo>
                <a:lnTo>
                  <a:pt x="24" y="32"/>
                </a:lnTo>
                <a:lnTo>
                  <a:pt x="32" y="40"/>
                </a:lnTo>
                <a:lnTo>
                  <a:pt x="24" y="56"/>
                </a:lnTo>
                <a:lnTo>
                  <a:pt x="48" y="64"/>
                </a:lnTo>
                <a:lnTo>
                  <a:pt x="48" y="56"/>
                </a:lnTo>
                <a:lnTo>
                  <a:pt x="48" y="48"/>
                </a:lnTo>
                <a:lnTo>
                  <a:pt x="48" y="40"/>
                </a:lnTo>
                <a:lnTo>
                  <a:pt x="56" y="56"/>
                </a:lnTo>
                <a:lnTo>
                  <a:pt x="64" y="40"/>
                </a:lnTo>
                <a:lnTo>
                  <a:pt x="56" y="16"/>
                </a:lnTo>
                <a:lnTo>
                  <a:pt x="40" y="0"/>
                </a:lnTo>
                <a:lnTo>
                  <a:pt x="48" y="16"/>
                </a:lnTo>
                <a:lnTo>
                  <a:pt x="40" y="16"/>
                </a:lnTo>
                <a:lnTo>
                  <a:pt x="32" y="16"/>
                </a:lnTo>
                <a:lnTo>
                  <a:pt x="32" y="24"/>
                </a:lnTo>
                <a:lnTo>
                  <a:pt x="24" y="32"/>
                </a:lnTo>
                <a:lnTo>
                  <a:pt x="24" y="24"/>
                </a:lnTo>
                <a:lnTo>
                  <a:pt x="16" y="24"/>
                </a:lnTo>
                <a:lnTo>
                  <a:pt x="0" y="32"/>
                </a:lnTo>
                <a:lnTo>
                  <a:pt x="0" y="4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54" name="Freeform 235"/>
          <p:cNvSpPr>
            <a:spLocks noChangeAspect="1"/>
          </p:cNvSpPr>
          <p:nvPr/>
        </p:nvSpPr>
        <p:spPr bwMode="auto">
          <a:xfrm>
            <a:off x="6030342" y="3915529"/>
            <a:ext cx="123825" cy="66675"/>
          </a:xfrm>
          <a:custGeom>
            <a:avLst/>
            <a:gdLst>
              <a:gd name="T0" fmla="*/ 0 w 56"/>
              <a:gd name="T1" fmla="*/ 2147483647 h 32"/>
              <a:gd name="T2" fmla="*/ 2147483647 w 56"/>
              <a:gd name="T3" fmla="*/ 2147483647 h 32"/>
              <a:gd name="T4" fmla="*/ 2147483647 w 56"/>
              <a:gd name="T5" fmla="*/ 2147483647 h 32"/>
              <a:gd name="T6" fmla="*/ 2147483647 w 56"/>
              <a:gd name="T7" fmla="*/ 2147483647 h 32"/>
              <a:gd name="T8" fmla="*/ 2147483647 w 56"/>
              <a:gd name="T9" fmla="*/ 2147483647 h 32"/>
              <a:gd name="T10" fmla="*/ 2147483647 w 56"/>
              <a:gd name="T11" fmla="*/ 0 h 32"/>
              <a:gd name="T12" fmla="*/ 2147483647 w 56"/>
              <a:gd name="T13" fmla="*/ 0 h 32"/>
              <a:gd name="T14" fmla="*/ 2147483647 w 56"/>
              <a:gd name="T15" fmla="*/ 2147483647 h 32"/>
              <a:gd name="T16" fmla="*/ 2147483647 w 56"/>
              <a:gd name="T17" fmla="*/ 2147483647 h 32"/>
              <a:gd name="T18" fmla="*/ 2147483647 w 56"/>
              <a:gd name="T19" fmla="*/ 2147483647 h 32"/>
              <a:gd name="T20" fmla="*/ 0 w 56"/>
              <a:gd name="T21" fmla="*/ 2147483647 h 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6" h="32">
                <a:moveTo>
                  <a:pt x="0" y="16"/>
                </a:moveTo>
                <a:lnTo>
                  <a:pt x="8" y="32"/>
                </a:lnTo>
                <a:lnTo>
                  <a:pt x="32" y="32"/>
                </a:lnTo>
                <a:lnTo>
                  <a:pt x="48" y="16"/>
                </a:lnTo>
                <a:lnTo>
                  <a:pt x="56" y="8"/>
                </a:lnTo>
                <a:lnTo>
                  <a:pt x="56" y="0"/>
                </a:lnTo>
                <a:lnTo>
                  <a:pt x="48" y="0"/>
                </a:lnTo>
                <a:lnTo>
                  <a:pt x="48" y="8"/>
                </a:lnTo>
                <a:lnTo>
                  <a:pt x="40" y="8"/>
                </a:lnTo>
                <a:lnTo>
                  <a:pt x="32" y="16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55" name="Freeform 236"/>
          <p:cNvSpPr>
            <a:spLocks noChangeAspect="1"/>
          </p:cNvSpPr>
          <p:nvPr/>
        </p:nvSpPr>
        <p:spPr bwMode="auto">
          <a:xfrm>
            <a:off x="6117654" y="3864729"/>
            <a:ext cx="52388" cy="66675"/>
          </a:xfrm>
          <a:custGeom>
            <a:avLst/>
            <a:gdLst>
              <a:gd name="T0" fmla="*/ 0 w 24"/>
              <a:gd name="T1" fmla="*/ 0 h 32"/>
              <a:gd name="T2" fmla="*/ 2147483647 w 24"/>
              <a:gd name="T3" fmla="*/ 2147483647 h 32"/>
              <a:gd name="T4" fmla="*/ 2147483647 w 24"/>
              <a:gd name="T5" fmla="*/ 2147483647 h 32"/>
              <a:gd name="T6" fmla="*/ 2147483647 w 24"/>
              <a:gd name="T7" fmla="*/ 2147483647 h 32"/>
              <a:gd name="T8" fmla="*/ 2147483647 w 24"/>
              <a:gd name="T9" fmla="*/ 0 h 32"/>
              <a:gd name="T10" fmla="*/ 0 w 24"/>
              <a:gd name="T11" fmla="*/ 0 h 3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4" h="32">
                <a:moveTo>
                  <a:pt x="0" y="0"/>
                </a:moveTo>
                <a:lnTo>
                  <a:pt x="16" y="16"/>
                </a:lnTo>
                <a:lnTo>
                  <a:pt x="24" y="32"/>
                </a:lnTo>
                <a:lnTo>
                  <a:pt x="24" y="16"/>
                </a:lnTo>
                <a:lnTo>
                  <a:pt x="8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56" name="Freeform 237"/>
          <p:cNvSpPr>
            <a:spLocks noChangeAspect="1"/>
          </p:cNvSpPr>
          <p:nvPr/>
        </p:nvSpPr>
        <p:spPr bwMode="auto">
          <a:xfrm>
            <a:off x="6224017" y="3948866"/>
            <a:ext cx="34925" cy="52388"/>
          </a:xfrm>
          <a:custGeom>
            <a:avLst/>
            <a:gdLst>
              <a:gd name="T0" fmla="*/ 0 w 16"/>
              <a:gd name="T1" fmla="*/ 0 h 24"/>
              <a:gd name="T2" fmla="*/ 2147483647 w 16"/>
              <a:gd name="T3" fmla="*/ 2147483647 h 24"/>
              <a:gd name="T4" fmla="*/ 2147483647 w 16"/>
              <a:gd name="T5" fmla="*/ 2147483647 h 24"/>
              <a:gd name="T6" fmla="*/ 0 w 16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6" h="24">
                <a:moveTo>
                  <a:pt x="0" y="0"/>
                </a:moveTo>
                <a:lnTo>
                  <a:pt x="8" y="24"/>
                </a:lnTo>
                <a:lnTo>
                  <a:pt x="16" y="16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57" name="Freeform 238"/>
          <p:cNvSpPr>
            <a:spLocks noChangeAspect="1"/>
          </p:cNvSpPr>
          <p:nvPr/>
        </p:nvSpPr>
        <p:spPr bwMode="auto">
          <a:xfrm>
            <a:off x="5230242" y="2070854"/>
            <a:ext cx="227012" cy="254000"/>
          </a:xfrm>
          <a:custGeom>
            <a:avLst/>
            <a:gdLst>
              <a:gd name="T0" fmla="*/ 2147483647 w 104"/>
              <a:gd name="T1" fmla="*/ 2147483647 h 120"/>
              <a:gd name="T2" fmla="*/ 2147483647 w 104"/>
              <a:gd name="T3" fmla="*/ 2147483647 h 120"/>
              <a:gd name="T4" fmla="*/ 2147483647 w 104"/>
              <a:gd name="T5" fmla="*/ 2147483647 h 120"/>
              <a:gd name="T6" fmla="*/ 2147483647 w 104"/>
              <a:gd name="T7" fmla="*/ 2147483647 h 120"/>
              <a:gd name="T8" fmla="*/ 2147483647 w 104"/>
              <a:gd name="T9" fmla="*/ 2147483647 h 120"/>
              <a:gd name="T10" fmla="*/ 2147483647 w 104"/>
              <a:gd name="T11" fmla="*/ 2147483647 h 120"/>
              <a:gd name="T12" fmla="*/ 2147483647 w 104"/>
              <a:gd name="T13" fmla="*/ 2147483647 h 120"/>
              <a:gd name="T14" fmla="*/ 2147483647 w 104"/>
              <a:gd name="T15" fmla="*/ 2147483647 h 120"/>
              <a:gd name="T16" fmla="*/ 2147483647 w 104"/>
              <a:gd name="T17" fmla="*/ 2147483647 h 120"/>
              <a:gd name="T18" fmla="*/ 2147483647 w 104"/>
              <a:gd name="T19" fmla="*/ 0 h 120"/>
              <a:gd name="T20" fmla="*/ 0 w 104"/>
              <a:gd name="T21" fmla="*/ 0 h 120"/>
              <a:gd name="T22" fmla="*/ 2147483647 w 104"/>
              <a:gd name="T23" fmla="*/ 2147483647 h 120"/>
              <a:gd name="T24" fmla="*/ 2147483647 w 104"/>
              <a:gd name="T25" fmla="*/ 2147483647 h 12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04" h="120">
                <a:moveTo>
                  <a:pt x="8" y="16"/>
                </a:moveTo>
                <a:lnTo>
                  <a:pt x="72" y="88"/>
                </a:lnTo>
                <a:lnTo>
                  <a:pt x="80" y="112"/>
                </a:lnTo>
                <a:lnTo>
                  <a:pt x="88" y="120"/>
                </a:lnTo>
                <a:lnTo>
                  <a:pt x="88" y="112"/>
                </a:lnTo>
                <a:lnTo>
                  <a:pt x="104" y="112"/>
                </a:lnTo>
                <a:lnTo>
                  <a:pt x="72" y="88"/>
                </a:lnTo>
                <a:lnTo>
                  <a:pt x="72" y="72"/>
                </a:lnTo>
                <a:lnTo>
                  <a:pt x="88" y="72"/>
                </a:lnTo>
                <a:lnTo>
                  <a:pt x="16" y="0"/>
                </a:lnTo>
                <a:lnTo>
                  <a:pt x="0" y="0"/>
                </a:lnTo>
                <a:lnTo>
                  <a:pt x="8" y="8"/>
                </a:lnTo>
                <a:lnTo>
                  <a:pt x="8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58" name="Freeform 239"/>
          <p:cNvSpPr>
            <a:spLocks noChangeAspect="1"/>
          </p:cNvSpPr>
          <p:nvPr/>
        </p:nvSpPr>
        <p:spPr bwMode="auto">
          <a:xfrm>
            <a:off x="2417192" y="2626479"/>
            <a:ext cx="17462" cy="14287"/>
          </a:xfrm>
          <a:custGeom>
            <a:avLst/>
            <a:gdLst>
              <a:gd name="T0" fmla="*/ 0 w 8"/>
              <a:gd name="T1" fmla="*/ 0 h 8"/>
              <a:gd name="T2" fmla="*/ 0 w 8"/>
              <a:gd name="T3" fmla="*/ 2147483647 h 8"/>
              <a:gd name="T4" fmla="*/ 2147483647 w 8"/>
              <a:gd name="T5" fmla="*/ 0 h 8"/>
              <a:gd name="T6" fmla="*/ 0 w 8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0"/>
                </a:moveTo>
                <a:lnTo>
                  <a:pt x="0" y="8"/>
                </a:lnTo>
                <a:lnTo>
                  <a:pt x="8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59" name="Line 240"/>
          <p:cNvSpPr>
            <a:spLocks noChangeAspect="1" noChangeShapeType="1"/>
          </p:cNvSpPr>
          <p:nvPr/>
        </p:nvSpPr>
        <p:spPr bwMode="auto">
          <a:xfrm>
            <a:off x="5333429" y="3848854"/>
            <a:ext cx="19050" cy="3175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0" name="Line 241"/>
          <p:cNvSpPr>
            <a:spLocks noChangeAspect="1" noChangeShapeType="1"/>
          </p:cNvSpPr>
          <p:nvPr/>
        </p:nvSpPr>
        <p:spPr bwMode="auto">
          <a:xfrm flipV="1">
            <a:off x="1883792" y="3680579"/>
            <a:ext cx="3175" cy="17462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1" name="Freeform 242"/>
          <p:cNvSpPr>
            <a:spLocks noChangeAspect="1"/>
          </p:cNvSpPr>
          <p:nvPr/>
        </p:nvSpPr>
        <p:spPr bwMode="auto">
          <a:xfrm>
            <a:off x="5477892" y="4133016"/>
            <a:ext cx="33337" cy="34925"/>
          </a:xfrm>
          <a:custGeom>
            <a:avLst/>
            <a:gdLst>
              <a:gd name="T0" fmla="*/ 0 w 16"/>
              <a:gd name="T1" fmla="*/ 2147483647 h 16"/>
              <a:gd name="T2" fmla="*/ 2147483647 w 16"/>
              <a:gd name="T3" fmla="*/ 2147483647 h 16"/>
              <a:gd name="T4" fmla="*/ 2147483647 w 16"/>
              <a:gd name="T5" fmla="*/ 2147483647 h 16"/>
              <a:gd name="T6" fmla="*/ 2147483647 w 16"/>
              <a:gd name="T7" fmla="*/ 0 h 16"/>
              <a:gd name="T8" fmla="*/ 0 w 16"/>
              <a:gd name="T9" fmla="*/ 0 h 16"/>
              <a:gd name="T10" fmla="*/ 0 w 16"/>
              <a:gd name="T11" fmla="*/ 2147483647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6" h="16">
                <a:moveTo>
                  <a:pt x="0" y="8"/>
                </a:moveTo>
                <a:lnTo>
                  <a:pt x="8" y="16"/>
                </a:lnTo>
                <a:lnTo>
                  <a:pt x="16" y="8"/>
                </a:lnTo>
                <a:lnTo>
                  <a:pt x="16" y="0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2" name="Freeform 243"/>
          <p:cNvSpPr>
            <a:spLocks noChangeAspect="1"/>
          </p:cNvSpPr>
          <p:nvPr/>
        </p:nvSpPr>
        <p:spPr bwMode="auto">
          <a:xfrm>
            <a:off x="5281042" y="4050466"/>
            <a:ext cx="125412" cy="50800"/>
          </a:xfrm>
          <a:custGeom>
            <a:avLst/>
            <a:gdLst>
              <a:gd name="T0" fmla="*/ 0 w 56"/>
              <a:gd name="T1" fmla="*/ 2147483647 h 24"/>
              <a:gd name="T2" fmla="*/ 2147483647 w 56"/>
              <a:gd name="T3" fmla="*/ 2147483647 h 24"/>
              <a:gd name="T4" fmla="*/ 2147483647 w 56"/>
              <a:gd name="T5" fmla="*/ 2147483647 h 24"/>
              <a:gd name="T6" fmla="*/ 2147483647 w 56"/>
              <a:gd name="T7" fmla="*/ 0 h 24"/>
              <a:gd name="T8" fmla="*/ 2147483647 w 56"/>
              <a:gd name="T9" fmla="*/ 0 h 24"/>
              <a:gd name="T10" fmla="*/ 2147483647 w 56"/>
              <a:gd name="T11" fmla="*/ 2147483647 h 24"/>
              <a:gd name="T12" fmla="*/ 0 w 56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6" h="24">
                <a:moveTo>
                  <a:pt x="0" y="24"/>
                </a:moveTo>
                <a:lnTo>
                  <a:pt x="16" y="24"/>
                </a:lnTo>
                <a:lnTo>
                  <a:pt x="24" y="8"/>
                </a:lnTo>
                <a:lnTo>
                  <a:pt x="56" y="0"/>
                </a:lnTo>
                <a:lnTo>
                  <a:pt x="24" y="0"/>
                </a:lnTo>
                <a:lnTo>
                  <a:pt x="8" y="16"/>
                </a:lnTo>
                <a:lnTo>
                  <a:pt x="0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3" name="Freeform 244"/>
          <p:cNvSpPr>
            <a:spLocks noChangeAspect="1"/>
          </p:cNvSpPr>
          <p:nvPr/>
        </p:nvSpPr>
        <p:spPr bwMode="auto">
          <a:xfrm>
            <a:off x="5087367" y="2037516"/>
            <a:ext cx="17462" cy="19050"/>
          </a:xfrm>
          <a:custGeom>
            <a:avLst/>
            <a:gdLst>
              <a:gd name="T0" fmla="*/ 0 w 8"/>
              <a:gd name="T1" fmla="*/ 2147483647 h 8"/>
              <a:gd name="T2" fmla="*/ 2147483647 w 8"/>
              <a:gd name="T3" fmla="*/ 2147483647 h 8"/>
              <a:gd name="T4" fmla="*/ 0 w 8"/>
              <a:gd name="T5" fmla="*/ 0 h 8"/>
              <a:gd name="T6" fmla="*/ 0 w 8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8"/>
                </a:moveTo>
                <a:lnTo>
                  <a:pt x="8" y="8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4" name="Freeform 245"/>
          <p:cNvSpPr>
            <a:spLocks noChangeAspect="1"/>
          </p:cNvSpPr>
          <p:nvPr/>
        </p:nvSpPr>
        <p:spPr bwMode="auto">
          <a:xfrm>
            <a:off x="1955229" y="2023229"/>
            <a:ext cx="34925" cy="14287"/>
          </a:xfrm>
          <a:custGeom>
            <a:avLst/>
            <a:gdLst>
              <a:gd name="T0" fmla="*/ 0 w 16"/>
              <a:gd name="T1" fmla="*/ 0 h 8"/>
              <a:gd name="T2" fmla="*/ 0 w 16"/>
              <a:gd name="T3" fmla="*/ 2147483647 h 8"/>
              <a:gd name="T4" fmla="*/ 2147483647 w 16"/>
              <a:gd name="T5" fmla="*/ 2147483647 h 8"/>
              <a:gd name="T6" fmla="*/ 2147483647 w 16"/>
              <a:gd name="T7" fmla="*/ 2147483647 h 8"/>
              <a:gd name="T8" fmla="*/ 2147483647 w 16"/>
              <a:gd name="T9" fmla="*/ 2147483647 h 8"/>
              <a:gd name="T10" fmla="*/ 2147483647 w 16"/>
              <a:gd name="T11" fmla="*/ 0 h 8"/>
              <a:gd name="T12" fmla="*/ 0 w 16"/>
              <a:gd name="T13" fmla="*/ 0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6" h="8">
                <a:moveTo>
                  <a:pt x="0" y="0"/>
                </a:moveTo>
                <a:lnTo>
                  <a:pt x="0" y="8"/>
                </a:lnTo>
                <a:lnTo>
                  <a:pt x="8" y="8"/>
                </a:lnTo>
                <a:lnTo>
                  <a:pt x="16" y="8"/>
                </a:lnTo>
                <a:lnTo>
                  <a:pt x="8" y="8"/>
                </a:lnTo>
                <a:lnTo>
                  <a:pt x="16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5" name="Line 246"/>
          <p:cNvSpPr>
            <a:spLocks noChangeAspect="1" noChangeShapeType="1"/>
          </p:cNvSpPr>
          <p:nvPr/>
        </p:nvSpPr>
        <p:spPr bwMode="auto">
          <a:xfrm flipV="1">
            <a:off x="1936179" y="2037516"/>
            <a:ext cx="3175" cy="19050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6" name="Line 247"/>
          <p:cNvSpPr>
            <a:spLocks noChangeAspect="1" noChangeShapeType="1"/>
          </p:cNvSpPr>
          <p:nvPr/>
        </p:nvSpPr>
        <p:spPr bwMode="auto">
          <a:xfrm>
            <a:off x="1955229" y="2070854"/>
            <a:ext cx="17463" cy="3175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7" name="Rectangle 249"/>
          <p:cNvSpPr>
            <a:spLocks noChangeAspect="1" noChangeArrowheads="1"/>
          </p:cNvSpPr>
          <p:nvPr/>
        </p:nvSpPr>
        <p:spPr bwMode="auto">
          <a:xfrm>
            <a:off x="4944492" y="3061454"/>
            <a:ext cx="19050" cy="17462"/>
          </a:xfrm>
          <a:prstGeom prst="rect">
            <a:avLst/>
          </a:prstGeom>
          <a:solidFill>
            <a:srgbClr val="4F81BD"/>
          </a:solidFill>
          <a:ln w="6350">
            <a:solidFill>
              <a:srgbClr val="EEECE1"/>
            </a:solidFill>
            <a:miter lim="800000"/>
            <a:headEnd/>
            <a:tailEnd/>
          </a:ln>
        </p:spPr>
        <p:txBody>
          <a:bodyPr lIns="104296" tIns="52148" rIns="104296" bIns="52148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algn="ctr" fontAlgn="auto">
              <a:spcBef>
                <a:spcPct val="50000"/>
              </a:spcBef>
              <a:spcAft>
                <a:spcPct val="0"/>
              </a:spcAft>
              <a:buClr>
                <a:srgbClr val="DDDDDD"/>
              </a:buClr>
              <a:buFont typeface="Wingdings" pitchFamily="2" charset="2"/>
              <a:buNone/>
              <a:defRPr/>
            </a:pPr>
            <a:endParaRPr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8" name="Line 250"/>
          <p:cNvSpPr>
            <a:spLocks noChangeAspect="1" noChangeShapeType="1"/>
          </p:cNvSpPr>
          <p:nvPr/>
        </p:nvSpPr>
        <p:spPr bwMode="auto">
          <a:xfrm>
            <a:off x="4944492" y="3078916"/>
            <a:ext cx="19050" cy="1588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9" name="Freeform 251"/>
          <p:cNvSpPr>
            <a:spLocks noChangeAspect="1"/>
          </p:cNvSpPr>
          <p:nvPr/>
        </p:nvSpPr>
        <p:spPr bwMode="auto">
          <a:xfrm>
            <a:off x="1404367" y="2037516"/>
            <a:ext cx="123825" cy="119063"/>
          </a:xfrm>
          <a:custGeom>
            <a:avLst/>
            <a:gdLst>
              <a:gd name="T0" fmla="*/ 2147483647 w 56"/>
              <a:gd name="T1" fmla="*/ 2147483647 h 56"/>
              <a:gd name="T2" fmla="*/ 2147483647 w 56"/>
              <a:gd name="T3" fmla="*/ 2147483647 h 56"/>
              <a:gd name="T4" fmla="*/ 2147483647 w 56"/>
              <a:gd name="T5" fmla="*/ 2147483647 h 56"/>
              <a:gd name="T6" fmla="*/ 2147483647 w 56"/>
              <a:gd name="T7" fmla="*/ 2147483647 h 56"/>
              <a:gd name="T8" fmla="*/ 2147483647 w 56"/>
              <a:gd name="T9" fmla="*/ 2147483647 h 56"/>
              <a:gd name="T10" fmla="*/ 2147483647 w 56"/>
              <a:gd name="T11" fmla="*/ 2147483647 h 56"/>
              <a:gd name="T12" fmla="*/ 0 w 56"/>
              <a:gd name="T13" fmla="*/ 2147483647 h 56"/>
              <a:gd name="T14" fmla="*/ 2147483647 w 56"/>
              <a:gd name="T15" fmla="*/ 2147483647 h 56"/>
              <a:gd name="T16" fmla="*/ 2147483647 w 56"/>
              <a:gd name="T17" fmla="*/ 2147483647 h 56"/>
              <a:gd name="T18" fmla="*/ 2147483647 w 56"/>
              <a:gd name="T19" fmla="*/ 2147483647 h 56"/>
              <a:gd name="T20" fmla="*/ 2147483647 w 56"/>
              <a:gd name="T21" fmla="*/ 2147483647 h 56"/>
              <a:gd name="T22" fmla="*/ 2147483647 w 56"/>
              <a:gd name="T23" fmla="*/ 2147483647 h 56"/>
              <a:gd name="T24" fmla="*/ 2147483647 w 56"/>
              <a:gd name="T25" fmla="*/ 2147483647 h 56"/>
              <a:gd name="T26" fmla="*/ 2147483647 w 56"/>
              <a:gd name="T27" fmla="*/ 2147483647 h 56"/>
              <a:gd name="T28" fmla="*/ 2147483647 w 56"/>
              <a:gd name="T29" fmla="*/ 2147483647 h 56"/>
              <a:gd name="T30" fmla="*/ 2147483647 w 56"/>
              <a:gd name="T31" fmla="*/ 2147483647 h 56"/>
              <a:gd name="T32" fmla="*/ 2147483647 w 56"/>
              <a:gd name="T33" fmla="*/ 0 h 56"/>
              <a:gd name="T34" fmla="*/ 2147483647 w 56"/>
              <a:gd name="T35" fmla="*/ 0 h 56"/>
              <a:gd name="T36" fmla="*/ 2147483647 w 56"/>
              <a:gd name="T37" fmla="*/ 2147483647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56" h="56">
                <a:moveTo>
                  <a:pt x="32" y="8"/>
                </a:moveTo>
                <a:lnTo>
                  <a:pt x="40" y="16"/>
                </a:lnTo>
                <a:lnTo>
                  <a:pt x="56" y="16"/>
                </a:lnTo>
                <a:lnTo>
                  <a:pt x="56" y="32"/>
                </a:lnTo>
                <a:lnTo>
                  <a:pt x="48" y="48"/>
                </a:lnTo>
                <a:lnTo>
                  <a:pt x="8" y="56"/>
                </a:lnTo>
                <a:lnTo>
                  <a:pt x="0" y="48"/>
                </a:lnTo>
                <a:lnTo>
                  <a:pt x="8" y="48"/>
                </a:lnTo>
                <a:lnTo>
                  <a:pt x="24" y="32"/>
                </a:lnTo>
                <a:lnTo>
                  <a:pt x="8" y="24"/>
                </a:lnTo>
                <a:lnTo>
                  <a:pt x="16" y="24"/>
                </a:lnTo>
                <a:lnTo>
                  <a:pt x="8" y="16"/>
                </a:lnTo>
                <a:lnTo>
                  <a:pt x="16" y="16"/>
                </a:lnTo>
                <a:lnTo>
                  <a:pt x="24" y="16"/>
                </a:lnTo>
                <a:lnTo>
                  <a:pt x="32" y="8"/>
                </a:lnTo>
                <a:lnTo>
                  <a:pt x="24" y="8"/>
                </a:lnTo>
                <a:lnTo>
                  <a:pt x="32" y="0"/>
                </a:lnTo>
                <a:lnTo>
                  <a:pt x="40" y="0"/>
                </a:lnTo>
                <a:lnTo>
                  <a:pt x="32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70" name="Freeform 252"/>
          <p:cNvSpPr>
            <a:spLocks noChangeAspect="1"/>
          </p:cNvSpPr>
          <p:nvPr/>
        </p:nvSpPr>
        <p:spPr bwMode="auto">
          <a:xfrm>
            <a:off x="1758379" y="2088316"/>
            <a:ext cx="109538" cy="84138"/>
          </a:xfrm>
          <a:custGeom>
            <a:avLst/>
            <a:gdLst>
              <a:gd name="T0" fmla="*/ 0 w 48"/>
              <a:gd name="T1" fmla="*/ 2147483647 h 40"/>
              <a:gd name="T2" fmla="*/ 2147483647 w 48"/>
              <a:gd name="T3" fmla="*/ 2147483647 h 40"/>
              <a:gd name="T4" fmla="*/ 2147483647 w 48"/>
              <a:gd name="T5" fmla="*/ 2147483647 h 40"/>
              <a:gd name="T6" fmla="*/ 2147483647 w 48"/>
              <a:gd name="T7" fmla="*/ 2147483647 h 40"/>
              <a:gd name="T8" fmla="*/ 2147483647 w 48"/>
              <a:gd name="T9" fmla="*/ 2147483647 h 40"/>
              <a:gd name="T10" fmla="*/ 2147483647 w 48"/>
              <a:gd name="T11" fmla="*/ 2147483647 h 40"/>
              <a:gd name="T12" fmla="*/ 2147483647 w 48"/>
              <a:gd name="T13" fmla="*/ 0 h 40"/>
              <a:gd name="T14" fmla="*/ 2147483647 w 48"/>
              <a:gd name="T15" fmla="*/ 2147483647 h 40"/>
              <a:gd name="T16" fmla="*/ 2147483647 w 48"/>
              <a:gd name="T17" fmla="*/ 2147483647 h 40"/>
              <a:gd name="T18" fmla="*/ 2147483647 w 48"/>
              <a:gd name="T19" fmla="*/ 2147483647 h 40"/>
              <a:gd name="T20" fmla="*/ 2147483647 w 48"/>
              <a:gd name="T21" fmla="*/ 2147483647 h 40"/>
              <a:gd name="T22" fmla="*/ 0 w 48"/>
              <a:gd name="T23" fmla="*/ 2147483647 h 4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8" h="40">
                <a:moveTo>
                  <a:pt x="0" y="32"/>
                </a:moveTo>
                <a:lnTo>
                  <a:pt x="16" y="8"/>
                </a:lnTo>
                <a:lnTo>
                  <a:pt x="16" y="16"/>
                </a:lnTo>
                <a:lnTo>
                  <a:pt x="24" y="16"/>
                </a:lnTo>
                <a:lnTo>
                  <a:pt x="32" y="16"/>
                </a:lnTo>
                <a:lnTo>
                  <a:pt x="24" y="8"/>
                </a:lnTo>
                <a:lnTo>
                  <a:pt x="48" y="0"/>
                </a:lnTo>
                <a:lnTo>
                  <a:pt x="40" y="16"/>
                </a:lnTo>
                <a:lnTo>
                  <a:pt x="32" y="24"/>
                </a:lnTo>
                <a:lnTo>
                  <a:pt x="32" y="40"/>
                </a:lnTo>
                <a:lnTo>
                  <a:pt x="16" y="32"/>
                </a:lnTo>
                <a:lnTo>
                  <a:pt x="0" y="3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71" name="Freeform 253"/>
          <p:cNvSpPr>
            <a:spLocks noChangeAspect="1"/>
          </p:cNvSpPr>
          <p:nvPr/>
        </p:nvSpPr>
        <p:spPr bwMode="auto">
          <a:xfrm>
            <a:off x="2098104" y="2207379"/>
            <a:ext cx="141288" cy="65087"/>
          </a:xfrm>
          <a:custGeom>
            <a:avLst/>
            <a:gdLst>
              <a:gd name="T0" fmla="*/ 0 w 64"/>
              <a:gd name="T1" fmla="*/ 2147483647 h 32"/>
              <a:gd name="T2" fmla="*/ 2147483647 w 64"/>
              <a:gd name="T3" fmla="*/ 2147483647 h 32"/>
              <a:gd name="T4" fmla="*/ 2147483647 w 64"/>
              <a:gd name="T5" fmla="*/ 2147483647 h 32"/>
              <a:gd name="T6" fmla="*/ 2147483647 w 64"/>
              <a:gd name="T7" fmla="*/ 2147483647 h 32"/>
              <a:gd name="T8" fmla="*/ 2147483647 w 64"/>
              <a:gd name="T9" fmla="*/ 2147483647 h 32"/>
              <a:gd name="T10" fmla="*/ 2147483647 w 64"/>
              <a:gd name="T11" fmla="*/ 2147483647 h 32"/>
              <a:gd name="T12" fmla="*/ 2147483647 w 64"/>
              <a:gd name="T13" fmla="*/ 2147483647 h 32"/>
              <a:gd name="T14" fmla="*/ 2147483647 w 64"/>
              <a:gd name="T15" fmla="*/ 2147483647 h 32"/>
              <a:gd name="T16" fmla="*/ 2147483647 w 64"/>
              <a:gd name="T17" fmla="*/ 0 h 32"/>
              <a:gd name="T18" fmla="*/ 0 w 64"/>
              <a:gd name="T19" fmla="*/ 2147483647 h 3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64" h="32">
                <a:moveTo>
                  <a:pt x="0" y="16"/>
                </a:moveTo>
                <a:lnTo>
                  <a:pt x="8" y="24"/>
                </a:lnTo>
                <a:lnTo>
                  <a:pt x="24" y="32"/>
                </a:lnTo>
                <a:lnTo>
                  <a:pt x="48" y="16"/>
                </a:lnTo>
                <a:lnTo>
                  <a:pt x="64" y="16"/>
                </a:lnTo>
                <a:lnTo>
                  <a:pt x="64" y="8"/>
                </a:lnTo>
                <a:lnTo>
                  <a:pt x="56" y="8"/>
                </a:lnTo>
                <a:lnTo>
                  <a:pt x="40" y="8"/>
                </a:lnTo>
                <a:lnTo>
                  <a:pt x="16" y="0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72" name="Freeform 254"/>
          <p:cNvSpPr>
            <a:spLocks noChangeAspect="1"/>
          </p:cNvSpPr>
          <p:nvPr/>
        </p:nvSpPr>
        <p:spPr bwMode="auto">
          <a:xfrm>
            <a:off x="1972692" y="2156579"/>
            <a:ext cx="160337" cy="82550"/>
          </a:xfrm>
          <a:custGeom>
            <a:avLst/>
            <a:gdLst>
              <a:gd name="T0" fmla="*/ 2147483647 w 72"/>
              <a:gd name="T1" fmla="*/ 2147483647 h 40"/>
              <a:gd name="T2" fmla="*/ 2147483647 w 72"/>
              <a:gd name="T3" fmla="*/ 2147483647 h 40"/>
              <a:gd name="T4" fmla="*/ 2147483647 w 72"/>
              <a:gd name="T5" fmla="*/ 2147483647 h 40"/>
              <a:gd name="T6" fmla="*/ 2147483647 w 72"/>
              <a:gd name="T7" fmla="*/ 2147483647 h 40"/>
              <a:gd name="T8" fmla="*/ 2147483647 w 72"/>
              <a:gd name="T9" fmla="*/ 0 h 40"/>
              <a:gd name="T10" fmla="*/ 0 w 72"/>
              <a:gd name="T11" fmla="*/ 2147483647 h 40"/>
              <a:gd name="T12" fmla="*/ 2147483647 w 72"/>
              <a:gd name="T13" fmla="*/ 2147483647 h 40"/>
              <a:gd name="T14" fmla="*/ 2147483647 w 72"/>
              <a:gd name="T15" fmla="*/ 2147483647 h 40"/>
              <a:gd name="T16" fmla="*/ 2147483647 w 72"/>
              <a:gd name="T17" fmla="*/ 2147483647 h 40"/>
              <a:gd name="T18" fmla="*/ 2147483647 w 72"/>
              <a:gd name="T19" fmla="*/ 2147483647 h 40"/>
              <a:gd name="T20" fmla="*/ 2147483647 w 72"/>
              <a:gd name="T21" fmla="*/ 2147483647 h 40"/>
              <a:gd name="T22" fmla="*/ 2147483647 w 72"/>
              <a:gd name="T23" fmla="*/ 2147483647 h 4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72" h="40">
                <a:moveTo>
                  <a:pt x="72" y="24"/>
                </a:moveTo>
                <a:lnTo>
                  <a:pt x="56" y="16"/>
                </a:lnTo>
                <a:lnTo>
                  <a:pt x="48" y="8"/>
                </a:lnTo>
                <a:lnTo>
                  <a:pt x="32" y="8"/>
                </a:lnTo>
                <a:lnTo>
                  <a:pt x="32" y="0"/>
                </a:lnTo>
                <a:lnTo>
                  <a:pt x="0" y="16"/>
                </a:lnTo>
                <a:lnTo>
                  <a:pt x="8" y="24"/>
                </a:lnTo>
                <a:lnTo>
                  <a:pt x="24" y="40"/>
                </a:lnTo>
                <a:lnTo>
                  <a:pt x="32" y="40"/>
                </a:lnTo>
                <a:lnTo>
                  <a:pt x="40" y="32"/>
                </a:lnTo>
                <a:lnTo>
                  <a:pt x="56" y="40"/>
                </a:lnTo>
                <a:lnTo>
                  <a:pt x="72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273" name="Group 255"/>
          <p:cNvGrpSpPr>
            <a:grpSpLocks noChangeAspect="1"/>
          </p:cNvGrpSpPr>
          <p:nvPr/>
        </p:nvGrpSpPr>
        <p:grpSpPr bwMode="auto">
          <a:xfrm>
            <a:off x="7736904" y="1678741"/>
            <a:ext cx="712788" cy="755650"/>
            <a:chOff x="1916" y="1640"/>
            <a:chExt cx="320" cy="360"/>
          </a:xfrm>
        </p:grpSpPr>
        <p:sp>
          <p:nvSpPr>
            <p:cNvPr id="274" name="Freeform 256"/>
            <p:cNvSpPr>
              <a:spLocks noChangeAspect="1"/>
            </p:cNvSpPr>
            <p:nvPr/>
          </p:nvSpPr>
          <p:spPr bwMode="auto">
            <a:xfrm>
              <a:off x="1916" y="1640"/>
              <a:ext cx="80" cy="24"/>
            </a:xfrm>
            <a:custGeom>
              <a:avLst/>
              <a:gdLst>
                <a:gd name="T0" fmla="*/ 0 w 80"/>
                <a:gd name="T1" fmla="*/ 8 h 24"/>
                <a:gd name="T2" fmla="*/ 32 w 80"/>
                <a:gd name="T3" fmla="*/ 8 h 24"/>
                <a:gd name="T4" fmla="*/ 40 w 80"/>
                <a:gd name="T5" fmla="*/ 16 h 24"/>
                <a:gd name="T6" fmla="*/ 0 w 80"/>
                <a:gd name="T7" fmla="*/ 24 h 24"/>
                <a:gd name="T8" fmla="*/ 16 w 80"/>
                <a:gd name="T9" fmla="*/ 24 h 24"/>
                <a:gd name="T10" fmla="*/ 40 w 80"/>
                <a:gd name="T11" fmla="*/ 16 h 24"/>
                <a:gd name="T12" fmla="*/ 24 w 80"/>
                <a:gd name="T13" fmla="*/ 24 h 24"/>
                <a:gd name="T14" fmla="*/ 48 w 80"/>
                <a:gd name="T15" fmla="*/ 24 h 24"/>
                <a:gd name="T16" fmla="*/ 48 w 80"/>
                <a:gd name="T17" fmla="*/ 16 h 24"/>
                <a:gd name="T18" fmla="*/ 64 w 80"/>
                <a:gd name="T19" fmla="*/ 16 h 24"/>
                <a:gd name="T20" fmla="*/ 80 w 80"/>
                <a:gd name="T21" fmla="*/ 8 h 24"/>
                <a:gd name="T22" fmla="*/ 48 w 80"/>
                <a:gd name="T23" fmla="*/ 8 h 24"/>
                <a:gd name="T24" fmla="*/ 72 w 80"/>
                <a:gd name="T25" fmla="*/ 0 h 24"/>
                <a:gd name="T26" fmla="*/ 64 w 80"/>
                <a:gd name="T27" fmla="*/ 0 h 24"/>
                <a:gd name="T28" fmla="*/ 0 w 80"/>
                <a:gd name="T29" fmla="*/ 8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0" h="24">
                  <a:moveTo>
                    <a:pt x="0" y="8"/>
                  </a:moveTo>
                  <a:lnTo>
                    <a:pt x="32" y="8"/>
                  </a:lnTo>
                  <a:lnTo>
                    <a:pt x="40" y="16"/>
                  </a:lnTo>
                  <a:lnTo>
                    <a:pt x="0" y="24"/>
                  </a:lnTo>
                  <a:lnTo>
                    <a:pt x="16" y="24"/>
                  </a:lnTo>
                  <a:lnTo>
                    <a:pt x="40" y="16"/>
                  </a:lnTo>
                  <a:lnTo>
                    <a:pt x="24" y="24"/>
                  </a:lnTo>
                  <a:lnTo>
                    <a:pt x="48" y="24"/>
                  </a:lnTo>
                  <a:lnTo>
                    <a:pt x="48" y="16"/>
                  </a:lnTo>
                  <a:lnTo>
                    <a:pt x="64" y="16"/>
                  </a:lnTo>
                  <a:lnTo>
                    <a:pt x="80" y="8"/>
                  </a:lnTo>
                  <a:lnTo>
                    <a:pt x="48" y="8"/>
                  </a:lnTo>
                  <a:lnTo>
                    <a:pt x="72" y="0"/>
                  </a:lnTo>
                  <a:lnTo>
                    <a:pt x="64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275" name="Freeform 257"/>
            <p:cNvSpPr>
              <a:spLocks noChangeAspect="1"/>
            </p:cNvSpPr>
            <p:nvPr/>
          </p:nvSpPr>
          <p:spPr bwMode="auto">
            <a:xfrm>
              <a:off x="1932" y="1696"/>
              <a:ext cx="88" cy="24"/>
            </a:xfrm>
            <a:custGeom>
              <a:avLst/>
              <a:gdLst>
                <a:gd name="T0" fmla="*/ 88 w 88"/>
                <a:gd name="T1" fmla="*/ 0 h 24"/>
                <a:gd name="T2" fmla="*/ 48 w 88"/>
                <a:gd name="T3" fmla="*/ 8 h 24"/>
                <a:gd name="T4" fmla="*/ 32 w 88"/>
                <a:gd name="T5" fmla="*/ 8 h 24"/>
                <a:gd name="T6" fmla="*/ 32 w 88"/>
                <a:gd name="T7" fmla="*/ 16 h 24"/>
                <a:gd name="T8" fmla="*/ 8 w 88"/>
                <a:gd name="T9" fmla="*/ 24 h 24"/>
                <a:gd name="T10" fmla="*/ 0 w 88"/>
                <a:gd name="T11" fmla="*/ 24 h 24"/>
                <a:gd name="T12" fmla="*/ 8 w 88"/>
                <a:gd name="T13" fmla="*/ 24 h 24"/>
                <a:gd name="T14" fmla="*/ 32 w 88"/>
                <a:gd name="T15" fmla="*/ 24 h 24"/>
                <a:gd name="T16" fmla="*/ 64 w 88"/>
                <a:gd name="T17" fmla="*/ 8 h 24"/>
                <a:gd name="T18" fmla="*/ 88 w 88"/>
                <a:gd name="T19" fmla="*/ 8 h 24"/>
                <a:gd name="T20" fmla="*/ 88 w 88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8" h="24">
                  <a:moveTo>
                    <a:pt x="88" y="0"/>
                  </a:moveTo>
                  <a:lnTo>
                    <a:pt x="48" y="8"/>
                  </a:lnTo>
                  <a:lnTo>
                    <a:pt x="32" y="8"/>
                  </a:lnTo>
                  <a:lnTo>
                    <a:pt x="32" y="16"/>
                  </a:lnTo>
                  <a:lnTo>
                    <a:pt x="8" y="24"/>
                  </a:lnTo>
                  <a:lnTo>
                    <a:pt x="0" y="24"/>
                  </a:lnTo>
                  <a:lnTo>
                    <a:pt x="8" y="24"/>
                  </a:lnTo>
                  <a:lnTo>
                    <a:pt x="32" y="24"/>
                  </a:lnTo>
                  <a:lnTo>
                    <a:pt x="64" y="8"/>
                  </a:lnTo>
                  <a:lnTo>
                    <a:pt x="88" y="8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276" name="Freeform 258"/>
            <p:cNvSpPr>
              <a:spLocks noChangeAspect="1"/>
            </p:cNvSpPr>
            <p:nvPr/>
          </p:nvSpPr>
          <p:spPr bwMode="auto">
            <a:xfrm>
              <a:off x="1964" y="1736"/>
              <a:ext cx="48" cy="16"/>
            </a:xfrm>
            <a:custGeom>
              <a:avLst/>
              <a:gdLst>
                <a:gd name="T0" fmla="*/ 0 w 48"/>
                <a:gd name="T1" fmla="*/ 16 h 16"/>
                <a:gd name="T2" fmla="*/ 48 w 48"/>
                <a:gd name="T3" fmla="*/ 8 h 16"/>
                <a:gd name="T4" fmla="*/ 24 w 48"/>
                <a:gd name="T5" fmla="*/ 0 h 16"/>
                <a:gd name="T6" fmla="*/ 0 w 48"/>
                <a:gd name="T7" fmla="*/ 16 h 1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8" h="16">
                  <a:moveTo>
                    <a:pt x="0" y="16"/>
                  </a:moveTo>
                  <a:lnTo>
                    <a:pt x="48" y="8"/>
                  </a:lnTo>
                  <a:lnTo>
                    <a:pt x="24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277" name="Freeform 259"/>
            <p:cNvSpPr>
              <a:spLocks noChangeAspect="1"/>
            </p:cNvSpPr>
            <p:nvPr/>
          </p:nvSpPr>
          <p:spPr bwMode="auto">
            <a:xfrm>
              <a:off x="2020" y="1760"/>
              <a:ext cx="32" cy="24"/>
            </a:xfrm>
            <a:custGeom>
              <a:avLst/>
              <a:gdLst>
                <a:gd name="T0" fmla="*/ 0 w 32"/>
                <a:gd name="T1" fmla="*/ 24 h 24"/>
                <a:gd name="T2" fmla="*/ 16 w 32"/>
                <a:gd name="T3" fmla="*/ 24 h 24"/>
                <a:gd name="T4" fmla="*/ 24 w 32"/>
                <a:gd name="T5" fmla="*/ 8 h 24"/>
                <a:gd name="T6" fmla="*/ 32 w 32"/>
                <a:gd name="T7" fmla="*/ 8 h 24"/>
                <a:gd name="T8" fmla="*/ 32 w 32"/>
                <a:gd name="T9" fmla="*/ 0 h 24"/>
                <a:gd name="T10" fmla="*/ 0 w 32"/>
                <a:gd name="T11" fmla="*/ 24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24">
                  <a:moveTo>
                    <a:pt x="0" y="24"/>
                  </a:moveTo>
                  <a:lnTo>
                    <a:pt x="16" y="2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278" name="Freeform 260"/>
            <p:cNvSpPr>
              <a:spLocks noChangeAspect="1"/>
            </p:cNvSpPr>
            <p:nvPr/>
          </p:nvSpPr>
          <p:spPr bwMode="auto">
            <a:xfrm>
              <a:off x="2036" y="1824"/>
              <a:ext cx="16" cy="48"/>
            </a:xfrm>
            <a:custGeom>
              <a:avLst/>
              <a:gdLst>
                <a:gd name="T0" fmla="*/ 0 w 16"/>
                <a:gd name="T1" fmla="*/ 8 h 48"/>
                <a:gd name="T2" fmla="*/ 0 w 16"/>
                <a:gd name="T3" fmla="*/ 24 h 48"/>
                <a:gd name="T4" fmla="*/ 8 w 16"/>
                <a:gd name="T5" fmla="*/ 24 h 48"/>
                <a:gd name="T6" fmla="*/ 0 w 16"/>
                <a:gd name="T7" fmla="*/ 32 h 48"/>
                <a:gd name="T8" fmla="*/ 8 w 16"/>
                <a:gd name="T9" fmla="*/ 32 h 48"/>
                <a:gd name="T10" fmla="*/ 0 w 16"/>
                <a:gd name="T11" fmla="*/ 48 h 48"/>
                <a:gd name="T12" fmla="*/ 16 w 16"/>
                <a:gd name="T13" fmla="*/ 32 h 48"/>
                <a:gd name="T14" fmla="*/ 16 w 16"/>
                <a:gd name="T15" fmla="*/ 0 h 48"/>
                <a:gd name="T16" fmla="*/ 8 w 16"/>
                <a:gd name="T17" fmla="*/ 0 h 48"/>
                <a:gd name="T18" fmla="*/ 0 w 16"/>
                <a:gd name="T19" fmla="*/ 8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6" h="48">
                  <a:moveTo>
                    <a:pt x="0" y="8"/>
                  </a:moveTo>
                  <a:lnTo>
                    <a:pt x="0" y="24"/>
                  </a:lnTo>
                  <a:lnTo>
                    <a:pt x="8" y="24"/>
                  </a:lnTo>
                  <a:lnTo>
                    <a:pt x="0" y="32"/>
                  </a:lnTo>
                  <a:lnTo>
                    <a:pt x="8" y="32"/>
                  </a:lnTo>
                  <a:lnTo>
                    <a:pt x="0" y="48"/>
                  </a:lnTo>
                  <a:lnTo>
                    <a:pt x="16" y="32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grpSp>
          <p:nvGrpSpPr>
            <p:cNvPr id="279" name="Group 261"/>
            <p:cNvGrpSpPr>
              <a:grpSpLocks noChangeAspect="1"/>
            </p:cNvGrpSpPr>
            <p:nvPr/>
          </p:nvGrpSpPr>
          <p:grpSpPr bwMode="auto">
            <a:xfrm>
              <a:off x="2060" y="1888"/>
              <a:ext cx="176" cy="112"/>
              <a:chOff x="2060" y="1888"/>
              <a:chExt cx="176" cy="112"/>
            </a:xfrm>
          </p:grpSpPr>
          <p:sp>
            <p:nvSpPr>
              <p:cNvPr id="281" name="Freeform 262"/>
              <p:cNvSpPr>
                <a:spLocks noChangeAspect="1"/>
              </p:cNvSpPr>
              <p:nvPr/>
            </p:nvSpPr>
            <p:spPr bwMode="auto">
              <a:xfrm>
                <a:off x="2180" y="1960"/>
                <a:ext cx="56" cy="16"/>
              </a:xfrm>
              <a:custGeom>
                <a:avLst/>
                <a:gdLst>
                  <a:gd name="T0" fmla="*/ 8 w 56"/>
                  <a:gd name="T1" fmla="*/ 16 h 16"/>
                  <a:gd name="T2" fmla="*/ 48 w 56"/>
                  <a:gd name="T3" fmla="*/ 16 h 16"/>
                  <a:gd name="T4" fmla="*/ 56 w 56"/>
                  <a:gd name="T5" fmla="*/ 0 h 16"/>
                  <a:gd name="T6" fmla="*/ 40 w 56"/>
                  <a:gd name="T7" fmla="*/ 8 h 16"/>
                  <a:gd name="T8" fmla="*/ 8 w 56"/>
                  <a:gd name="T9" fmla="*/ 8 h 16"/>
                  <a:gd name="T10" fmla="*/ 0 w 56"/>
                  <a:gd name="T11" fmla="*/ 16 h 16"/>
                  <a:gd name="T12" fmla="*/ 8 w 56"/>
                  <a:gd name="T13" fmla="*/ 16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6" h="16">
                    <a:moveTo>
                      <a:pt x="8" y="16"/>
                    </a:moveTo>
                    <a:lnTo>
                      <a:pt x="48" y="16"/>
                    </a:lnTo>
                    <a:lnTo>
                      <a:pt x="56" y="0"/>
                    </a:lnTo>
                    <a:lnTo>
                      <a:pt x="40" y="8"/>
                    </a:lnTo>
                    <a:lnTo>
                      <a:pt x="8" y="8"/>
                    </a:lnTo>
                    <a:lnTo>
                      <a:pt x="0" y="16"/>
                    </a:lnTo>
                    <a:lnTo>
                      <a:pt x="8" y="16"/>
                    </a:lnTo>
                    <a:close/>
                  </a:path>
                </a:pathLst>
              </a:custGeom>
              <a:solidFill>
                <a:srgbClr val="4F81BD"/>
              </a:solidFill>
              <a:ln w="6350" cmpd="sng">
                <a:solidFill>
                  <a:srgbClr val="EEECE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spcBef>
                    <a:spcPts val="0"/>
                  </a:spcBef>
                  <a:defRPr/>
                </a:pPr>
                <a:endParaRPr kumimoji="0" lang="ja-JP" altLang="en-US" sz="1800" kern="0">
                  <a:solidFill>
                    <a:srgbClr val="1F497D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282" name="Freeform 263"/>
              <p:cNvSpPr>
                <a:spLocks noChangeAspect="1"/>
              </p:cNvSpPr>
              <p:nvPr/>
            </p:nvSpPr>
            <p:spPr bwMode="auto">
              <a:xfrm>
                <a:off x="2132" y="1984"/>
                <a:ext cx="64" cy="16"/>
              </a:xfrm>
              <a:custGeom>
                <a:avLst/>
                <a:gdLst>
                  <a:gd name="T0" fmla="*/ 0 w 64"/>
                  <a:gd name="T1" fmla="*/ 16 h 16"/>
                  <a:gd name="T2" fmla="*/ 16 w 64"/>
                  <a:gd name="T3" fmla="*/ 16 h 16"/>
                  <a:gd name="T4" fmla="*/ 64 w 64"/>
                  <a:gd name="T5" fmla="*/ 0 h 16"/>
                  <a:gd name="T6" fmla="*/ 24 w 64"/>
                  <a:gd name="T7" fmla="*/ 0 h 16"/>
                  <a:gd name="T8" fmla="*/ 0 w 64"/>
                  <a:gd name="T9" fmla="*/ 16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4" h="16">
                    <a:moveTo>
                      <a:pt x="0" y="16"/>
                    </a:moveTo>
                    <a:lnTo>
                      <a:pt x="16" y="16"/>
                    </a:lnTo>
                    <a:lnTo>
                      <a:pt x="64" y="0"/>
                    </a:lnTo>
                    <a:lnTo>
                      <a:pt x="24" y="0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4F81BD"/>
              </a:solidFill>
              <a:ln w="6350" cmpd="sng">
                <a:solidFill>
                  <a:srgbClr val="EEECE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spcBef>
                    <a:spcPts val="0"/>
                  </a:spcBef>
                  <a:defRPr/>
                </a:pPr>
                <a:endParaRPr kumimoji="0" lang="ja-JP" altLang="en-US" sz="1800" kern="0">
                  <a:solidFill>
                    <a:srgbClr val="1F497D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283" name="Freeform 264"/>
              <p:cNvSpPr>
                <a:spLocks noChangeAspect="1"/>
              </p:cNvSpPr>
              <p:nvPr/>
            </p:nvSpPr>
            <p:spPr bwMode="auto">
              <a:xfrm>
                <a:off x="2076" y="1928"/>
                <a:ext cx="120" cy="72"/>
              </a:xfrm>
              <a:custGeom>
                <a:avLst/>
                <a:gdLst>
                  <a:gd name="T0" fmla="*/ 72 w 120"/>
                  <a:gd name="T1" fmla="*/ 0 h 72"/>
                  <a:gd name="T2" fmla="*/ 72 w 120"/>
                  <a:gd name="T3" fmla="*/ 8 h 72"/>
                  <a:gd name="T4" fmla="*/ 40 w 120"/>
                  <a:gd name="T5" fmla="*/ 8 h 72"/>
                  <a:gd name="T6" fmla="*/ 16 w 120"/>
                  <a:gd name="T7" fmla="*/ 32 h 72"/>
                  <a:gd name="T8" fmla="*/ 32 w 120"/>
                  <a:gd name="T9" fmla="*/ 24 h 72"/>
                  <a:gd name="T10" fmla="*/ 8 w 120"/>
                  <a:gd name="T11" fmla="*/ 48 h 72"/>
                  <a:gd name="T12" fmla="*/ 0 w 120"/>
                  <a:gd name="T13" fmla="*/ 64 h 72"/>
                  <a:gd name="T14" fmla="*/ 0 w 120"/>
                  <a:gd name="T15" fmla="*/ 72 h 72"/>
                  <a:gd name="T16" fmla="*/ 8 w 120"/>
                  <a:gd name="T17" fmla="*/ 72 h 72"/>
                  <a:gd name="T18" fmla="*/ 16 w 120"/>
                  <a:gd name="T19" fmla="*/ 64 h 72"/>
                  <a:gd name="T20" fmla="*/ 32 w 120"/>
                  <a:gd name="T21" fmla="*/ 40 h 72"/>
                  <a:gd name="T22" fmla="*/ 40 w 120"/>
                  <a:gd name="T23" fmla="*/ 24 h 72"/>
                  <a:gd name="T24" fmla="*/ 64 w 120"/>
                  <a:gd name="T25" fmla="*/ 16 h 72"/>
                  <a:gd name="T26" fmla="*/ 72 w 120"/>
                  <a:gd name="T27" fmla="*/ 16 h 72"/>
                  <a:gd name="T28" fmla="*/ 72 w 120"/>
                  <a:gd name="T29" fmla="*/ 32 h 72"/>
                  <a:gd name="T30" fmla="*/ 64 w 120"/>
                  <a:gd name="T31" fmla="*/ 40 h 72"/>
                  <a:gd name="T32" fmla="*/ 72 w 120"/>
                  <a:gd name="T33" fmla="*/ 40 h 72"/>
                  <a:gd name="T34" fmla="*/ 72 w 120"/>
                  <a:gd name="T35" fmla="*/ 48 h 72"/>
                  <a:gd name="T36" fmla="*/ 80 w 120"/>
                  <a:gd name="T37" fmla="*/ 48 h 72"/>
                  <a:gd name="T38" fmla="*/ 96 w 120"/>
                  <a:gd name="T39" fmla="*/ 16 h 72"/>
                  <a:gd name="T40" fmla="*/ 112 w 120"/>
                  <a:gd name="T41" fmla="*/ 32 h 72"/>
                  <a:gd name="T42" fmla="*/ 120 w 120"/>
                  <a:gd name="T43" fmla="*/ 24 h 72"/>
                  <a:gd name="T44" fmla="*/ 112 w 120"/>
                  <a:gd name="T45" fmla="*/ 8 h 72"/>
                  <a:gd name="T46" fmla="*/ 72 w 120"/>
                  <a:gd name="T47" fmla="*/ 0 h 7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20" h="72">
                    <a:moveTo>
                      <a:pt x="72" y="0"/>
                    </a:moveTo>
                    <a:lnTo>
                      <a:pt x="72" y="8"/>
                    </a:lnTo>
                    <a:lnTo>
                      <a:pt x="40" y="8"/>
                    </a:lnTo>
                    <a:lnTo>
                      <a:pt x="16" y="32"/>
                    </a:lnTo>
                    <a:lnTo>
                      <a:pt x="32" y="24"/>
                    </a:lnTo>
                    <a:lnTo>
                      <a:pt x="8" y="48"/>
                    </a:lnTo>
                    <a:lnTo>
                      <a:pt x="0" y="64"/>
                    </a:lnTo>
                    <a:lnTo>
                      <a:pt x="0" y="72"/>
                    </a:lnTo>
                    <a:lnTo>
                      <a:pt x="8" y="72"/>
                    </a:lnTo>
                    <a:lnTo>
                      <a:pt x="16" y="64"/>
                    </a:lnTo>
                    <a:lnTo>
                      <a:pt x="32" y="40"/>
                    </a:lnTo>
                    <a:lnTo>
                      <a:pt x="40" y="24"/>
                    </a:lnTo>
                    <a:lnTo>
                      <a:pt x="64" y="16"/>
                    </a:lnTo>
                    <a:lnTo>
                      <a:pt x="72" y="16"/>
                    </a:lnTo>
                    <a:lnTo>
                      <a:pt x="72" y="32"/>
                    </a:lnTo>
                    <a:lnTo>
                      <a:pt x="64" y="40"/>
                    </a:lnTo>
                    <a:lnTo>
                      <a:pt x="72" y="40"/>
                    </a:lnTo>
                    <a:lnTo>
                      <a:pt x="72" y="48"/>
                    </a:lnTo>
                    <a:lnTo>
                      <a:pt x="80" y="48"/>
                    </a:lnTo>
                    <a:lnTo>
                      <a:pt x="96" y="16"/>
                    </a:lnTo>
                    <a:lnTo>
                      <a:pt x="112" y="32"/>
                    </a:lnTo>
                    <a:lnTo>
                      <a:pt x="120" y="24"/>
                    </a:lnTo>
                    <a:lnTo>
                      <a:pt x="112" y="8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rgbClr val="4F81BD"/>
              </a:solidFill>
              <a:ln w="6350" cmpd="sng">
                <a:solidFill>
                  <a:srgbClr val="EEECE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spcBef>
                    <a:spcPts val="0"/>
                  </a:spcBef>
                  <a:defRPr/>
                </a:pPr>
                <a:endParaRPr kumimoji="0" lang="ja-JP" altLang="en-US" sz="1800" kern="0">
                  <a:solidFill>
                    <a:srgbClr val="1F497D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284" name="Freeform 265"/>
              <p:cNvSpPr>
                <a:spLocks noChangeAspect="1"/>
              </p:cNvSpPr>
              <p:nvPr/>
            </p:nvSpPr>
            <p:spPr bwMode="auto">
              <a:xfrm>
                <a:off x="2060" y="1888"/>
                <a:ext cx="96" cy="40"/>
              </a:xfrm>
              <a:custGeom>
                <a:avLst/>
                <a:gdLst>
                  <a:gd name="T0" fmla="*/ 88 w 96"/>
                  <a:gd name="T1" fmla="*/ 40 h 40"/>
                  <a:gd name="T2" fmla="*/ 96 w 96"/>
                  <a:gd name="T3" fmla="*/ 16 h 40"/>
                  <a:gd name="T4" fmla="*/ 80 w 96"/>
                  <a:gd name="T5" fmla="*/ 16 h 40"/>
                  <a:gd name="T6" fmla="*/ 80 w 96"/>
                  <a:gd name="T7" fmla="*/ 8 h 40"/>
                  <a:gd name="T8" fmla="*/ 64 w 96"/>
                  <a:gd name="T9" fmla="*/ 0 h 40"/>
                  <a:gd name="T10" fmla="*/ 32 w 96"/>
                  <a:gd name="T11" fmla="*/ 16 h 40"/>
                  <a:gd name="T12" fmla="*/ 40 w 96"/>
                  <a:gd name="T13" fmla="*/ 16 h 40"/>
                  <a:gd name="T14" fmla="*/ 32 w 96"/>
                  <a:gd name="T15" fmla="*/ 16 h 40"/>
                  <a:gd name="T16" fmla="*/ 0 w 96"/>
                  <a:gd name="T17" fmla="*/ 40 h 40"/>
                  <a:gd name="T18" fmla="*/ 16 w 96"/>
                  <a:gd name="T19" fmla="*/ 32 h 40"/>
                  <a:gd name="T20" fmla="*/ 16 w 96"/>
                  <a:gd name="T21" fmla="*/ 40 h 40"/>
                  <a:gd name="T22" fmla="*/ 56 w 96"/>
                  <a:gd name="T23" fmla="*/ 24 h 40"/>
                  <a:gd name="T24" fmla="*/ 40 w 96"/>
                  <a:gd name="T25" fmla="*/ 40 h 40"/>
                  <a:gd name="T26" fmla="*/ 56 w 96"/>
                  <a:gd name="T27" fmla="*/ 32 h 40"/>
                  <a:gd name="T28" fmla="*/ 56 w 96"/>
                  <a:gd name="T29" fmla="*/ 40 h 40"/>
                  <a:gd name="T30" fmla="*/ 88 w 96"/>
                  <a:gd name="T31" fmla="*/ 40 h 40"/>
                  <a:gd name="T32" fmla="*/ 80 w 96"/>
                  <a:gd name="T33" fmla="*/ 40 h 40"/>
                  <a:gd name="T34" fmla="*/ 88 w 96"/>
                  <a:gd name="T35" fmla="*/ 40 h 4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96" h="40">
                    <a:moveTo>
                      <a:pt x="88" y="40"/>
                    </a:moveTo>
                    <a:lnTo>
                      <a:pt x="96" y="16"/>
                    </a:lnTo>
                    <a:lnTo>
                      <a:pt x="80" y="16"/>
                    </a:lnTo>
                    <a:lnTo>
                      <a:pt x="80" y="8"/>
                    </a:lnTo>
                    <a:lnTo>
                      <a:pt x="64" y="0"/>
                    </a:lnTo>
                    <a:lnTo>
                      <a:pt x="32" y="16"/>
                    </a:lnTo>
                    <a:lnTo>
                      <a:pt x="40" y="16"/>
                    </a:lnTo>
                    <a:lnTo>
                      <a:pt x="32" y="16"/>
                    </a:lnTo>
                    <a:lnTo>
                      <a:pt x="0" y="40"/>
                    </a:lnTo>
                    <a:lnTo>
                      <a:pt x="16" y="32"/>
                    </a:lnTo>
                    <a:lnTo>
                      <a:pt x="16" y="40"/>
                    </a:lnTo>
                    <a:lnTo>
                      <a:pt x="56" y="24"/>
                    </a:lnTo>
                    <a:lnTo>
                      <a:pt x="40" y="40"/>
                    </a:lnTo>
                    <a:lnTo>
                      <a:pt x="56" y="32"/>
                    </a:lnTo>
                    <a:lnTo>
                      <a:pt x="56" y="40"/>
                    </a:lnTo>
                    <a:lnTo>
                      <a:pt x="88" y="40"/>
                    </a:lnTo>
                    <a:lnTo>
                      <a:pt x="80" y="40"/>
                    </a:lnTo>
                    <a:lnTo>
                      <a:pt x="88" y="40"/>
                    </a:lnTo>
                    <a:close/>
                  </a:path>
                </a:pathLst>
              </a:custGeom>
              <a:solidFill>
                <a:srgbClr val="4F81BD"/>
              </a:solidFill>
              <a:ln w="6350" cmpd="sng">
                <a:solidFill>
                  <a:srgbClr val="EEECE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spcBef>
                    <a:spcPts val="0"/>
                  </a:spcBef>
                  <a:defRPr/>
                </a:pPr>
                <a:endParaRPr kumimoji="0" lang="ja-JP" altLang="en-US" sz="1800" kern="0">
                  <a:solidFill>
                    <a:srgbClr val="1F497D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</p:grpSp>
        <p:sp>
          <p:nvSpPr>
            <p:cNvPr id="280" name="Freeform 266"/>
            <p:cNvSpPr>
              <a:spLocks noChangeAspect="1"/>
            </p:cNvSpPr>
            <p:nvPr/>
          </p:nvSpPr>
          <p:spPr bwMode="auto">
            <a:xfrm>
              <a:off x="2012" y="1832"/>
              <a:ext cx="16" cy="40"/>
            </a:xfrm>
            <a:custGeom>
              <a:avLst/>
              <a:gdLst>
                <a:gd name="T0" fmla="*/ 0 w 16"/>
                <a:gd name="T1" fmla="*/ 0 h 40"/>
                <a:gd name="T2" fmla="*/ 0 w 16"/>
                <a:gd name="T3" fmla="*/ 8 h 40"/>
                <a:gd name="T4" fmla="*/ 8 w 16"/>
                <a:gd name="T5" fmla="*/ 0 h 40"/>
                <a:gd name="T6" fmla="*/ 8 w 16"/>
                <a:gd name="T7" fmla="*/ 8 h 40"/>
                <a:gd name="T8" fmla="*/ 0 w 16"/>
                <a:gd name="T9" fmla="*/ 16 h 40"/>
                <a:gd name="T10" fmla="*/ 8 w 16"/>
                <a:gd name="T11" fmla="*/ 24 h 40"/>
                <a:gd name="T12" fmla="*/ 0 w 16"/>
                <a:gd name="T13" fmla="*/ 40 h 40"/>
                <a:gd name="T14" fmla="*/ 8 w 16"/>
                <a:gd name="T15" fmla="*/ 40 h 40"/>
                <a:gd name="T16" fmla="*/ 8 w 16"/>
                <a:gd name="T17" fmla="*/ 24 h 40"/>
                <a:gd name="T18" fmla="*/ 16 w 16"/>
                <a:gd name="T19" fmla="*/ 24 h 40"/>
                <a:gd name="T20" fmla="*/ 0 w 16"/>
                <a:gd name="T21" fmla="*/ 24 h 40"/>
                <a:gd name="T22" fmla="*/ 16 w 16"/>
                <a:gd name="T23" fmla="*/ 8 h 40"/>
                <a:gd name="T24" fmla="*/ 8 w 16"/>
                <a:gd name="T25" fmla="*/ 0 h 40"/>
                <a:gd name="T26" fmla="*/ 0 w 16"/>
                <a:gd name="T27" fmla="*/ 0 h 4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6" h="40">
                  <a:moveTo>
                    <a:pt x="0" y="0"/>
                  </a:moveTo>
                  <a:lnTo>
                    <a:pt x="0" y="8"/>
                  </a:lnTo>
                  <a:lnTo>
                    <a:pt x="8" y="0"/>
                  </a:lnTo>
                  <a:lnTo>
                    <a:pt x="8" y="8"/>
                  </a:lnTo>
                  <a:lnTo>
                    <a:pt x="0" y="16"/>
                  </a:lnTo>
                  <a:lnTo>
                    <a:pt x="8" y="24"/>
                  </a:lnTo>
                  <a:lnTo>
                    <a:pt x="0" y="40"/>
                  </a:lnTo>
                  <a:lnTo>
                    <a:pt x="8" y="40"/>
                  </a:lnTo>
                  <a:lnTo>
                    <a:pt x="8" y="24"/>
                  </a:lnTo>
                  <a:lnTo>
                    <a:pt x="16" y="24"/>
                  </a:lnTo>
                  <a:lnTo>
                    <a:pt x="0" y="24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81BD"/>
            </a:solidFill>
            <a:ln w="6350" cmpd="sng">
              <a:solidFill>
                <a:srgbClr val="EEECE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defRPr/>
              </a:pPr>
              <a:endParaRPr kumimoji="0" lang="ja-JP" altLang="en-US" sz="1800" kern="0">
                <a:solidFill>
                  <a:srgbClr val="1F497D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285" name="Freeform 267"/>
          <p:cNvSpPr>
            <a:spLocks noChangeAspect="1"/>
          </p:cNvSpPr>
          <p:nvPr/>
        </p:nvSpPr>
        <p:spPr bwMode="auto">
          <a:xfrm>
            <a:off x="7184454" y="1497766"/>
            <a:ext cx="1905000" cy="936625"/>
          </a:xfrm>
          <a:custGeom>
            <a:avLst/>
            <a:gdLst>
              <a:gd name="T0" fmla="*/ 2147483647 w 856"/>
              <a:gd name="T1" fmla="*/ 2147483647 h 448"/>
              <a:gd name="T2" fmla="*/ 2147483647 w 856"/>
              <a:gd name="T3" fmla="*/ 2147483647 h 448"/>
              <a:gd name="T4" fmla="*/ 2147483647 w 856"/>
              <a:gd name="T5" fmla="*/ 2147483647 h 448"/>
              <a:gd name="T6" fmla="*/ 2147483647 w 856"/>
              <a:gd name="T7" fmla="*/ 2147483647 h 448"/>
              <a:gd name="T8" fmla="*/ 2147483647 w 856"/>
              <a:gd name="T9" fmla="*/ 2147483647 h 448"/>
              <a:gd name="T10" fmla="*/ 2147483647 w 856"/>
              <a:gd name="T11" fmla="*/ 2147483647 h 448"/>
              <a:gd name="T12" fmla="*/ 2147483647 w 856"/>
              <a:gd name="T13" fmla="*/ 2147483647 h 448"/>
              <a:gd name="T14" fmla="*/ 2147483647 w 856"/>
              <a:gd name="T15" fmla="*/ 2147483647 h 448"/>
              <a:gd name="T16" fmla="*/ 2147483647 w 856"/>
              <a:gd name="T17" fmla="*/ 2147483647 h 448"/>
              <a:gd name="T18" fmla="*/ 2147483647 w 856"/>
              <a:gd name="T19" fmla="*/ 2147483647 h 448"/>
              <a:gd name="T20" fmla="*/ 2147483647 w 856"/>
              <a:gd name="T21" fmla="*/ 2147483647 h 448"/>
              <a:gd name="T22" fmla="*/ 2147483647 w 856"/>
              <a:gd name="T23" fmla="*/ 2147483647 h 448"/>
              <a:gd name="T24" fmla="*/ 2147483647 w 856"/>
              <a:gd name="T25" fmla="*/ 2147483647 h 448"/>
              <a:gd name="T26" fmla="*/ 2147483647 w 856"/>
              <a:gd name="T27" fmla="*/ 2147483647 h 448"/>
              <a:gd name="T28" fmla="*/ 2147483647 w 856"/>
              <a:gd name="T29" fmla="*/ 2147483647 h 448"/>
              <a:gd name="T30" fmla="*/ 2147483647 w 856"/>
              <a:gd name="T31" fmla="*/ 2147483647 h 448"/>
              <a:gd name="T32" fmla="*/ 2147483647 w 856"/>
              <a:gd name="T33" fmla="*/ 2147483647 h 448"/>
              <a:gd name="T34" fmla="*/ 2147483647 w 856"/>
              <a:gd name="T35" fmla="*/ 2147483647 h 448"/>
              <a:gd name="T36" fmla="*/ 2147483647 w 856"/>
              <a:gd name="T37" fmla="*/ 2147483647 h 448"/>
              <a:gd name="T38" fmla="*/ 2147483647 w 856"/>
              <a:gd name="T39" fmla="*/ 2147483647 h 448"/>
              <a:gd name="T40" fmla="*/ 2147483647 w 856"/>
              <a:gd name="T41" fmla="*/ 2147483647 h 448"/>
              <a:gd name="T42" fmla="*/ 2147483647 w 856"/>
              <a:gd name="T43" fmla="*/ 2147483647 h 448"/>
              <a:gd name="T44" fmla="*/ 2147483647 w 856"/>
              <a:gd name="T45" fmla="*/ 2147483647 h 448"/>
              <a:gd name="T46" fmla="*/ 2147483647 w 856"/>
              <a:gd name="T47" fmla="*/ 2147483647 h 448"/>
              <a:gd name="T48" fmla="*/ 2147483647 w 856"/>
              <a:gd name="T49" fmla="*/ 2147483647 h 448"/>
              <a:gd name="T50" fmla="*/ 2147483647 w 856"/>
              <a:gd name="T51" fmla="*/ 2147483647 h 448"/>
              <a:gd name="T52" fmla="*/ 2147483647 w 856"/>
              <a:gd name="T53" fmla="*/ 2147483647 h 448"/>
              <a:gd name="T54" fmla="*/ 2147483647 w 856"/>
              <a:gd name="T55" fmla="*/ 2147483647 h 448"/>
              <a:gd name="T56" fmla="*/ 2147483647 w 856"/>
              <a:gd name="T57" fmla="*/ 2147483647 h 448"/>
              <a:gd name="T58" fmla="*/ 2147483647 w 856"/>
              <a:gd name="T59" fmla="*/ 2147483647 h 448"/>
              <a:gd name="T60" fmla="*/ 2147483647 w 856"/>
              <a:gd name="T61" fmla="*/ 2147483647 h 448"/>
              <a:gd name="T62" fmla="*/ 2147483647 w 856"/>
              <a:gd name="T63" fmla="*/ 2147483647 h 448"/>
              <a:gd name="T64" fmla="*/ 2147483647 w 856"/>
              <a:gd name="T65" fmla="*/ 2147483647 h 448"/>
              <a:gd name="T66" fmla="*/ 2147483647 w 856"/>
              <a:gd name="T67" fmla="*/ 0 h 448"/>
              <a:gd name="T68" fmla="*/ 2147483647 w 856"/>
              <a:gd name="T69" fmla="*/ 2147483647 h 448"/>
              <a:gd name="T70" fmla="*/ 2147483647 w 856"/>
              <a:gd name="T71" fmla="*/ 2147483647 h 448"/>
              <a:gd name="T72" fmla="*/ 2147483647 w 856"/>
              <a:gd name="T73" fmla="*/ 2147483647 h 448"/>
              <a:gd name="T74" fmla="*/ 2147483647 w 856"/>
              <a:gd name="T75" fmla="*/ 2147483647 h 448"/>
              <a:gd name="T76" fmla="*/ 2147483647 w 856"/>
              <a:gd name="T77" fmla="*/ 2147483647 h 448"/>
              <a:gd name="T78" fmla="*/ 2147483647 w 856"/>
              <a:gd name="T79" fmla="*/ 2147483647 h 448"/>
              <a:gd name="T80" fmla="*/ 2147483647 w 856"/>
              <a:gd name="T81" fmla="*/ 2147483647 h 448"/>
              <a:gd name="T82" fmla="*/ 2147483647 w 856"/>
              <a:gd name="T83" fmla="*/ 2147483647 h 448"/>
              <a:gd name="T84" fmla="*/ 2147483647 w 856"/>
              <a:gd name="T85" fmla="*/ 2147483647 h 448"/>
              <a:gd name="T86" fmla="*/ 2147483647 w 856"/>
              <a:gd name="T87" fmla="*/ 2147483647 h 448"/>
              <a:gd name="T88" fmla="*/ 2147483647 w 856"/>
              <a:gd name="T89" fmla="*/ 2147483647 h 448"/>
              <a:gd name="T90" fmla="*/ 2147483647 w 856"/>
              <a:gd name="T91" fmla="*/ 2147483647 h 448"/>
              <a:gd name="T92" fmla="*/ 2147483647 w 856"/>
              <a:gd name="T93" fmla="*/ 2147483647 h 448"/>
              <a:gd name="T94" fmla="*/ 2147483647 w 856"/>
              <a:gd name="T95" fmla="*/ 2147483647 h 448"/>
              <a:gd name="T96" fmla="*/ 2147483647 w 856"/>
              <a:gd name="T97" fmla="*/ 2147483647 h 448"/>
              <a:gd name="T98" fmla="*/ 2147483647 w 856"/>
              <a:gd name="T99" fmla="*/ 2147483647 h 448"/>
              <a:gd name="T100" fmla="*/ 2147483647 w 856"/>
              <a:gd name="T101" fmla="*/ 2147483647 h 448"/>
              <a:gd name="T102" fmla="*/ 2147483647 w 856"/>
              <a:gd name="T103" fmla="*/ 2147483647 h 448"/>
              <a:gd name="T104" fmla="*/ 2147483647 w 856"/>
              <a:gd name="T105" fmla="*/ 2147483647 h 448"/>
              <a:gd name="T106" fmla="*/ 2147483647 w 856"/>
              <a:gd name="T107" fmla="*/ 2147483647 h 448"/>
              <a:gd name="T108" fmla="*/ 2147483647 w 856"/>
              <a:gd name="T109" fmla="*/ 2147483647 h 448"/>
              <a:gd name="T110" fmla="*/ 2147483647 w 856"/>
              <a:gd name="T111" fmla="*/ 2147483647 h 448"/>
              <a:gd name="T112" fmla="*/ 2147483647 w 856"/>
              <a:gd name="T113" fmla="*/ 2147483647 h 448"/>
              <a:gd name="T114" fmla="*/ 2147483647 w 856"/>
              <a:gd name="T115" fmla="*/ 2147483647 h 448"/>
              <a:gd name="T116" fmla="*/ 2147483647 w 856"/>
              <a:gd name="T117" fmla="*/ 2147483647 h 448"/>
              <a:gd name="T118" fmla="*/ 2147483647 w 856"/>
              <a:gd name="T119" fmla="*/ 2147483647 h 448"/>
              <a:gd name="T120" fmla="*/ 2147483647 w 856"/>
              <a:gd name="T121" fmla="*/ 2147483647 h 448"/>
              <a:gd name="T122" fmla="*/ 2147483647 w 856"/>
              <a:gd name="T123" fmla="*/ 2147483647 h 448"/>
              <a:gd name="T124" fmla="*/ 2147483647 w 856"/>
              <a:gd name="T125" fmla="*/ 2147483647 h 44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856" h="448">
                <a:moveTo>
                  <a:pt x="680" y="392"/>
                </a:moveTo>
                <a:lnTo>
                  <a:pt x="712" y="392"/>
                </a:lnTo>
                <a:lnTo>
                  <a:pt x="704" y="392"/>
                </a:lnTo>
                <a:lnTo>
                  <a:pt x="712" y="392"/>
                </a:lnTo>
                <a:lnTo>
                  <a:pt x="688" y="408"/>
                </a:lnTo>
                <a:lnTo>
                  <a:pt x="688" y="424"/>
                </a:lnTo>
                <a:lnTo>
                  <a:pt x="712" y="408"/>
                </a:lnTo>
                <a:lnTo>
                  <a:pt x="752" y="392"/>
                </a:lnTo>
                <a:lnTo>
                  <a:pt x="768" y="384"/>
                </a:lnTo>
                <a:lnTo>
                  <a:pt x="768" y="376"/>
                </a:lnTo>
                <a:lnTo>
                  <a:pt x="768" y="368"/>
                </a:lnTo>
                <a:lnTo>
                  <a:pt x="752" y="384"/>
                </a:lnTo>
                <a:lnTo>
                  <a:pt x="728" y="384"/>
                </a:lnTo>
                <a:lnTo>
                  <a:pt x="712" y="376"/>
                </a:lnTo>
                <a:lnTo>
                  <a:pt x="720" y="360"/>
                </a:lnTo>
                <a:lnTo>
                  <a:pt x="712" y="360"/>
                </a:lnTo>
                <a:lnTo>
                  <a:pt x="704" y="352"/>
                </a:lnTo>
                <a:lnTo>
                  <a:pt x="736" y="344"/>
                </a:lnTo>
                <a:lnTo>
                  <a:pt x="728" y="336"/>
                </a:lnTo>
                <a:lnTo>
                  <a:pt x="680" y="344"/>
                </a:lnTo>
                <a:lnTo>
                  <a:pt x="640" y="368"/>
                </a:lnTo>
                <a:lnTo>
                  <a:pt x="672" y="344"/>
                </a:lnTo>
                <a:lnTo>
                  <a:pt x="696" y="336"/>
                </a:lnTo>
                <a:lnTo>
                  <a:pt x="704" y="336"/>
                </a:lnTo>
                <a:lnTo>
                  <a:pt x="712" y="320"/>
                </a:lnTo>
                <a:lnTo>
                  <a:pt x="744" y="320"/>
                </a:lnTo>
                <a:lnTo>
                  <a:pt x="792" y="320"/>
                </a:lnTo>
                <a:lnTo>
                  <a:pt x="816" y="304"/>
                </a:lnTo>
                <a:lnTo>
                  <a:pt x="856" y="296"/>
                </a:lnTo>
                <a:lnTo>
                  <a:pt x="856" y="280"/>
                </a:lnTo>
                <a:lnTo>
                  <a:pt x="856" y="272"/>
                </a:lnTo>
                <a:lnTo>
                  <a:pt x="848" y="272"/>
                </a:lnTo>
                <a:lnTo>
                  <a:pt x="848" y="264"/>
                </a:lnTo>
                <a:lnTo>
                  <a:pt x="832" y="264"/>
                </a:lnTo>
                <a:lnTo>
                  <a:pt x="848" y="256"/>
                </a:lnTo>
                <a:lnTo>
                  <a:pt x="832" y="256"/>
                </a:lnTo>
                <a:lnTo>
                  <a:pt x="832" y="248"/>
                </a:lnTo>
                <a:lnTo>
                  <a:pt x="816" y="248"/>
                </a:lnTo>
                <a:lnTo>
                  <a:pt x="824" y="240"/>
                </a:lnTo>
                <a:lnTo>
                  <a:pt x="808" y="232"/>
                </a:lnTo>
                <a:lnTo>
                  <a:pt x="824" y="224"/>
                </a:lnTo>
                <a:lnTo>
                  <a:pt x="808" y="176"/>
                </a:lnTo>
                <a:lnTo>
                  <a:pt x="792" y="184"/>
                </a:lnTo>
                <a:lnTo>
                  <a:pt x="792" y="192"/>
                </a:lnTo>
                <a:lnTo>
                  <a:pt x="760" y="208"/>
                </a:lnTo>
                <a:lnTo>
                  <a:pt x="752" y="192"/>
                </a:lnTo>
                <a:lnTo>
                  <a:pt x="760" y="168"/>
                </a:lnTo>
                <a:lnTo>
                  <a:pt x="744" y="168"/>
                </a:lnTo>
                <a:lnTo>
                  <a:pt x="744" y="160"/>
                </a:lnTo>
                <a:lnTo>
                  <a:pt x="728" y="152"/>
                </a:lnTo>
                <a:lnTo>
                  <a:pt x="696" y="144"/>
                </a:lnTo>
                <a:lnTo>
                  <a:pt x="680" y="152"/>
                </a:lnTo>
                <a:lnTo>
                  <a:pt x="680" y="160"/>
                </a:lnTo>
                <a:lnTo>
                  <a:pt x="672" y="168"/>
                </a:lnTo>
                <a:lnTo>
                  <a:pt x="672" y="176"/>
                </a:lnTo>
                <a:lnTo>
                  <a:pt x="664" y="184"/>
                </a:lnTo>
                <a:lnTo>
                  <a:pt x="648" y="200"/>
                </a:lnTo>
                <a:lnTo>
                  <a:pt x="656" y="208"/>
                </a:lnTo>
                <a:lnTo>
                  <a:pt x="640" y="240"/>
                </a:lnTo>
                <a:lnTo>
                  <a:pt x="600" y="256"/>
                </a:lnTo>
                <a:lnTo>
                  <a:pt x="592" y="296"/>
                </a:lnTo>
                <a:lnTo>
                  <a:pt x="568" y="304"/>
                </a:lnTo>
                <a:lnTo>
                  <a:pt x="568" y="312"/>
                </a:lnTo>
                <a:lnTo>
                  <a:pt x="552" y="280"/>
                </a:lnTo>
                <a:lnTo>
                  <a:pt x="576" y="256"/>
                </a:lnTo>
                <a:lnTo>
                  <a:pt x="544" y="248"/>
                </a:lnTo>
                <a:lnTo>
                  <a:pt x="496" y="224"/>
                </a:lnTo>
                <a:lnTo>
                  <a:pt x="480" y="224"/>
                </a:lnTo>
                <a:lnTo>
                  <a:pt x="488" y="200"/>
                </a:lnTo>
                <a:lnTo>
                  <a:pt x="472" y="200"/>
                </a:lnTo>
                <a:lnTo>
                  <a:pt x="472" y="192"/>
                </a:lnTo>
                <a:lnTo>
                  <a:pt x="504" y="168"/>
                </a:lnTo>
                <a:lnTo>
                  <a:pt x="528" y="152"/>
                </a:lnTo>
                <a:lnTo>
                  <a:pt x="536" y="144"/>
                </a:lnTo>
                <a:lnTo>
                  <a:pt x="560" y="144"/>
                </a:lnTo>
                <a:lnTo>
                  <a:pt x="576" y="128"/>
                </a:lnTo>
                <a:lnTo>
                  <a:pt x="592" y="128"/>
                </a:lnTo>
                <a:lnTo>
                  <a:pt x="616" y="112"/>
                </a:lnTo>
                <a:lnTo>
                  <a:pt x="640" y="96"/>
                </a:lnTo>
                <a:lnTo>
                  <a:pt x="648" y="96"/>
                </a:lnTo>
                <a:lnTo>
                  <a:pt x="664" y="96"/>
                </a:lnTo>
                <a:lnTo>
                  <a:pt x="696" y="88"/>
                </a:lnTo>
                <a:lnTo>
                  <a:pt x="704" y="80"/>
                </a:lnTo>
                <a:lnTo>
                  <a:pt x="696" y="80"/>
                </a:lnTo>
                <a:lnTo>
                  <a:pt x="720" y="56"/>
                </a:lnTo>
                <a:lnTo>
                  <a:pt x="704" y="56"/>
                </a:lnTo>
                <a:lnTo>
                  <a:pt x="712" y="56"/>
                </a:lnTo>
                <a:lnTo>
                  <a:pt x="688" y="48"/>
                </a:lnTo>
                <a:lnTo>
                  <a:pt x="672" y="72"/>
                </a:lnTo>
                <a:lnTo>
                  <a:pt x="640" y="88"/>
                </a:lnTo>
                <a:lnTo>
                  <a:pt x="640" y="80"/>
                </a:lnTo>
                <a:lnTo>
                  <a:pt x="648" y="64"/>
                </a:lnTo>
                <a:lnTo>
                  <a:pt x="648" y="56"/>
                </a:lnTo>
                <a:lnTo>
                  <a:pt x="632" y="64"/>
                </a:lnTo>
                <a:lnTo>
                  <a:pt x="624" y="56"/>
                </a:lnTo>
                <a:lnTo>
                  <a:pt x="616" y="48"/>
                </a:lnTo>
                <a:lnTo>
                  <a:pt x="632" y="48"/>
                </a:lnTo>
                <a:lnTo>
                  <a:pt x="624" y="24"/>
                </a:lnTo>
                <a:lnTo>
                  <a:pt x="640" y="24"/>
                </a:lnTo>
                <a:lnTo>
                  <a:pt x="640" y="16"/>
                </a:lnTo>
                <a:lnTo>
                  <a:pt x="656" y="16"/>
                </a:lnTo>
                <a:lnTo>
                  <a:pt x="688" y="0"/>
                </a:lnTo>
                <a:lnTo>
                  <a:pt x="664" y="0"/>
                </a:lnTo>
                <a:lnTo>
                  <a:pt x="640" y="8"/>
                </a:lnTo>
                <a:lnTo>
                  <a:pt x="616" y="24"/>
                </a:lnTo>
                <a:lnTo>
                  <a:pt x="584" y="40"/>
                </a:lnTo>
                <a:lnTo>
                  <a:pt x="584" y="48"/>
                </a:lnTo>
                <a:lnTo>
                  <a:pt x="600" y="56"/>
                </a:lnTo>
                <a:lnTo>
                  <a:pt x="584" y="64"/>
                </a:lnTo>
                <a:lnTo>
                  <a:pt x="560" y="80"/>
                </a:lnTo>
                <a:lnTo>
                  <a:pt x="552" y="80"/>
                </a:lnTo>
                <a:lnTo>
                  <a:pt x="560" y="72"/>
                </a:lnTo>
                <a:lnTo>
                  <a:pt x="576" y="64"/>
                </a:lnTo>
                <a:lnTo>
                  <a:pt x="576" y="56"/>
                </a:lnTo>
                <a:lnTo>
                  <a:pt x="568" y="48"/>
                </a:lnTo>
                <a:lnTo>
                  <a:pt x="536" y="64"/>
                </a:lnTo>
                <a:lnTo>
                  <a:pt x="552" y="64"/>
                </a:lnTo>
                <a:lnTo>
                  <a:pt x="528" y="80"/>
                </a:lnTo>
                <a:lnTo>
                  <a:pt x="504" y="80"/>
                </a:lnTo>
                <a:lnTo>
                  <a:pt x="480" y="72"/>
                </a:lnTo>
                <a:lnTo>
                  <a:pt x="480" y="64"/>
                </a:lnTo>
                <a:lnTo>
                  <a:pt x="440" y="72"/>
                </a:lnTo>
                <a:lnTo>
                  <a:pt x="448" y="72"/>
                </a:lnTo>
                <a:lnTo>
                  <a:pt x="440" y="80"/>
                </a:lnTo>
                <a:lnTo>
                  <a:pt x="424" y="72"/>
                </a:lnTo>
                <a:lnTo>
                  <a:pt x="392" y="80"/>
                </a:lnTo>
                <a:lnTo>
                  <a:pt x="368" y="80"/>
                </a:lnTo>
                <a:lnTo>
                  <a:pt x="392" y="72"/>
                </a:lnTo>
                <a:lnTo>
                  <a:pt x="392" y="64"/>
                </a:lnTo>
                <a:lnTo>
                  <a:pt x="352" y="56"/>
                </a:lnTo>
                <a:lnTo>
                  <a:pt x="344" y="48"/>
                </a:lnTo>
                <a:lnTo>
                  <a:pt x="328" y="48"/>
                </a:lnTo>
                <a:lnTo>
                  <a:pt x="312" y="56"/>
                </a:lnTo>
                <a:lnTo>
                  <a:pt x="304" y="56"/>
                </a:lnTo>
                <a:lnTo>
                  <a:pt x="312" y="48"/>
                </a:lnTo>
                <a:lnTo>
                  <a:pt x="296" y="56"/>
                </a:lnTo>
                <a:lnTo>
                  <a:pt x="288" y="56"/>
                </a:lnTo>
                <a:lnTo>
                  <a:pt x="296" y="48"/>
                </a:lnTo>
                <a:lnTo>
                  <a:pt x="288" y="40"/>
                </a:lnTo>
                <a:lnTo>
                  <a:pt x="264" y="48"/>
                </a:lnTo>
                <a:lnTo>
                  <a:pt x="216" y="56"/>
                </a:lnTo>
                <a:lnTo>
                  <a:pt x="200" y="56"/>
                </a:lnTo>
                <a:lnTo>
                  <a:pt x="184" y="64"/>
                </a:lnTo>
                <a:lnTo>
                  <a:pt x="152" y="56"/>
                </a:lnTo>
                <a:lnTo>
                  <a:pt x="0" y="176"/>
                </a:lnTo>
                <a:lnTo>
                  <a:pt x="16" y="176"/>
                </a:lnTo>
                <a:lnTo>
                  <a:pt x="8" y="184"/>
                </a:lnTo>
                <a:lnTo>
                  <a:pt x="16" y="192"/>
                </a:lnTo>
                <a:lnTo>
                  <a:pt x="48" y="184"/>
                </a:lnTo>
                <a:lnTo>
                  <a:pt x="48" y="200"/>
                </a:lnTo>
                <a:lnTo>
                  <a:pt x="40" y="232"/>
                </a:lnTo>
                <a:lnTo>
                  <a:pt x="48" y="240"/>
                </a:lnTo>
                <a:lnTo>
                  <a:pt x="40" y="256"/>
                </a:lnTo>
                <a:lnTo>
                  <a:pt x="16" y="264"/>
                </a:lnTo>
                <a:lnTo>
                  <a:pt x="16" y="288"/>
                </a:lnTo>
                <a:lnTo>
                  <a:pt x="24" y="288"/>
                </a:lnTo>
                <a:lnTo>
                  <a:pt x="16" y="304"/>
                </a:lnTo>
                <a:lnTo>
                  <a:pt x="32" y="320"/>
                </a:lnTo>
                <a:lnTo>
                  <a:pt x="48" y="336"/>
                </a:lnTo>
                <a:lnTo>
                  <a:pt x="368" y="336"/>
                </a:lnTo>
                <a:lnTo>
                  <a:pt x="376" y="336"/>
                </a:lnTo>
                <a:lnTo>
                  <a:pt x="384" y="344"/>
                </a:lnTo>
                <a:lnTo>
                  <a:pt x="432" y="352"/>
                </a:lnTo>
                <a:lnTo>
                  <a:pt x="424" y="352"/>
                </a:lnTo>
                <a:lnTo>
                  <a:pt x="456" y="336"/>
                </a:lnTo>
                <a:lnTo>
                  <a:pt x="472" y="344"/>
                </a:lnTo>
                <a:lnTo>
                  <a:pt x="472" y="352"/>
                </a:lnTo>
                <a:lnTo>
                  <a:pt x="488" y="352"/>
                </a:lnTo>
                <a:lnTo>
                  <a:pt x="480" y="376"/>
                </a:lnTo>
                <a:lnTo>
                  <a:pt x="520" y="384"/>
                </a:lnTo>
                <a:lnTo>
                  <a:pt x="528" y="400"/>
                </a:lnTo>
                <a:lnTo>
                  <a:pt x="520" y="408"/>
                </a:lnTo>
                <a:lnTo>
                  <a:pt x="504" y="392"/>
                </a:lnTo>
                <a:lnTo>
                  <a:pt x="488" y="424"/>
                </a:lnTo>
                <a:lnTo>
                  <a:pt x="480" y="424"/>
                </a:lnTo>
                <a:lnTo>
                  <a:pt x="464" y="448"/>
                </a:lnTo>
                <a:lnTo>
                  <a:pt x="488" y="432"/>
                </a:lnTo>
                <a:lnTo>
                  <a:pt x="528" y="432"/>
                </a:lnTo>
                <a:lnTo>
                  <a:pt x="520" y="424"/>
                </a:lnTo>
                <a:lnTo>
                  <a:pt x="512" y="424"/>
                </a:lnTo>
                <a:lnTo>
                  <a:pt x="520" y="416"/>
                </a:lnTo>
                <a:lnTo>
                  <a:pt x="552" y="416"/>
                </a:lnTo>
                <a:lnTo>
                  <a:pt x="568" y="408"/>
                </a:lnTo>
                <a:lnTo>
                  <a:pt x="584" y="400"/>
                </a:lnTo>
                <a:lnTo>
                  <a:pt x="624" y="400"/>
                </a:lnTo>
                <a:lnTo>
                  <a:pt x="640" y="392"/>
                </a:lnTo>
                <a:lnTo>
                  <a:pt x="664" y="360"/>
                </a:lnTo>
                <a:lnTo>
                  <a:pt x="680" y="368"/>
                </a:lnTo>
                <a:lnTo>
                  <a:pt x="672" y="392"/>
                </a:lnTo>
                <a:lnTo>
                  <a:pt x="680" y="39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6" name="Freeform 268"/>
          <p:cNvSpPr>
            <a:spLocks noChangeAspect="1"/>
          </p:cNvSpPr>
          <p:nvPr/>
        </p:nvSpPr>
        <p:spPr bwMode="auto">
          <a:xfrm>
            <a:off x="6384354" y="1562854"/>
            <a:ext cx="1138238" cy="485775"/>
          </a:xfrm>
          <a:custGeom>
            <a:avLst/>
            <a:gdLst>
              <a:gd name="T0" fmla="*/ 2147483647 w 512"/>
              <a:gd name="T1" fmla="*/ 2147483647 h 232"/>
              <a:gd name="T2" fmla="*/ 2147483647 w 512"/>
              <a:gd name="T3" fmla="*/ 2147483647 h 232"/>
              <a:gd name="T4" fmla="*/ 2147483647 w 512"/>
              <a:gd name="T5" fmla="*/ 2147483647 h 232"/>
              <a:gd name="T6" fmla="*/ 2147483647 w 512"/>
              <a:gd name="T7" fmla="*/ 2147483647 h 232"/>
              <a:gd name="T8" fmla="*/ 2147483647 w 512"/>
              <a:gd name="T9" fmla="*/ 2147483647 h 232"/>
              <a:gd name="T10" fmla="*/ 2147483647 w 512"/>
              <a:gd name="T11" fmla="*/ 2147483647 h 232"/>
              <a:gd name="T12" fmla="*/ 2147483647 w 512"/>
              <a:gd name="T13" fmla="*/ 2147483647 h 232"/>
              <a:gd name="T14" fmla="*/ 2147483647 w 512"/>
              <a:gd name="T15" fmla="*/ 2147483647 h 232"/>
              <a:gd name="T16" fmla="*/ 2147483647 w 512"/>
              <a:gd name="T17" fmla="*/ 2147483647 h 232"/>
              <a:gd name="T18" fmla="*/ 2147483647 w 512"/>
              <a:gd name="T19" fmla="*/ 2147483647 h 232"/>
              <a:gd name="T20" fmla="*/ 2147483647 w 512"/>
              <a:gd name="T21" fmla="*/ 2147483647 h 232"/>
              <a:gd name="T22" fmla="*/ 2147483647 w 512"/>
              <a:gd name="T23" fmla="*/ 2147483647 h 232"/>
              <a:gd name="T24" fmla="*/ 2147483647 w 512"/>
              <a:gd name="T25" fmla="*/ 2147483647 h 232"/>
              <a:gd name="T26" fmla="*/ 2147483647 w 512"/>
              <a:gd name="T27" fmla="*/ 2147483647 h 232"/>
              <a:gd name="T28" fmla="*/ 2147483647 w 512"/>
              <a:gd name="T29" fmla="*/ 2147483647 h 232"/>
              <a:gd name="T30" fmla="*/ 2147483647 w 512"/>
              <a:gd name="T31" fmla="*/ 2147483647 h 232"/>
              <a:gd name="T32" fmla="*/ 2147483647 w 512"/>
              <a:gd name="T33" fmla="*/ 2147483647 h 232"/>
              <a:gd name="T34" fmla="*/ 2147483647 w 512"/>
              <a:gd name="T35" fmla="*/ 2147483647 h 232"/>
              <a:gd name="T36" fmla="*/ 2147483647 w 512"/>
              <a:gd name="T37" fmla="*/ 2147483647 h 232"/>
              <a:gd name="T38" fmla="*/ 2147483647 w 512"/>
              <a:gd name="T39" fmla="*/ 2147483647 h 232"/>
              <a:gd name="T40" fmla="*/ 2147483647 w 512"/>
              <a:gd name="T41" fmla="*/ 2147483647 h 232"/>
              <a:gd name="T42" fmla="*/ 2147483647 w 512"/>
              <a:gd name="T43" fmla="*/ 2147483647 h 232"/>
              <a:gd name="T44" fmla="*/ 0 w 512"/>
              <a:gd name="T45" fmla="*/ 2147483647 h 232"/>
              <a:gd name="T46" fmla="*/ 2147483647 w 512"/>
              <a:gd name="T47" fmla="*/ 2147483647 h 232"/>
              <a:gd name="T48" fmla="*/ 2147483647 w 512"/>
              <a:gd name="T49" fmla="*/ 2147483647 h 232"/>
              <a:gd name="T50" fmla="*/ 2147483647 w 512"/>
              <a:gd name="T51" fmla="*/ 2147483647 h 232"/>
              <a:gd name="T52" fmla="*/ 2147483647 w 512"/>
              <a:gd name="T53" fmla="*/ 2147483647 h 232"/>
              <a:gd name="T54" fmla="*/ 2147483647 w 512"/>
              <a:gd name="T55" fmla="*/ 2147483647 h 232"/>
              <a:gd name="T56" fmla="*/ 2147483647 w 512"/>
              <a:gd name="T57" fmla="*/ 2147483647 h 232"/>
              <a:gd name="T58" fmla="*/ 2147483647 w 512"/>
              <a:gd name="T59" fmla="*/ 2147483647 h 232"/>
              <a:gd name="T60" fmla="*/ 2147483647 w 512"/>
              <a:gd name="T61" fmla="*/ 2147483647 h 232"/>
              <a:gd name="T62" fmla="*/ 2147483647 w 512"/>
              <a:gd name="T63" fmla="*/ 2147483647 h 232"/>
              <a:gd name="T64" fmla="*/ 2147483647 w 512"/>
              <a:gd name="T65" fmla="*/ 2147483647 h 232"/>
              <a:gd name="T66" fmla="*/ 2147483647 w 512"/>
              <a:gd name="T67" fmla="*/ 2147483647 h 232"/>
              <a:gd name="T68" fmla="*/ 2147483647 w 512"/>
              <a:gd name="T69" fmla="*/ 2147483647 h 232"/>
              <a:gd name="T70" fmla="*/ 2147483647 w 512"/>
              <a:gd name="T71" fmla="*/ 0 h 232"/>
              <a:gd name="T72" fmla="*/ 2147483647 w 512"/>
              <a:gd name="T73" fmla="*/ 2147483647 h 232"/>
              <a:gd name="T74" fmla="*/ 2147483647 w 512"/>
              <a:gd name="T75" fmla="*/ 2147483647 h 232"/>
              <a:gd name="T76" fmla="*/ 2147483647 w 512"/>
              <a:gd name="T77" fmla="*/ 2147483647 h 23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12" h="232">
                <a:moveTo>
                  <a:pt x="360" y="144"/>
                </a:moveTo>
                <a:lnTo>
                  <a:pt x="376" y="144"/>
                </a:lnTo>
                <a:lnTo>
                  <a:pt x="368" y="152"/>
                </a:lnTo>
                <a:lnTo>
                  <a:pt x="376" y="160"/>
                </a:lnTo>
                <a:lnTo>
                  <a:pt x="408" y="152"/>
                </a:lnTo>
                <a:lnTo>
                  <a:pt x="408" y="168"/>
                </a:lnTo>
                <a:lnTo>
                  <a:pt x="400" y="200"/>
                </a:lnTo>
                <a:lnTo>
                  <a:pt x="408" y="208"/>
                </a:lnTo>
                <a:lnTo>
                  <a:pt x="400" y="224"/>
                </a:lnTo>
                <a:lnTo>
                  <a:pt x="392" y="224"/>
                </a:lnTo>
                <a:lnTo>
                  <a:pt x="384" y="224"/>
                </a:lnTo>
                <a:lnTo>
                  <a:pt x="384" y="208"/>
                </a:lnTo>
                <a:lnTo>
                  <a:pt x="392" y="208"/>
                </a:lnTo>
                <a:lnTo>
                  <a:pt x="384" y="200"/>
                </a:lnTo>
                <a:lnTo>
                  <a:pt x="384" y="216"/>
                </a:lnTo>
                <a:lnTo>
                  <a:pt x="376" y="224"/>
                </a:lnTo>
                <a:lnTo>
                  <a:pt x="368" y="216"/>
                </a:lnTo>
                <a:lnTo>
                  <a:pt x="376" y="200"/>
                </a:lnTo>
                <a:lnTo>
                  <a:pt x="368" y="200"/>
                </a:lnTo>
                <a:lnTo>
                  <a:pt x="376" y="192"/>
                </a:lnTo>
                <a:lnTo>
                  <a:pt x="384" y="192"/>
                </a:lnTo>
                <a:lnTo>
                  <a:pt x="392" y="192"/>
                </a:lnTo>
                <a:lnTo>
                  <a:pt x="392" y="184"/>
                </a:lnTo>
                <a:lnTo>
                  <a:pt x="376" y="192"/>
                </a:lnTo>
                <a:lnTo>
                  <a:pt x="392" y="168"/>
                </a:lnTo>
                <a:lnTo>
                  <a:pt x="384" y="176"/>
                </a:lnTo>
                <a:lnTo>
                  <a:pt x="360" y="200"/>
                </a:lnTo>
                <a:lnTo>
                  <a:pt x="376" y="176"/>
                </a:lnTo>
                <a:lnTo>
                  <a:pt x="360" y="160"/>
                </a:lnTo>
                <a:lnTo>
                  <a:pt x="368" y="152"/>
                </a:lnTo>
                <a:lnTo>
                  <a:pt x="352" y="152"/>
                </a:lnTo>
                <a:lnTo>
                  <a:pt x="320" y="152"/>
                </a:lnTo>
                <a:lnTo>
                  <a:pt x="304" y="136"/>
                </a:lnTo>
                <a:lnTo>
                  <a:pt x="288" y="136"/>
                </a:lnTo>
                <a:lnTo>
                  <a:pt x="264" y="152"/>
                </a:lnTo>
                <a:lnTo>
                  <a:pt x="224" y="160"/>
                </a:lnTo>
                <a:lnTo>
                  <a:pt x="256" y="136"/>
                </a:lnTo>
                <a:lnTo>
                  <a:pt x="280" y="136"/>
                </a:lnTo>
                <a:lnTo>
                  <a:pt x="272" y="136"/>
                </a:lnTo>
                <a:lnTo>
                  <a:pt x="208" y="160"/>
                </a:lnTo>
                <a:lnTo>
                  <a:pt x="200" y="160"/>
                </a:lnTo>
                <a:lnTo>
                  <a:pt x="200" y="168"/>
                </a:lnTo>
                <a:lnTo>
                  <a:pt x="192" y="168"/>
                </a:lnTo>
                <a:lnTo>
                  <a:pt x="136" y="192"/>
                </a:lnTo>
                <a:lnTo>
                  <a:pt x="96" y="208"/>
                </a:lnTo>
                <a:lnTo>
                  <a:pt x="0" y="232"/>
                </a:lnTo>
                <a:lnTo>
                  <a:pt x="136" y="184"/>
                </a:lnTo>
                <a:lnTo>
                  <a:pt x="152" y="168"/>
                </a:lnTo>
                <a:lnTo>
                  <a:pt x="136" y="168"/>
                </a:lnTo>
                <a:lnTo>
                  <a:pt x="112" y="168"/>
                </a:lnTo>
                <a:lnTo>
                  <a:pt x="128" y="152"/>
                </a:lnTo>
                <a:lnTo>
                  <a:pt x="104" y="152"/>
                </a:lnTo>
                <a:lnTo>
                  <a:pt x="112" y="128"/>
                </a:lnTo>
                <a:lnTo>
                  <a:pt x="152" y="112"/>
                </a:lnTo>
                <a:lnTo>
                  <a:pt x="200" y="104"/>
                </a:lnTo>
                <a:lnTo>
                  <a:pt x="224" y="80"/>
                </a:lnTo>
                <a:lnTo>
                  <a:pt x="200" y="88"/>
                </a:lnTo>
                <a:lnTo>
                  <a:pt x="176" y="88"/>
                </a:lnTo>
                <a:lnTo>
                  <a:pt x="168" y="88"/>
                </a:lnTo>
                <a:lnTo>
                  <a:pt x="176" y="80"/>
                </a:lnTo>
                <a:lnTo>
                  <a:pt x="168" y="72"/>
                </a:lnTo>
                <a:lnTo>
                  <a:pt x="216" y="64"/>
                </a:lnTo>
                <a:lnTo>
                  <a:pt x="224" y="64"/>
                </a:lnTo>
                <a:lnTo>
                  <a:pt x="216" y="64"/>
                </a:lnTo>
                <a:lnTo>
                  <a:pt x="248" y="64"/>
                </a:lnTo>
                <a:lnTo>
                  <a:pt x="240" y="56"/>
                </a:lnTo>
                <a:lnTo>
                  <a:pt x="248" y="48"/>
                </a:lnTo>
                <a:lnTo>
                  <a:pt x="240" y="40"/>
                </a:lnTo>
                <a:lnTo>
                  <a:pt x="248" y="32"/>
                </a:lnTo>
                <a:lnTo>
                  <a:pt x="280" y="32"/>
                </a:lnTo>
                <a:lnTo>
                  <a:pt x="320" y="16"/>
                </a:lnTo>
                <a:lnTo>
                  <a:pt x="392" y="0"/>
                </a:lnTo>
                <a:lnTo>
                  <a:pt x="400" y="0"/>
                </a:lnTo>
                <a:lnTo>
                  <a:pt x="400" y="8"/>
                </a:lnTo>
                <a:lnTo>
                  <a:pt x="416" y="8"/>
                </a:lnTo>
                <a:lnTo>
                  <a:pt x="424" y="8"/>
                </a:lnTo>
                <a:lnTo>
                  <a:pt x="496" y="16"/>
                </a:lnTo>
                <a:lnTo>
                  <a:pt x="512" y="24"/>
                </a:lnTo>
                <a:lnTo>
                  <a:pt x="360" y="14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7" name="Freeform 269"/>
          <p:cNvSpPr>
            <a:spLocks noChangeAspect="1"/>
          </p:cNvSpPr>
          <p:nvPr/>
        </p:nvSpPr>
        <p:spPr bwMode="auto">
          <a:xfrm>
            <a:off x="7149529" y="2718554"/>
            <a:ext cx="782638" cy="571500"/>
          </a:xfrm>
          <a:custGeom>
            <a:avLst/>
            <a:gdLst>
              <a:gd name="T0" fmla="*/ 0 w 352"/>
              <a:gd name="T1" fmla="*/ 2147483647 h 272"/>
              <a:gd name="T2" fmla="*/ 2147483647 w 352"/>
              <a:gd name="T3" fmla="*/ 2147483647 h 272"/>
              <a:gd name="T4" fmla="*/ 2147483647 w 352"/>
              <a:gd name="T5" fmla="*/ 2147483647 h 272"/>
              <a:gd name="T6" fmla="*/ 2147483647 w 352"/>
              <a:gd name="T7" fmla="*/ 2147483647 h 272"/>
              <a:gd name="T8" fmla="*/ 2147483647 w 352"/>
              <a:gd name="T9" fmla="*/ 2147483647 h 272"/>
              <a:gd name="T10" fmla="*/ 2147483647 w 352"/>
              <a:gd name="T11" fmla="*/ 2147483647 h 272"/>
              <a:gd name="T12" fmla="*/ 2147483647 w 352"/>
              <a:gd name="T13" fmla="*/ 2147483647 h 272"/>
              <a:gd name="T14" fmla="*/ 2147483647 w 352"/>
              <a:gd name="T15" fmla="*/ 2147483647 h 272"/>
              <a:gd name="T16" fmla="*/ 2147483647 w 352"/>
              <a:gd name="T17" fmla="*/ 2147483647 h 272"/>
              <a:gd name="T18" fmla="*/ 2147483647 w 352"/>
              <a:gd name="T19" fmla="*/ 2147483647 h 272"/>
              <a:gd name="T20" fmla="*/ 2147483647 w 352"/>
              <a:gd name="T21" fmla="*/ 2147483647 h 272"/>
              <a:gd name="T22" fmla="*/ 2147483647 w 352"/>
              <a:gd name="T23" fmla="*/ 2147483647 h 272"/>
              <a:gd name="T24" fmla="*/ 2147483647 w 352"/>
              <a:gd name="T25" fmla="*/ 2147483647 h 272"/>
              <a:gd name="T26" fmla="*/ 2147483647 w 352"/>
              <a:gd name="T27" fmla="*/ 2147483647 h 272"/>
              <a:gd name="T28" fmla="*/ 2147483647 w 352"/>
              <a:gd name="T29" fmla="*/ 2147483647 h 272"/>
              <a:gd name="T30" fmla="*/ 2147483647 w 352"/>
              <a:gd name="T31" fmla="*/ 2147483647 h 272"/>
              <a:gd name="T32" fmla="*/ 2147483647 w 352"/>
              <a:gd name="T33" fmla="*/ 2147483647 h 272"/>
              <a:gd name="T34" fmla="*/ 2147483647 w 352"/>
              <a:gd name="T35" fmla="*/ 2147483647 h 272"/>
              <a:gd name="T36" fmla="*/ 2147483647 w 352"/>
              <a:gd name="T37" fmla="*/ 2147483647 h 272"/>
              <a:gd name="T38" fmla="*/ 2147483647 w 352"/>
              <a:gd name="T39" fmla="*/ 2147483647 h 272"/>
              <a:gd name="T40" fmla="*/ 2147483647 w 352"/>
              <a:gd name="T41" fmla="*/ 2147483647 h 272"/>
              <a:gd name="T42" fmla="*/ 2147483647 w 352"/>
              <a:gd name="T43" fmla="*/ 2147483647 h 272"/>
              <a:gd name="T44" fmla="*/ 2147483647 w 352"/>
              <a:gd name="T45" fmla="*/ 2147483647 h 272"/>
              <a:gd name="T46" fmla="*/ 2147483647 w 352"/>
              <a:gd name="T47" fmla="*/ 2147483647 h 272"/>
              <a:gd name="T48" fmla="*/ 2147483647 w 352"/>
              <a:gd name="T49" fmla="*/ 2147483647 h 272"/>
              <a:gd name="T50" fmla="*/ 2147483647 w 352"/>
              <a:gd name="T51" fmla="*/ 2147483647 h 272"/>
              <a:gd name="T52" fmla="*/ 2147483647 w 352"/>
              <a:gd name="T53" fmla="*/ 2147483647 h 272"/>
              <a:gd name="T54" fmla="*/ 2147483647 w 352"/>
              <a:gd name="T55" fmla="*/ 2147483647 h 272"/>
              <a:gd name="T56" fmla="*/ 2147483647 w 352"/>
              <a:gd name="T57" fmla="*/ 2147483647 h 272"/>
              <a:gd name="T58" fmla="*/ 2147483647 w 352"/>
              <a:gd name="T59" fmla="*/ 2147483647 h 272"/>
              <a:gd name="T60" fmla="*/ 2147483647 w 352"/>
              <a:gd name="T61" fmla="*/ 2147483647 h 272"/>
              <a:gd name="T62" fmla="*/ 2147483647 w 352"/>
              <a:gd name="T63" fmla="*/ 2147483647 h 272"/>
              <a:gd name="T64" fmla="*/ 2147483647 w 352"/>
              <a:gd name="T65" fmla="*/ 2147483647 h 272"/>
              <a:gd name="T66" fmla="*/ 0 w 352"/>
              <a:gd name="T67" fmla="*/ 0 h 27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352" h="272">
                <a:moveTo>
                  <a:pt x="0" y="0"/>
                </a:moveTo>
                <a:lnTo>
                  <a:pt x="0" y="48"/>
                </a:lnTo>
                <a:lnTo>
                  <a:pt x="16" y="64"/>
                </a:lnTo>
                <a:lnTo>
                  <a:pt x="8" y="72"/>
                </a:lnTo>
                <a:lnTo>
                  <a:pt x="0" y="72"/>
                </a:lnTo>
                <a:lnTo>
                  <a:pt x="8" y="80"/>
                </a:lnTo>
                <a:lnTo>
                  <a:pt x="32" y="96"/>
                </a:lnTo>
                <a:lnTo>
                  <a:pt x="32" y="104"/>
                </a:lnTo>
                <a:lnTo>
                  <a:pt x="24" y="120"/>
                </a:lnTo>
                <a:lnTo>
                  <a:pt x="48" y="136"/>
                </a:lnTo>
                <a:lnTo>
                  <a:pt x="48" y="152"/>
                </a:lnTo>
                <a:lnTo>
                  <a:pt x="56" y="144"/>
                </a:lnTo>
                <a:lnTo>
                  <a:pt x="48" y="128"/>
                </a:lnTo>
                <a:lnTo>
                  <a:pt x="40" y="96"/>
                </a:lnTo>
                <a:lnTo>
                  <a:pt x="16" y="40"/>
                </a:lnTo>
                <a:lnTo>
                  <a:pt x="24" y="16"/>
                </a:lnTo>
                <a:lnTo>
                  <a:pt x="40" y="16"/>
                </a:lnTo>
                <a:lnTo>
                  <a:pt x="40" y="24"/>
                </a:lnTo>
                <a:lnTo>
                  <a:pt x="48" y="56"/>
                </a:lnTo>
                <a:lnTo>
                  <a:pt x="56" y="72"/>
                </a:lnTo>
                <a:lnTo>
                  <a:pt x="56" y="80"/>
                </a:lnTo>
                <a:lnTo>
                  <a:pt x="72" y="96"/>
                </a:lnTo>
                <a:lnTo>
                  <a:pt x="64" y="104"/>
                </a:lnTo>
                <a:lnTo>
                  <a:pt x="80" y="112"/>
                </a:lnTo>
                <a:lnTo>
                  <a:pt x="104" y="152"/>
                </a:lnTo>
                <a:lnTo>
                  <a:pt x="112" y="168"/>
                </a:lnTo>
                <a:lnTo>
                  <a:pt x="96" y="184"/>
                </a:lnTo>
                <a:lnTo>
                  <a:pt x="104" y="192"/>
                </a:lnTo>
                <a:lnTo>
                  <a:pt x="120" y="216"/>
                </a:lnTo>
                <a:lnTo>
                  <a:pt x="144" y="224"/>
                </a:lnTo>
                <a:lnTo>
                  <a:pt x="152" y="232"/>
                </a:lnTo>
                <a:lnTo>
                  <a:pt x="192" y="248"/>
                </a:lnTo>
                <a:lnTo>
                  <a:pt x="208" y="256"/>
                </a:lnTo>
                <a:lnTo>
                  <a:pt x="224" y="248"/>
                </a:lnTo>
                <a:lnTo>
                  <a:pt x="240" y="248"/>
                </a:lnTo>
                <a:lnTo>
                  <a:pt x="264" y="272"/>
                </a:lnTo>
                <a:lnTo>
                  <a:pt x="280" y="248"/>
                </a:lnTo>
                <a:lnTo>
                  <a:pt x="288" y="248"/>
                </a:lnTo>
                <a:lnTo>
                  <a:pt x="280" y="232"/>
                </a:lnTo>
                <a:lnTo>
                  <a:pt x="288" y="224"/>
                </a:lnTo>
                <a:lnTo>
                  <a:pt x="312" y="224"/>
                </a:lnTo>
                <a:lnTo>
                  <a:pt x="320" y="216"/>
                </a:lnTo>
                <a:lnTo>
                  <a:pt x="328" y="224"/>
                </a:lnTo>
                <a:lnTo>
                  <a:pt x="328" y="216"/>
                </a:lnTo>
                <a:lnTo>
                  <a:pt x="352" y="168"/>
                </a:lnTo>
                <a:lnTo>
                  <a:pt x="336" y="168"/>
                </a:lnTo>
                <a:lnTo>
                  <a:pt x="304" y="176"/>
                </a:lnTo>
                <a:lnTo>
                  <a:pt x="296" y="200"/>
                </a:lnTo>
                <a:lnTo>
                  <a:pt x="280" y="208"/>
                </a:lnTo>
                <a:lnTo>
                  <a:pt x="288" y="216"/>
                </a:lnTo>
                <a:lnTo>
                  <a:pt x="280" y="216"/>
                </a:lnTo>
                <a:lnTo>
                  <a:pt x="272" y="216"/>
                </a:lnTo>
                <a:lnTo>
                  <a:pt x="240" y="216"/>
                </a:lnTo>
                <a:lnTo>
                  <a:pt x="224" y="200"/>
                </a:lnTo>
                <a:lnTo>
                  <a:pt x="208" y="152"/>
                </a:lnTo>
                <a:lnTo>
                  <a:pt x="216" y="128"/>
                </a:lnTo>
                <a:lnTo>
                  <a:pt x="224" y="104"/>
                </a:lnTo>
                <a:lnTo>
                  <a:pt x="200" y="96"/>
                </a:lnTo>
                <a:lnTo>
                  <a:pt x="184" y="48"/>
                </a:lnTo>
                <a:lnTo>
                  <a:pt x="168" y="40"/>
                </a:lnTo>
                <a:lnTo>
                  <a:pt x="160" y="56"/>
                </a:lnTo>
                <a:lnTo>
                  <a:pt x="152" y="56"/>
                </a:lnTo>
                <a:lnTo>
                  <a:pt x="144" y="40"/>
                </a:lnTo>
                <a:lnTo>
                  <a:pt x="144" y="32"/>
                </a:lnTo>
                <a:lnTo>
                  <a:pt x="136" y="16"/>
                </a:lnTo>
                <a:lnTo>
                  <a:pt x="72" y="24"/>
                </a:lnTo>
                <a:lnTo>
                  <a:pt x="32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8" name="Freeform 270"/>
          <p:cNvSpPr>
            <a:spLocks noChangeAspect="1"/>
          </p:cNvSpPr>
          <p:nvPr/>
        </p:nvSpPr>
        <p:spPr bwMode="auto">
          <a:xfrm>
            <a:off x="7060629" y="2199441"/>
            <a:ext cx="1636713" cy="754063"/>
          </a:xfrm>
          <a:custGeom>
            <a:avLst/>
            <a:gdLst>
              <a:gd name="T0" fmla="*/ 2147483647 w 736"/>
              <a:gd name="T1" fmla="*/ 2147483647 h 360"/>
              <a:gd name="T2" fmla="*/ 2147483647 w 736"/>
              <a:gd name="T3" fmla="*/ 2147483647 h 360"/>
              <a:gd name="T4" fmla="*/ 2147483647 w 736"/>
              <a:gd name="T5" fmla="*/ 2147483647 h 360"/>
              <a:gd name="T6" fmla="*/ 2147483647 w 736"/>
              <a:gd name="T7" fmla="*/ 2147483647 h 360"/>
              <a:gd name="T8" fmla="*/ 2147483647 w 736"/>
              <a:gd name="T9" fmla="*/ 2147483647 h 360"/>
              <a:gd name="T10" fmla="*/ 2147483647 w 736"/>
              <a:gd name="T11" fmla="*/ 2147483647 h 360"/>
              <a:gd name="T12" fmla="*/ 2147483647 w 736"/>
              <a:gd name="T13" fmla="*/ 2147483647 h 360"/>
              <a:gd name="T14" fmla="*/ 2147483647 w 736"/>
              <a:gd name="T15" fmla="*/ 2147483647 h 360"/>
              <a:gd name="T16" fmla="*/ 2147483647 w 736"/>
              <a:gd name="T17" fmla="*/ 2147483647 h 360"/>
              <a:gd name="T18" fmla="*/ 2147483647 w 736"/>
              <a:gd name="T19" fmla="*/ 2147483647 h 360"/>
              <a:gd name="T20" fmla="*/ 2147483647 w 736"/>
              <a:gd name="T21" fmla="*/ 2147483647 h 360"/>
              <a:gd name="T22" fmla="*/ 2147483647 w 736"/>
              <a:gd name="T23" fmla="*/ 2147483647 h 360"/>
              <a:gd name="T24" fmla="*/ 2147483647 w 736"/>
              <a:gd name="T25" fmla="*/ 2147483647 h 360"/>
              <a:gd name="T26" fmla="*/ 2147483647 w 736"/>
              <a:gd name="T27" fmla="*/ 2147483647 h 360"/>
              <a:gd name="T28" fmla="*/ 2147483647 w 736"/>
              <a:gd name="T29" fmla="*/ 2147483647 h 360"/>
              <a:gd name="T30" fmla="*/ 2147483647 w 736"/>
              <a:gd name="T31" fmla="*/ 2147483647 h 360"/>
              <a:gd name="T32" fmla="*/ 2147483647 w 736"/>
              <a:gd name="T33" fmla="*/ 2147483647 h 360"/>
              <a:gd name="T34" fmla="*/ 2147483647 w 736"/>
              <a:gd name="T35" fmla="*/ 2147483647 h 360"/>
              <a:gd name="T36" fmla="*/ 2147483647 w 736"/>
              <a:gd name="T37" fmla="*/ 2147483647 h 360"/>
              <a:gd name="T38" fmla="*/ 2147483647 w 736"/>
              <a:gd name="T39" fmla="*/ 2147483647 h 360"/>
              <a:gd name="T40" fmla="*/ 2147483647 w 736"/>
              <a:gd name="T41" fmla="*/ 2147483647 h 360"/>
              <a:gd name="T42" fmla="*/ 2147483647 w 736"/>
              <a:gd name="T43" fmla="*/ 2147483647 h 360"/>
              <a:gd name="T44" fmla="*/ 2147483647 w 736"/>
              <a:gd name="T45" fmla="*/ 2147483647 h 360"/>
              <a:gd name="T46" fmla="*/ 2147483647 w 736"/>
              <a:gd name="T47" fmla="*/ 2147483647 h 360"/>
              <a:gd name="T48" fmla="*/ 2147483647 w 736"/>
              <a:gd name="T49" fmla="*/ 2147483647 h 360"/>
              <a:gd name="T50" fmla="*/ 2147483647 w 736"/>
              <a:gd name="T51" fmla="*/ 2147483647 h 360"/>
              <a:gd name="T52" fmla="*/ 2147483647 w 736"/>
              <a:gd name="T53" fmla="*/ 2147483647 h 360"/>
              <a:gd name="T54" fmla="*/ 2147483647 w 736"/>
              <a:gd name="T55" fmla="*/ 2147483647 h 360"/>
              <a:gd name="T56" fmla="*/ 2147483647 w 736"/>
              <a:gd name="T57" fmla="*/ 2147483647 h 360"/>
              <a:gd name="T58" fmla="*/ 2147483647 w 736"/>
              <a:gd name="T59" fmla="*/ 2147483647 h 360"/>
              <a:gd name="T60" fmla="*/ 2147483647 w 736"/>
              <a:gd name="T61" fmla="*/ 2147483647 h 360"/>
              <a:gd name="T62" fmla="*/ 2147483647 w 736"/>
              <a:gd name="T63" fmla="*/ 2147483647 h 360"/>
              <a:gd name="T64" fmla="*/ 2147483647 w 736"/>
              <a:gd name="T65" fmla="*/ 2147483647 h 360"/>
              <a:gd name="T66" fmla="*/ 2147483647 w 736"/>
              <a:gd name="T67" fmla="*/ 0 h 360"/>
              <a:gd name="T68" fmla="*/ 2147483647 w 736"/>
              <a:gd name="T69" fmla="*/ 2147483647 h 360"/>
              <a:gd name="T70" fmla="*/ 2147483647 w 736"/>
              <a:gd name="T71" fmla="*/ 2147483647 h 360"/>
              <a:gd name="T72" fmla="*/ 2147483647 w 736"/>
              <a:gd name="T73" fmla="*/ 2147483647 h 360"/>
              <a:gd name="T74" fmla="*/ 2147483647 w 736"/>
              <a:gd name="T75" fmla="*/ 2147483647 h 360"/>
              <a:gd name="T76" fmla="*/ 2147483647 w 736"/>
              <a:gd name="T77" fmla="*/ 2147483647 h 360"/>
              <a:gd name="T78" fmla="*/ 2147483647 w 736"/>
              <a:gd name="T79" fmla="*/ 2147483647 h 360"/>
              <a:gd name="T80" fmla="*/ 2147483647 w 736"/>
              <a:gd name="T81" fmla="*/ 2147483647 h 360"/>
              <a:gd name="T82" fmla="*/ 2147483647 w 736"/>
              <a:gd name="T83" fmla="*/ 2147483647 h 360"/>
              <a:gd name="T84" fmla="*/ 2147483647 w 736"/>
              <a:gd name="T85" fmla="*/ 2147483647 h 360"/>
              <a:gd name="T86" fmla="*/ 2147483647 w 736"/>
              <a:gd name="T87" fmla="*/ 2147483647 h 360"/>
              <a:gd name="T88" fmla="*/ 2147483647 w 736"/>
              <a:gd name="T89" fmla="*/ 2147483647 h 360"/>
              <a:gd name="T90" fmla="*/ 2147483647 w 736"/>
              <a:gd name="T91" fmla="*/ 2147483647 h 36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36" h="360">
                <a:moveTo>
                  <a:pt x="272" y="320"/>
                </a:moveTo>
                <a:lnTo>
                  <a:pt x="312" y="296"/>
                </a:lnTo>
                <a:lnTo>
                  <a:pt x="304" y="296"/>
                </a:lnTo>
                <a:lnTo>
                  <a:pt x="312" y="288"/>
                </a:lnTo>
                <a:lnTo>
                  <a:pt x="312" y="296"/>
                </a:lnTo>
                <a:lnTo>
                  <a:pt x="320" y="296"/>
                </a:lnTo>
                <a:lnTo>
                  <a:pt x="344" y="296"/>
                </a:lnTo>
                <a:lnTo>
                  <a:pt x="352" y="288"/>
                </a:lnTo>
                <a:lnTo>
                  <a:pt x="352" y="304"/>
                </a:lnTo>
                <a:lnTo>
                  <a:pt x="376" y="296"/>
                </a:lnTo>
                <a:lnTo>
                  <a:pt x="376" y="304"/>
                </a:lnTo>
                <a:lnTo>
                  <a:pt x="384" y="304"/>
                </a:lnTo>
                <a:lnTo>
                  <a:pt x="376" y="296"/>
                </a:lnTo>
                <a:lnTo>
                  <a:pt x="384" y="288"/>
                </a:lnTo>
                <a:lnTo>
                  <a:pt x="368" y="288"/>
                </a:lnTo>
                <a:lnTo>
                  <a:pt x="376" y="280"/>
                </a:lnTo>
                <a:lnTo>
                  <a:pt x="376" y="288"/>
                </a:lnTo>
                <a:lnTo>
                  <a:pt x="400" y="280"/>
                </a:lnTo>
                <a:lnTo>
                  <a:pt x="424" y="280"/>
                </a:lnTo>
                <a:lnTo>
                  <a:pt x="432" y="288"/>
                </a:lnTo>
                <a:lnTo>
                  <a:pt x="432" y="296"/>
                </a:lnTo>
                <a:lnTo>
                  <a:pt x="456" y="288"/>
                </a:lnTo>
                <a:lnTo>
                  <a:pt x="464" y="304"/>
                </a:lnTo>
                <a:lnTo>
                  <a:pt x="464" y="336"/>
                </a:lnTo>
                <a:lnTo>
                  <a:pt x="472" y="360"/>
                </a:lnTo>
                <a:lnTo>
                  <a:pt x="480" y="360"/>
                </a:lnTo>
                <a:lnTo>
                  <a:pt x="488" y="352"/>
                </a:lnTo>
                <a:lnTo>
                  <a:pt x="488" y="336"/>
                </a:lnTo>
                <a:lnTo>
                  <a:pt x="488" y="272"/>
                </a:lnTo>
                <a:lnTo>
                  <a:pt x="504" y="248"/>
                </a:lnTo>
                <a:lnTo>
                  <a:pt x="576" y="208"/>
                </a:lnTo>
                <a:lnTo>
                  <a:pt x="584" y="200"/>
                </a:lnTo>
                <a:lnTo>
                  <a:pt x="568" y="200"/>
                </a:lnTo>
                <a:lnTo>
                  <a:pt x="576" y="192"/>
                </a:lnTo>
                <a:lnTo>
                  <a:pt x="584" y="200"/>
                </a:lnTo>
                <a:lnTo>
                  <a:pt x="576" y="184"/>
                </a:lnTo>
                <a:lnTo>
                  <a:pt x="584" y="168"/>
                </a:lnTo>
                <a:lnTo>
                  <a:pt x="576" y="160"/>
                </a:lnTo>
                <a:lnTo>
                  <a:pt x="584" y="168"/>
                </a:lnTo>
                <a:lnTo>
                  <a:pt x="592" y="144"/>
                </a:lnTo>
                <a:lnTo>
                  <a:pt x="584" y="160"/>
                </a:lnTo>
                <a:lnTo>
                  <a:pt x="592" y="160"/>
                </a:lnTo>
                <a:lnTo>
                  <a:pt x="592" y="168"/>
                </a:lnTo>
                <a:lnTo>
                  <a:pt x="584" y="176"/>
                </a:lnTo>
                <a:lnTo>
                  <a:pt x="600" y="160"/>
                </a:lnTo>
                <a:lnTo>
                  <a:pt x="600" y="144"/>
                </a:lnTo>
                <a:lnTo>
                  <a:pt x="608" y="152"/>
                </a:lnTo>
                <a:lnTo>
                  <a:pt x="616" y="144"/>
                </a:lnTo>
                <a:lnTo>
                  <a:pt x="624" y="128"/>
                </a:lnTo>
                <a:lnTo>
                  <a:pt x="664" y="120"/>
                </a:lnTo>
                <a:lnTo>
                  <a:pt x="664" y="112"/>
                </a:lnTo>
                <a:lnTo>
                  <a:pt x="680" y="112"/>
                </a:lnTo>
                <a:lnTo>
                  <a:pt x="680" y="104"/>
                </a:lnTo>
                <a:lnTo>
                  <a:pt x="672" y="112"/>
                </a:lnTo>
                <a:lnTo>
                  <a:pt x="672" y="104"/>
                </a:lnTo>
                <a:lnTo>
                  <a:pt x="688" y="80"/>
                </a:lnTo>
                <a:lnTo>
                  <a:pt x="712" y="72"/>
                </a:lnTo>
                <a:lnTo>
                  <a:pt x="728" y="72"/>
                </a:lnTo>
                <a:lnTo>
                  <a:pt x="736" y="56"/>
                </a:lnTo>
                <a:lnTo>
                  <a:pt x="728" y="56"/>
                </a:lnTo>
                <a:lnTo>
                  <a:pt x="736" y="32"/>
                </a:lnTo>
                <a:lnTo>
                  <a:pt x="720" y="24"/>
                </a:lnTo>
                <a:lnTo>
                  <a:pt x="696" y="56"/>
                </a:lnTo>
                <a:lnTo>
                  <a:pt x="680" y="64"/>
                </a:lnTo>
                <a:lnTo>
                  <a:pt x="640" y="64"/>
                </a:lnTo>
                <a:lnTo>
                  <a:pt x="624" y="72"/>
                </a:lnTo>
                <a:lnTo>
                  <a:pt x="616" y="88"/>
                </a:lnTo>
                <a:lnTo>
                  <a:pt x="576" y="88"/>
                </a:lnTo>
                <a:lnTo>
                  <a:pt x="584" y="96"/>
                </a:lnTo>
                <a:lnTo>
                  <a:pt x="536" y="112"/>
                </a:lnTo>
                <a:lnTo>
                  <a:pt x="520" y="112"/>
                </a:lnTo>
                <a:lnTo>
                  <a:pt x="536" y="88"/>
                </a:lnTo>
                <a:lnTo>
                  <a:pt x="536" y="80"/>
                </a:lnTo>
                <a:lnTo>
                  <a:pt x="528" y="80"/>
                </a:lnTo>
                <a:lnTo>
                  <a:pt x="536" y="72"/>
                </a:lnTo>
                <a:lnTo>
                  <a:pt x="536" y="56"/>
                </a:lnTo>
                <a:lnTo>
                  <a:pt x="528" y="56"/>
                </a:lnTo>
                <a:lnTo>
                  <a:pt x="504" y="64"/>
                </a:lnTo>
                <a:lnTo>
                  <a:pt x="496" y="80"/>
                </a:lnTo>
                <a:lnTo>
                  <a:pt x="480" y="104"/>
                </a:lnTo>
                <a:lnTo>
                  <a:pt x="472" y="112"/>
                </a:lnTo>
                <a:lnTo>
                  <a:pt x="464" y="112"/>
                </a:lnTo>
                <a:lnTo>
                  <a:pt x="464" y="104"/>
                </a:lnTo>
                <a:lnTo>
                  <a:pt x="472" y="88"/>
                </a:lnTo>
                <a:lnTo>
                  <a:pt x="496" y="64"/>
                </a:lnTo>
                <a:lnTo>
                  <a:pt x="480" y="72"/>
                </a:lnTo>
                <a:lnTo>
                  <a:pt x="504" y="48"/>
                </a:lnTo>
                <a:lnTo>
                  <a:pt x="536" y="48"/>
                </a:lnTo>
                <a:lnTo>
                  <a:pt x="536" y="40"/>
                </a:lnTo>
                <a:lnTo>
                  <a:pt x="528" y="40"/>
                </a:lnTo>
                <a:lnTo>
                  <a:pt x="536" y="40"/>
                </a:lnTo>
                <a:lnTo>
                  <a:pt x="504" y="40"/>
                </a:lnTo>
                <a:lnTo>
                  <a:pt x="504" y="32"/>
                </a:lnTo>
                <a:lnTo>
                  <a:pt x="488" y="40"/>
                </a:lnTo>
                <a:lnTo>
                  <a:pt x="504" y="24"/>
                </a:lnTo>
                <a:lnTo>
                  <a:pt x="464" y="40"/>
                </a:lnTo>
                <a:lnTo>
                  <a:pt x="464" y="32"/>
                </a:lnTo>
                <a:lnTo>
                  <a:pt x="448" y="40"/>
                </a:lnTo>
                <a:lnTo>
                  <a:pt x="480" y="16"/>
                </a:lnTo>
                <a:lnTo>
                  <a:pt x="488" y="16"/>
                </a:lnTo>
                <a:lnTo>
                  <a:pt x="440" y="8"/>
                </a:lnTo>
                <a:lnTo>
                  <a:pt x="432" y="0"/>
                </a:lnTo>
                <a:lnTo>
                  <a:pt x="424" y="0"/>
                </a:lnTo>
                <a:lnTo>
                  <a:pt x="104" y="0"/>
                </a:lnTo>
                <a:lnTo>
                  <a:pt x="104" y="8"/>
                </a:lnTo>
                <a:lnTo>
                  <a:pt x="96" y="24"/>
                </a:lnTo>
                <a:lnTo>
                  <a:pt x="88" y="24"/>
                </a:lnTo>
                <a:lnTo>
                  <a:pt x="96" y="16"/>
                </a:lnTo>
                <a:lnTo>
                  <a:pt x="80" y="8"/>
                </a:lnTo>
                <a:lnTo>
                  <a:pt x="72" y="16"/>
                </a:lnTo>
                <a:lnTo>
                  <a:pt x="64" y="48"/>
                </a:lnTo>
                <a:lnTo>
                  <a:pt x="24" y="96"/>
                </a:lnTo>
                <a:lnTo>
                  <a:pt x="16" y="112"/>
                </a:lnTo>
                <a:lnTo>
                  <a:pt x="8" y="136"/>
                </a:lnTo>
                <a:lnTo>
                  <a:pt x="8" y="144"/>
                </a:lnTo>
                <a:lnTo>
                  <a:pt x="0" y="152"/>
                </a:lnTo>
                <a:lnTo>
                  <a:pt x="8" y="160"/>
                </a:lnTo>
                <a:lnTo>
                  <a:pt x="0" y="168"/>
                </a:lnTo>
                <a:lnTo>
                  <a:pt x="16" y="168"/>
                </a:lnTo>
                <a:lnTo>
                  <a:pt x="8" y="176"/>
                </a:lnTo>
                <a:lnTo>
                  <a:pt x="8" y="184"/>
                </a:lnTo>
                <a:lnTo>
                  <a:pt x="8" y="192"/>
                </a:lnTo>
                <a:lnTo>
                  <a:pt x="16" y="208"/>
                </a:lnTo>
                <a:lnTo>
                  <a:pt x="8" y="216"/>
                </a:lnTo>
                <a:lnTo>
                  <a:pt x="32" y="224"/>
                </a:lnTo>
                <a:lnTo>
                  <a:pt x="32" y="232"/>
                </a:lnTo>
                <a:lnTo>
                  <a:pt x="40" y="240"/>
                </a:lnTo>
                <a:lnTo>
                  <a:pt x="40" y="248"/>
                </a:lnTo>
                <a:lnTo>
                  <a:pt x="72" y="248"/>
                </a:lnTo>
                <a:lnTo>
                  <a:pt x="112" y="272"/>
                </a:lnTo>
                <a:lnTo>
                  <a:pt x="176" y="264"/>
                </a:lnTo>
                <a:lnTo>
                  <a:pt x="184" y="280"/>
                </a:lnTo>
                <a:lnTo>
                  <a:pt x="184" y="288"/>
                </a:lnTo>
                <a:lnTo>
                  <a:pt x="192" y="304"/>
                </a:lnTo>
                <a:lnTo>
                  <a:pt x="200" y="304"/>
                </a:lnTo>
                <a:lnTo>
                  <a:pt x="208" y="288"/>
                </a:lnTo>
                <a:lnTo>
                  <a:pt x="224" y="296"/>
                </a:lnTo>
                <a:lnTo>
                  <a:pt x="240" y="344"/>
                </a:lnTo>
                <a:lnTo>
                  <a:pt x="264" y="352"/>
                </a:lnTo>
                <a:lnTo>
                  <a:pt x="272" y="32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9" name="Freeform 271"/>
          <p:cNvSpPr>
            <a:spLocks noChangeAspect="1"/>
          </p:cNvSpPr>
          <p:nvPr/>
        </p:nvSpPr>
        <p:spPr bwMode="auto">
          <a:xfrm>
            <a:off x="7736904" y="3188454"/>
            <a:ext cx="125413" cy="133350"/>
          </a:xfrm>
          <a:custGeom>
            <a:avLst/>
            <a:gdLst>
              <a:gd name="T0" fmla="*/ 2147483647 w 56"/>
              <a:gd name="T1" fmla="*/ 2147483647 h 64"/>
              <a:gd name="T2" fmla="*/ 2147483647 w 56"/>
              <a:gd name="T3" fmla="*/ 2147483647 h 64"/>
              <a:gd name="T4" fmla="*/ 0 w 56"/>
              <a:gd name="T5" fmla="*/ 2147483647 h 64"/>
              <a:gd name="T6" fmla="*/ 0 w 56"/>
              <a:gd name="T7" fmla="*/ 2147483647 h 64"/>
              <a:gd name="T8" fmla="*/ 2147483647 w 56"/>
              <a:gd name="T9" fmla="*/ 2147483647 h 64"/>
              <a:gd name="T10" fmla="*/ 2147483647 w 56"/>
              <a:gd name="T11" fmla="*/ 2147483647 h 64"/>
              <a:gd name="T12" fmla="*/ 2147483647 w 56"/>
              <a:gd name="T13" fmla="*/ 2147483647 h 64"/>
              <a:gd name="T14" fmla="*/ 2147483647 w 56"/>
              <a:gd name="T15" fmla="*/ 0 h 64"/>
              <a:gd name="T16" fmla="*/ 2147483647 w 56"/>
              <a:gd name="T17" fmla="*/ 0 h 64"/>
              <a:gd name="T18" fmla="*/ 2147483647 w 56"/>
              <a:gd name="T19" fmla="*/ 2147483647 h 64"/>
              <a:gd name="T20" fmla="*/ 2147483647 w 56"/>
              <a:gd name="T21" fmla="*/ 2147483647 h 64"/>
              <a:gd name="T22" fmla="*/ 2147483647 w 56"/>
              <a:gd name="T23" fmla="*/ 2147483647 h 64"/>
              <a:gd name="T24" fmla="*/ 2147483647 w 56"/>
              <a:gd name="T25" fmla="*/ 2147483647 h 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6" h="64">
                <a:moveTo>
                  <a:pt x="32" y="48"/>
                </a:moveTo>
                <a:lnTo>
                  <a:pt x="24" y="64"/>
                </a:lnTo>
                <a:lnTo>
                  <a:pt x="0" y="56"/>
                </a:lnTo>
                <a:lnTo>
                  <a:pt x="0" y="48"/>
                </a:lnTo>
                <a:lnTo>
                  <a:pt x="16" y="24"/>
                </a:lnTo>
                <a:lnTo>
                  <a:pt x="24" y="24"/>
                </a:lnTo>
                <a:lnTo>
                  <a:pt x="16" y="8"/>
                </a:lnTo>
                <a:lnTo>
                  <a:pt x="24" y="0"/>
                </a:lnTo>
                <a:lnTo>
                  <a:pt x="48" y="0"/>
                </a:lnTo>
                <a:lnTo>
                  <a:pt x="40" y="24"/>
                </a:lnTo>
                <a:lnTo>
                  <a:pt x="48" y="32"/>
                </a:lnTo>
                <a:lnTo>
                  <a:pt x="56" y="32"/>
                </a:lnTo>
                <a:lnTo>
                  <a:pt x="32" y="4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0" name="Freeform 272"/>
          <p:cNvSpPr>
            <a:spLocks noChangeAspect="1"/>
          </p:cNvSpPr>
          <p:nvPr/>
        </p:nvSpPr>
        <p:spPr bwMode="auto">
          <a:xfrm>
            <a:off x="7789292" y="3290054"/>
            <a:ext cx="73025" cy="47625"/>
          </a:xfrm>
          <a:custGeom>
            <a:avLst/>
            <a:gdLst>
              <a:gd name="T0" fmla="*/ 2147483647 w 32"/>
              <a:gd name="T1" fmla="*/ 2147483647 h 24"/>
              <a:gd name="T2" fmla="*/ 2147483647 w 32"/>
              <a:gd name="T3" fmla="*/ 0 h 24"/>
              <a:gd name="T4" fmla="*/ 0 w 32"/>
              <a:gd name="T5" fmla="*/ 2147483647 h 24"/>
              <a:gd name="T6" fmla="*/ 2147483647 w 32"/>
              <a:gd name="T7" fmla="*/ 2147483647 h 24"/>
              <a:gd name="T8" fmla="*/ 2147483647 w 32"/>
              <a:gd name="T9" fmla="*/ 2147483647 h 24"/>
              <a:gd name="T10" fmla="*/ 2147483647 w 32"/>
              <a:gd name="T11" fmla="*/ 2147483647 h 2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2" h="24">
                <a:moveTo>
                  <a:pt x="32" y="16"/>
                </a:moveTo>
                <a:lnTo>
                  <a:pt x="8" y="0"/>
                </a:lnTo>
                <a:lnTo>
                  <a:pt x="0" y="16"/>
                </a:lnTo>
                <a:lnTo>
                  <a:pt x="8" y="16"/>
                </a:lnTo>
                <a:lnTo>
                  <a:pt x="32" y="24"/>
                </a:lnTo>
                <a:lnTo>
                  <a:pt x="32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1" name="Freeform 273"/>
          <p:cNvSpPr>
            <a:spLocks noChangeAspect="1"/>
          </p:cNvSpPr>
          <p:nvPr/>
        </p:nvSpPr>
        <p:spPr bwMode="auto">
          <a:xfrm>
            <a:off x="8075042" y="3456741"/>
            <a:ext cx="19050" cy="17463"/>
          </a:xfrm>
          <a:custGeom>
            <a:avLst/>
            <a:gdLst>
              <a:gd name="T0" fmla="*/ 0 w 8"/>
              <a:gd name="T1" fmla="*/ 0 h 8"/>
              <a:gd name="T2" fmla="*/ 2147483647 w 8"/>
              <a:gd name="T3" fmla="*/ 0 h 8"/>
              <a:gd name="T4" fmla="*/ 2147483647 w 8"/>
              <a:gd name="T5" fmla="*/ 2147483647 h 8"/>
              <a:gd name="T6" fmla="*/ 0 w 8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0"/>
                </a:moveTo>
                <a:lnTo>
                  <a:pt x="8" y="0"/>
                </a:lnTo>
                <a:lnTo>
                  <a:pt x="8" y="8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2" name="Freeform 274"/>
          <p:cNvSpPr>
            <a:spLocks noChangeAspect="1"/>
          </p:cNvSpPr>
          <p:nvPr/>
        </p:nvSpPr>
        <p:spPr bwMode="auto">
          <a:xfrm>
            <a:off x="8075042" y="3456741"/>
            <a:ext cx="19050" cy="17463"/>
          </a:xfrm>
          <a:custGeom>
            <a:avLst/>
            <a:gdLst>
              <a:gd name="T0" fmla="*/ 0 w 8"/>
              <a:gd name="T1" fmla="*/ 0 h 8"/>
              <a:gd name="T2" fmla="*/ 2147483647 w 8"/>
              <a:gd name="T3" fmla="*/ 0 h 8"/>
              <a:gd name="T4" fmla="*/ 2147483647 w 8"/>
              <a:gd name="T5" fmla="*/ 2147483647 h 8"/>
              <a:gd name="T6" fmla="*/ 0 w 8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0"/>
                </a:moveTo>
                <a:lnTo>
                  <a:pt x="8" y="0"/>
                </a:lnTo>
                <a:lnTo>
                  <a:pt x="8" y="8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3" name="Freeform 275"/>
          <p:cNvSpPr>
            <a:spLocks noChangeAspect="1"/>
          </p:cNvSpPr>
          <p:nvPr/>
        </p:nvSpPr>
        <p:spPr bwMode="auto">
          <a:xfrm>
            <a:off x="8094092" y="3456741"/>
            <a:ext cx="69850" cy="66675"/>
          </a:xfrm>
          <a:custGeom>
            <a:avLst/>
            <a:gdLst>
              <a:gd name="T0" fmla="*/ 2147483647 w 32"/>
              <a:gd name="T1" fmla="*/ 2147483647 h 32"/>
              <a:gd name="T2" fmla="*/ 2147483647 w 32"/>
              <a:gd name="T3" fmla="*/ 0 h 32"/>
              <a:gd name="T4" fmla="*/ 2147483647 w 32"/>
              <a:gd name="T5" fmla="*/ 0 h 32"/>
              <a:gd name="T6" fmla="*/ 0 w 32"/>
              <a:gd name="T7" fmla="*/ 0 h 32"/>
              <a:gd name="T8" fmla="*/ 0 w 32"/>
              <a:gd name="T9" fmla="*/ 2147483647 h 32"/>
              <a:gd name="T10" fmla="*/ 2147483647 w 32"/>
              <a:gd name="T11" fmla="*/ 2147483647 h 32"/>
              <a:gd name="T12" fmla="*/ 2147483647 w 32"/>
              <a:gd name="T13" fmla="*/ 2147483647 h 32"/>
              <a:gd name="T14" fmla="*/ 2147483647 w 32"/>
              <a:gd name="T15" fmla="*/ 2147483647 h 32"/>
              <a:gd name="T16" fmla="*/ 2147483647 w 32"/>
              <a:gd name="T17" fmla="*/ 2147483647 h 32"/>
              <a:gd name="T18" fmla="*/ 2147483647 w 32"/>
              <a:gd name="T19" fmla="*/ 2147483647 h 3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2" h="32">
                <a:moveTo>
                  <a:pt x="32" y="16"/>
                </a:moveTo>
                <a:lnTo>
                  <a:pt x="16" y="0"/>
                </a:lnTo>
                <a:lnTo>
                  <a:pt x="8" y="0"/>
                </a:lnTo>
                <a:lnTo>
                  <a:pt x="0" y="0"/>
                </a:lnTo>
                <a:lnTo>
                  <a:pt x="0" y="8"/>
                </a:lnTo>
                <a:lnTo>
                  <a:pt x="16" y="16"/>
                </a:lnTo>
                <a:lnTo>
                  <a:pt x="16" y="24"/>
                </a:lnTo>
                <a:lnTo>
                  <a:pt x="24" y="32"/>
                </a:lnTo>
                <a:lnTo>
                  <a:pt x="32" y="24"/>
                </a:lnTo>
                <a:lnTo>
                  <a:pt x="32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4" name="Freeform 276"/>
          <p:cNvSpPr>
            <a:spLocks noChangeAspect="1"/>
          </p:cNvSpPr>
          <p:nvPr/>
        </p:nvSpPr>
        <p:spPr bwMode="auto">
          <a:xfrm>
            <a:off x="7984554" y="3456741"/>
            <a:ext cx="109538" cy="66675"/>
          </a:xfrm>
          <a:custGeom>
            <a:avLst/>
            <a:gdLst>
              <a:gd name="T0" fmla="*/ 2147483647 w 48"/>
              <a:gd name="T1" fmla="*/ 0 h 32"/>
              <a:gd name="T2" fmla="*/ 2147483647 w 48"/>
              <a:gd name="T3" fmla="*/ 2147483647 h 32"/>
              <a:gd name="T4" fmla="*/ 2147483647 w 48"/>
              <a:gd name="T5" fmla="*/ 2147483647 h 32"/>
              <a:gd name="T6" fmla="*/ 2147483647 w 48"/>
              <a:gd name="T7" fmla="*/ 0 h 32"/>
              <a:gd name="T8" fmla="*/ 2147483647 w 48"/>
              <a:gd name="T9" fmla="*/ 2147483647 h 32"/>
              <a:gd name="T10" fmla="*/ 2147483647 w 48"/>
              <a:gd name="T11" fmla="*/ 2147483647 h 32"/>
              <a:gd name="T12" fmla="*/ 2147483647 w 48"/>
              <a:gd name="T13" fmla="*/ 2147483647 h 32"/>
              <a:gd name="T14" fmla="*/ 2147483647 w 48"/>
              <a:gd name="T15" fmla="*/ 2147483647 h 32"/>
              <a:gd name="T16" fmla="*/ 2147483647 w 48"/>
              <a:gd name="T17" fmla="*/ 2147483647 h 32"/>
              <a:gd name="T18" fmla="*/ 0 w 48"/>
              <a:gd name="T19" fmla="*/ 2147483647 h 32"/>
              <a:gd name="T20" fmla="*/ 2147483647 w 48"/>
              <a:gd name="T21" fmla="*/ 0 h 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48" h="32">
                <a:moveTo>
                  <a:pt x="8" y="0"/>
                </a:moveTo>
                <a:lnTo>
                  <a:pt x="16" y="8"/>
                </a:lnTo>
                <a:lnTo>
                  <a:pt x="24" y="8"/>
                </a:lnTo>
                <a:lnTo>
                  <a:pt x="40" y="0"/>
                </a:lnTo>
                <a:lnTo>
                  <a:pt x="48" y="8"/>
                </a:lnTo>
                <a:lnTo>
                  <a:pt x="32" y="16"/>
                </a:lnTo>
                <a:lnTo>
                  <a:pt x="40" y="32"/>
                </a:lnTo>
                <a:lnTo>
                  <a:pt x="32" y="32"/>
                </a:lnTo>
                <a:lnTo>
                  <a:pt x="24" y="24"/>
                </a:lnTo>
                <a:lnTo>
                  <a:pt x="0" y="16"/>
                </a:lnTo>
                <a:lnTo>
                  <a:pt x="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5" name="Freeform 277"/>
          <p:cNvSpPr>
            <a:spLocks noChangeAspect="1"/>
          </p:cNvSpPr>
          <p:nvPr/>
        </p:nvSpPr>
        <p:spPr bwMode="auto">
          <a:xfrm>
            <a:off x="7914704" y="3404354"/>
            <a:ext cx="88900" cy="85725"/>
          </a:xfrm>
          <a:custGeom>
            <a:avLst/>
            <a:gdLst>
              <a:gd name="T0" fmla="*/ 2147483647 w 40"/>
              <a:gd name="T1" fmla="*/ 2147483647 h 40"/>
              <a:gd name="T2" fmla="*/ 2147483647 w 40"/>
              <a:gd name="T3" fmla="*/ 2147483647 h 40"/>
              <a:gd name="T4" fmla="*/ 2147483647 w 40"/>
              <a:gd name="T5" fmla="*/ 0 h 40"/>
              <a:gd name="T6" fmla="*/ 0 w 40"/>
              <a:gd name="T7" fmla="*/ 0 h 40"/>
              <a:gd name="T8" fmla="*/ 0 w 40"/>
              <a:gd name="T9" fmla="*/ 2147483647 h 40"/>
              <a:gd name="T10" fmla="*/ 2147483647 w 40"/>
              <a:gd name="T11" fmla="*/ 2147483647 h 40"/>
              <a:gd name="T12" fmla="*/ 2147483647 w 40"/>
              <a:gd name="T13" fmla="*/ 2147483647 h 40"/>
              <a:gd name="T14" fmla="*/ 2147483647 w 40"/>
              <a:gd name="T15" fmla="*/ 2147483647 h 40"/>
              <a:gd name="T16" fmla="*/ 2147483647 w 40"/>
              <a:gd name="T17" fmla="*/ 2147483647 h 40"/>
              <a:gd name="T18" fmla="*/ 2147483647 w 40"/>
              <a:gd name="T19" fmla="*/ 2147483647 h 40"/>
              <a:gd name="T20" fmla="*/ 2147483647 w 40"/>
              <a:gd name="T21" fmla="*/ 2147483647 h 4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40" h="40">
                <a:moveTo>
                  <a:pt x="40" y="24"/>
                </a:moveTo>
                <a:lnTo>
                  <a:pt x="32" y="16"/>
                </a:lnTo>
                <a:lnTo>
                  <a:pt x="24" y="0"/>
                </a:lnTo>
                <a:lnTo>
                  <a:pt x="0" y="0"/>
                </a:lnTo>
                <a:lnTo>
                  <a:pt x="0" y="16"/>
                </a:lnTo>
                <a:lnTo>
                  <a:pt x="8" y="24"/>
                </a:lnTo>
                <a:lnTo>
                  <a:pt x="8" y="16"/>
                </a:lnTo>
                <a:lnTo>
                  <a:pt x="24" y="32"/>
                </a:lnTo>
                <a:lnTo>
                  <a:pt x="24" y="40"/>
                </a:lnTo>
                <a:lnTo>
                  <a:pt x="32" y="40"/>
                </a:lnTo>
                <a:lnTo>
                  <a:pt x="40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6" name="Freeform 278"/>
          <p:cNvSpPr>
            <a:spLocks noChangeAspect="1"/>
          </p:cNvSpPr>
          <p:nvPr/>
        </p:nvSpPr>
        <p:spPr bwMode="auto">
          <a:xfrm>
            <a:off x="7879779" y="3272591"/>
            <a:ext cx="123825" cy="131763"/>
          </a:xfrm>
          <a:custGeom>
            <a:avLst/>
            <a:gdLst>
              <a:gd name="T0" fmla="*/ 2147483647 w 56"/>
              <a:gd name="T1" fmla="*/ 2147483647 h 64"/>
              <a:gd name="T2" fmla="*/ 2147483647 w 56"/>
              <a:gd name="T3" fmla="*/ 2147483647 h 64"/>
              <a:gd name="T4" fmla="*/ 2147483647 w 56"/>
              <a:gd name="T5" fmla="*/ 0 h 64"/>
              <a:gd name="T6" fmla="*/ 2147483647 w 56"/>
              <a:gd name="T7" fmla="*/ 2147483647 h 64"/>
              <a:gd name="T8" fmla="*/ 0 w 56"/>
              <a:gd name="T9" fmla="*/ 2147483647 h 64"/>
              <a:gd name="T10" fmla="*/ 0 w 56"/>
              <a:gd name="T11" fmla="*/ 2147483647 h 64"/>
              <a:gd name="T12" fmla="*/ 2147483647 w 56"/>
              <a:gd name="T13" fmla="*/ 2147483647 h 64"/>
              <a:gd name="T14" fmla="*/ 2147483647 w 56"/>
              <a:gd name="T15" fmla="*/ 2147483647 h 6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6" h="64">
                <a:moveTo>
                  <a:pt x="40" y="64"/>
                </a:moveTo>
                <a:lnTo>
                  <a:pt x="56" y="16"/>
                </a:lnTo>
                <a:lnTo>
                  <a:pt x="56" y="0"/>
                </a:lnTo>
                <a:lnTo>
                  <a:pt x="32" y="8"/>
                </a:lnTo>
                <a:lnTo>
                  <a:pt x="0" y="32"/>
                </a:lnTo>
                <a:lnTo>
                  <a:pt x="0" y="40"/>
                </a:lnTo>
                <a:lnTo>
                  <a:pt x="16" y="64"/>
                </a:lnTo>
                <a:lnTo>
                  <a:pt x="40" y="6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7" name="Freeform 279"/>
          <p:cNvSpPr>
            <a:spLocks noChangeAspect="1"/>
          </p:cNvSpPr>
          <p:nvPr/>
        </p:nvSpPr>
        <p:spPr bwMode="auto">
          <a:xfrm>
            <a:off x="7808342" y="3255129"/>
            <a:ext cx="195262" cy="82550"/>
          </a:xfrm>
          <a:custGeom>
            <a:avLst/>
            <a:gdLst>
              <a:gd name="T0" fmla="*/ 2147483647 w 88"/>
              <a:gd name="T1" fmla="*/ 0 h 40"/>
              <a:gd name="T2" fmla="*/ 2147483647 w 88"/>
              <a:gd name="T3" fmla="*/ 0 h 40"/>
              <a:gd name="T4" fmla="*/ 2147483647 w 88"/>
              <a:gd name="T5" fmla="*/ 2147483647 h 40"/>
              <a:gd name="T6" fmla="*/ 2147483647 w 88"/>
              <a:gd name="T7" fmla="*/ 2147483647 h 40"/>
              <a:gd name="T8" fmla="*/ 2147483647 w 88"/>
              <a:gd name="T9" fmla="*/ 2147483647 h 40"/>
              <a:gd name="T10" fmla="*/ 2147483647 w 88"/>
              <a:gd name="T11" fmla="*/ 2147483647 h 40"/>
              <a:gd name="T12" fmla="*/ 0 w 88"/>
              <a:gd name="T13" fmla="*/ 2147483647 h 40"/>
              <a:gd name="T14" fmla="*/ 2147483647 w 88"/>
              <a:gd name="T15" fmla="*/ 0 h 4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88" h="40">
                <a:moveTo>
                  <a:pt x="24" y="0"/>
                </a:moveTo>
                <a:lnTo>
                  <a:pt x="64" y="0"/>
                </a:lnTo>
                <a:lnTo>
                  <a:pt x="88" y="8"/>
                </a:lnTo>
                <a:lnTo>
                  <a:pt x="64" y="16"/>
                </a:lnTo>
                <a:lnTo>
                  <a:pt x="32" y="40"/>
                </a:lnTo>
                <a:lnTo>
                  <a:pt x="24" y="32"/>
                </a:lnTo>
                <a:lnTo>
                  <a:pt x="0" y="16"/>
                </a:lnTo>
                <a:lnTo>
                  <a:pt x="24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8" name="Freeform 280"/>
          <p:cNvSpPr>
            <a:spLocks noChangeAspect="1"/>
          </p:cNvSpPr>
          <p:nvPr/>
        </p:nvSpPr>
        <p:spPr bwMode="auto">
          <a:xfrm>
            <a:off x="8340154" y="3121779"/>
            <a:ext cx="109538" cy="82550"/>
          </a:xfrm>
          <a:custGeom>
            <a:avLst/>
            <a:gdLst>
              <a:gd name="T0" fmla="*/ 2147483647 w 48"/>
              <a:gd name="T1" fmla="*/ 0 h 40"/>
              <a:gd name="T2" fmla="*/ 2147483647 w 48"/>
              <a:gd name="T3" fmla="*/ 2147483647 h 40"/>
              <a:gd name="T4" fmla="*/ 2147483647 w 48"/>
              <a:gd name="T5" fmla="*/ 2147483647 h 40"/>
              <a:gd name="T6" fmla="*/ 2147483647 w 48"/>
              <a:gd name="T7" fmla="*/ 2147483647 h 40"/>
              <a:gd name="T8" fmla="*/ 2147483647 w 48"/>
              <a:gd name="T9" fmla="*/ 2147483647 h 40"/>
              <a:gd name="T10" fmla="*/ 2147483647 w 48"/>
              <a:gd name="T11" fmla="*/ 2147483647 h 40"/>
              <a:gd name="T12" fmla="*/ 2147483647 w 48"/>
              <a:gd name="T13" fmla="*/ 2147483647 h 40"/>
              <a:gd name="T14" fmla="*/ 2147483647 w 48"/>
              <a:gd name="T15" fmla="*/ 2147483647 h 40"/>
              <a:gd name="T16" fmla="*/ 2147483647 w 48"/>
              <a:gd name="T17" fmla="*/ 2147483647 h 40"/>
              <a:gd name="T18" fmla="*/ 2147483647 w 48"/>
              <a:gd name="T19" fmla="*/ 2147483647 h 40"/>
              <a:gd name="T20" fmla="*/ 2147483647 w 48"/>
              <a:gd name="T21" fmla="*/ 2147483647 h 40"/>
              <a:gd name="T22" fmla="*/ 2147483647 w 48"/>
              <a:gd name="T23" fmla="*/ 2147483647 h 40"/>
              <a:gd name="T24" fmla="*/ 0 w 48"/>
              <a:gd name="T25" fmla="*/ 2147483647 h 40"/>
              <a:gd name="T26" fmla="*/ 2147483647 w 48"/>
              <a:gd name="T27" fmla="*/ 0 h 4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8" h="40">
                <a:moveTo>
                  <a:pt x="8" y="0"/>
                </a:moveTo>
                <a:lnTo>
                  <a:pt x="32" y="8"/>
                </a:lnTo>
                <a:lnTo>
                  <a:pt x="40" y="8"/>
                </a:lnTo>
                <a:lnTo>
                  <a:pt x="32" y="16"/>
                </a:lnTo>
                <a:lnTo>
                  <a:pt x="48" y="16"/>
                </a:lnTo>
                <a:lnTo>
                  <a:pt x="48" y="24"/>
                </a:lnTo>
                <a:lnTo>
                  <a:pt x="48" y="32"/>
                </a:lnTo>
                <a:lnTo>
                  <a:pt x="40" y="24"/>
                </a:lnTo>
                <a:lnTo>
                  <a:pt x="16" y="24"/>
                </a:lnTo>
                <a:lnTo>
                  <a:pt x="24" y="24"/>
                </a:lnTo>
                <a:lnTo>
                  <a:pt x="16" y="24"/>
                </a:lnTo>
                <a:lnTo>
                  <a:pt x="8" y="40"/>
                </a:lnTo>
                <a:lnTo>
                  <a:pt x="0" y="32"/>
                </a:lnTo>
                <a:lnTo>
                  <a:pt x="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9" name="Freeform 281"/>
          <p:cNvSpPr>
            <a:spLocks noChangeAspect="1"/>
          </p:cNvSpPr>
          <p:nvPr/>
        </p:nvSpPr>
        <p:spPr bwMode="auto">
          <a:xfrm>
            <a:off x="8271892" y="3121779"/>
            <a:ext cx="88900" cy="66675"/>
          </a:xfrm>
          <a:custGeom>
            <a:avLst/>
            <a:gdLst>
              <a:gd name="T0" fmla="*/ 2147483647 w 40"/>
              <a:gd name="T1" fmla="*/ 0 h 32"/>
              <a:gd name="T2" fmla="*/ 2147483647 w 40"/>
              <a:gd name="T3" fmla="*/ 0 h 32"/>
              <a:gd name="T4" fmla="*/ 2147483647 w 40"/>
              <a:gd name="T5" fmla="*/ 2147483647 h 32"/>
              <a:gd name="T6" fmla="*/ 2147483647 w 40"/>
              <a:gd name="T7" fmla="*/ 2147483647 h 32"/>
              <a:gd name="T8" fmla="*/ 2147483647 w 40"/>
              <a:gd name="T9" fmla="*/ 2147483647 h 32"/>
              <a:gd name="T10" fmla="*/ 2147483647 w 40"/>
              <a:gd name="T11" fmla="*/ 2147483647 h 32"/>
              <a:gd name="T12" fmla="*/ 2147483647 w 40"/>
              <a:gd name="T13" fmla="*/ 2147483647 h 32"/>
              <a:gd name="T14" fmla="*/ 0 w 40"/>
              <a:gd name="T15" fmla="*/ 2147483647 h 32"/>
              <a:gd name="T16" fmla="*/ 2147483647 w 40"/>
              <a:gd name="T17" fmla="*/ 2147483647 h 32"/>
              <a:gd name="T18" fmla="*/ 2147483647 w 40"/>
              <a:gd name="T19" fmla="*/ 2147483647 h 32"/>
              <a:gd name="T20" fmla="*/ 2147483647 w 40"/>
              <a:gd name="T21" fmla="*/ 0 h 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40" h="32">
                <a:moveTo>
                  <a:pt x="40" y="0"/>
                </a:moveTo>
                <a:lnTo>
                  <a:pt x="24" y="0"/>
                </a:lnTo>
                <a:lnTo>
                  <a:pt x="16" y="8"/>
                </a:lnTo>
                <a:lnTo>
                  <a:pt x="24" y="8"/>
                </a:lnTo>
                <a:lnTo>
                  <a:pt x="32" y="24"/>
                </a:lnTo>
                <a:lnTo>
                  <a:pt x="16" y="24"/>
                </a:lnTo>
                <a:lnTo>
                  <a:pt x="8" y="24"/>
                </a:lnTo>
                <a:lnTo>
                  <a:pt x="0" y="24"/>
                </a:lnTo>
                <a:lnTo>
                  <a:pt x="8" y="32"/>
                </a:lnTo>
                <a:lnTo>
                  <a:pt x="32" y="32"/>
                </a:lnTo>
                <a:lnTo>
                  <a:pt x="4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0" name="Freeform 282"/>
          <p:cNvSpPr>
            <a:spLocks noChangeAspect="1"/>
          </p:cNvSpPr>
          <p:nvPr/>
        </p:nvSpPr>
        <p:spPr bwMode="auto">
          <a:xfrm>
            <a:off x="8821167" y="4714041"/>
            <a:ext cx="142875" cy="150813"/>
          </a:xfrm>
          <a:custGeom>
            <a:avLst/>
            <a:gdLst>
              <a:gd name="T0" fmla="*/ 0 w 64"/>
              <a:gd name="T1" fmla="*/ 2147483647 h 72"/>
              <a:gd name="T2" fmla="*/ 0 w 64"/>
              <a:gd name="T3" fmla="*/ 0 h 72"/>
              <a:gd name="T4" fmla="*/ 2147483647 w 64"/>
              <a:gd name="T5" fmla="*/ 0 h 72"/>
              <a:gd name="T6" fmla="*/ 2147483647 w 64"/>
              <a:gd name="T7" fmla="*/ 2147483647 h 72"/>
              <a:gd name="T8" fmla="*/ 2147483647 w 64"/>
              <a:gd name="T9" fmla="*/ 2147483647 h 72"/>
              <a:gd name="T10" fmla="*/ 2147483647 w 64"/>
              <a:gd name="T11" fmla="*/ 2147483647 h 72"/>
              <a:gd name="T12" fmla="*/ 2147483647 w 64"/>
              <a:gd name="T13" fmla="*/ 2147483647 h 72"/>
              <a:gd name="T14" fmla="*/ 2147483647 w 64"/>
              <a:gd name="T15" fmla="*/ 2147483647 h 72"/>
              <a:gd name="T16" fmla="*/ 2147483647 w 64"/>
              <a:gd name="T17" fmla="*/ 2147483647 h 72"/>
              <a:gd name="T18" fmla="*/ 2147483647 w 64"/>
              <a:gd name="T19" fmla="*/ 2147483647 h 72"/>
              <a:gd name="T20" fmla="*/ 0 w 64"/>
              <a:gd name="T21" fmla="*/ 2147483647 h 7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64" h="72">
                <a:moveTo>
                  <a:pt x="0" y="56"/>
                </a:moveTo>
                <a:lnTo>
                  <a:pt x="0" y="0"/>
                </a:lnTo>
                <a:lnTo>
                  <a:pt x="8" y="0"/>
                </a:lnTo>
                <a:lnTo>
                  <a:pt x="24" y="16"/>
                </a:lnTo>
                <a:lnTo>
                  <a:pt x="24" y="8"/>
                </a:lnTo>
                <a:lnTo>
                  <a:pt x="56" y="24"/>
                </a:lnTo>
                <a:lnTo>
                  <a:pt x="64" y="40"/>
                </a:lnTo>
                <a:lnTo>
                  <a:pt x="64" y="56"/>
                </a:lnTo>
                <a:lnTo>
                  <a:pt x="56" y="64"/>
                </a:lnTo>
                <a:lnTo>
                  <a:pt x="32" y="72"/>
                </a:lnTo>
                <a:lnTo>
                  <a:pt x="0" y="5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1" name="Freeform 283"/>
          <p:cNvSpPr>
            <a:spLocks noChangeAspect="1"/>
          </p:cNvSpPr>
          <p:nvPr/>
        </p:nvSpPr>
        <p:spPr bwMode="auto">
          <a:xfrm>
            <a:off x="8271892" y="3590091"/>
            <a:ext cx="1138237" cy="1239838"/>
          </a:xfrm>
          <a:custGeom>
            <a:avLst/>
            <a:gdLst>
              <a:gd name="T0" fmla="*/ 2147483647 w 512"/>
              <a:gd name="T1" fmla="*/ 2147483647 h 592"/>
              <a:gd name="T2" fmla="*/ 2147483647 w 512"/>
              <a:gd name="T3" fmla="*/ 2147483647 h 592"/>
              <a:gd name="T4" fmla="*/ 2147483647 w 512"/>
              <a:gd name="T5" fmla="*/ 2147483647 h 592"/>
              <a:gd name="T6" fmla="*/ 2147483647 w 512"/>
              <a:gd name="T7" fmla="*/ 2147483647 h 592"/>
              <a:gd name="T8" fmla="*/ 2147483647 w 512"/>
              <a:gd name="T9" fmla="*/ 2147483647 h 592"/>
              <a:gd name="T10" fmla="*/ 2147483647 w 512"/>
              <a:gd name="T11" fmla="*/ 0 h 592"/>
              <a:gd name="T12" fmla="*/ 2147483647 w 512"/>
              <a:gd name="T13" fmla="*/ 2147483647 h 592"/>
              <a:gd name="T14" fmla="*/ 2147483647 w 512"/>
              <a:gd name="T15" fmla="*/ 2147483647 h 592"/>
              <a:gd name="T16" fmla="*/ 2147483647 w 512"/>
              <a:gd name="T17" fmla="*/ 2147483647 h 592"/>
              <a:gd name="T18" fmla="*/ 2147483647 w 512"/>
              <a:gd name="T19" fmla="*/ 2147483647 h 592"/>
              <a:gd name="T20" fmla="*/ 2147483647 w 512"/>
              <a:gd name="T21" fmla="*/ 2147483647 h 592"/>
              <a:gd name="T22" fmla="*/ 2147483647 w 512"/>
              <a:gd name="T23" fmla="*/ 2147483647 h 592"/>
              <a:gd name="T24" fmla="*/ 2147483647 w 512"/>
              <a:gd name="T25" fmla="*/ 2147483647 h 592"/>
              <a:gd name="T26" fmla="*/ 2147483647 w 512"/>
              <a:gd name="T27" fmla="*/ 2147483647 h 592"/>
              <a:gd name="T28" fmla="*/ 2147483647 w 512"/>
              <a:gd name="T29" fmla="*/ 2147483647 h 592"/>
              <a:gd name="T30" fmla="*/ 0 w 512"/>
              <a:gd name="T31" fmla="*/ 2147483647 h 592"/>
              <a:gd name="T32" fmla="*/ 2147483647 w 512"/>
              <a:gd name="T33" fmla="*/ 2147483647 h 592"/>
              <a:gd name="T34" fmla="*/ 2147483647 w 512"/>
              <a:gd name="T35" fmla="*/ 2147483647 h 592"/>
              <a:gd name="T36" fmla="*/ 2147483647 w 512"/>
              <a:gd name="T37" fmla="*/ 2147483647 h 592"/>
              <a:gd name="T38" fmla="*/ 2147483647 w 512"/>
              <a:gd name="T39" fmla="*/ 2147483647 h 592"/>
              <a:gd name="T40" fmla="*/ 2147483647 w 512"/>
              <a:gd name="T41" fmla="*/ 2147483647 h 592"/>
              <a:gd name="T42" fmla="*/ 2147483647 w 512"/>
              <a:gd name="T43" fmla="*/ 2147483647 h 592"/>
              <a:gd name="T44" fmla="*/ 2147483647 w 512"/>
              <a:gd name="T45" fmla="*/ 2147483647 h 592"/>
              <a:gd name="T46" fmla="*/ 2147483647 w 512"/>
              <a:gd name="T47" fmla="*/ 2147483647 h 592"/>
              <a:gd name="T48" fmla="*/ 2147483647 w 512"/>
              <a:gd name="T49" fmla="*/ 2147483647 h 592"/>
              <a:gd name="T50" fmla="*/ 2147483647 w 512"/>
              <a:gd name="T51" fmla="*/ 2147483647 h 592"/>
              <a:gd name="T52" fmla="*/ 2147483647 w 512"/>
              <a:gd name="T53" fmla="*/ 2147483647 h 592"/>
              <a:gd name="T54" fmla="*/ 2147483647 w 512"/>
              <a:gd name="T55" fmla="*/ 2147483647 h 592"/>
              <a:gd name="T56" fmla="*/ 2147483647 w 512"/>
              <a:gd name="T57" fmla="*/ 2147483647 h 592"/>
              <a:gd name="T58" fmla="*/ 2147483647 w 512"/>
              <a:gd name="T59" fmla="*/ 2147483647 h 592"/>
              <a:gd name="T60" fmla="*/ 2147483647 w 512"/>
              <a:gd name="T61" fmla="*/ 2147483647 h 592"/>
              <a:gd name="T62" fmla="*/ 2147483647 w 512"/>
              <a:gd name="T63" fmla="*/ 2147483647 h 592"/>
              <a:gd name="T64" fmla="*/ 2147483647 w 512"/>
              <a:gd name="T65" fmla="*/ 2147483647 h 592"/>
              <a:gd name="T66" fmla="*/ 2147483647 w 512"/>
              <a:gd name="T67" fmla="*/ 2147483647 h 592"/>
              <a:gd name="T68" fmla="*/ 2147483647 w 512"/>
              <a:gd name="T69" fmla="*/ 2147483647 h 592"/>
              <a:gd name="T70" fmla="*/ 2147483647 w 512"/>
              <a:gd name="T71" fmla="*/ 2147483647 h 592"/>
              <a:gd name="T72" fmla="*/ 2147483647 w 512"/>
              <a:gd name="T73" fmla="*/ 2147483647 h 592"/>
              <a:gd name="T74" fmla="*/ 2147483647 w 512"/>
              <a:gd name="T75" fmla="*/ 2147483647 h 592"/>
              <a:gd name="T76" fmla="*/ 2147483647 w 512"/>
              <a:gd name="T77" fmla="*/ 2147483647 h 592"/>
              <a:gd name="T78" fmla="*/ 2147483647 w 512"/>
              <a:gd name="T79" fmla="*/ 2147483647 h 592"/>
              <a:gd name="T80" fmla="*/ 2147483647 w 512"/>
              <a:gd name="T81" fmla="*/ 2147483647 h 592"/>
              <a:gd name="T82" fmla="*/ 2147483647 w 512"/>
              <a:gd name="T83" fmla="*/ 2147483647 h 592"/>
              <a:gd name="T84" fmla="*/ 2147483647 w 512"/>
              <a:gd name="T85" fmla="*/ 2147483647 h 592"/>
              <a:gd name="T86" fmla="*/ 2147483647 w 512"/>
              <a:gd name="T87" fmla="*/ 2147483647 h 592"/>
              <a:gd name="T88" fmla="*/ 2147483647 w 512"/>
              <a:gd name="T89" fmla="*/ 2147483647 h 592"/>
              <a:gd name="T90" fmla="*/ 2147483647 w 512"/>
              <a:gd name="T91" fmla="*/ 2147483647 h 592"/>
              <a:gd name="T92" fmla="*/ 2147483647 w 512"/>
              <a:gd name="T93" fmla="*/ 2147483647 h 592"/>
              <a:gd name="T94" fmla="*/ 2147483647 w 512"/>
              <a:gd name="T95" fmla="*/ 2147483647 h 592"/>
              <a:gd name="T96" fmla="*/ 2147483647 w 512"/>
              <a:gd name="T97" fmla="*/ 2147483647 h 592"/>
              <a:gd name="T98" fmla="*/ 2147483647 w 512"/>
              <a:gd name="T99" fmla="*/ 2147483647 h 592"/>
              <a:gd name="T100" fmla="*/ 2147483647 w 512"/>
              <a:gd name="T101" fmla="*/ 2147483647 h 592"/>
              <a:gd name="T102" fmla="*/ 2147483647 w 512"/>
              <a:gd name="T103" fmla="*/ 2147483647 h 592"/>
              <a:gd name="T104" fmla="*/ 2147483647 w 512"/>
              <a:gd name="T105" fmla="*/ 2147483647 h 592"/>
              <a:gd name="T106" fmla="*/ 2147483647 w 512"/>
              <a:gd name="T107" fmla="*/ 2147483647 h 592"/>
              <a:gd name="T108" fmla="*/ 2147483647 w 512"/>
              <a:gd name="T109" fmla="*/ 2147483647 h 592"/>
              <a:gd name="T110" fmla="*/ 2147483647 w 512"/>
              <a:gd name="T111" fmla="*/ 2147483647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12" h="592">
                <a:moveTo>
                  <a:pt x="288" y="16"/>
                </a:moveTo>
                <a:lnTo>
                  <a:pt x="272" y="48"/>
                </a:lnTo>
                <a:lnTo>
                  <a:pt x="256" y="48"/>
                </a:lnTo>
                <a:lnTo>
                  <a:pt x="232" y="40"/>
                </a:lnTo>
                <a:lnTo>
                  <a:pt x="232" y="48"/>
                </a:lnTo>
                <a:lnTo>
                  <a:pt x="224" y="48"/>
                </a:lnTo>
                <a:lnTo>
                  <a:pt x="216" y="48"/>
                </a:lnTo>
                <a:lnTo>
                  <a:pt x="192" y="56"/>
                </a:lnTo>
                <a:lnTo>
                  <a:pt x="184" y="56"/>
                </a:lnTo>
                <a:lnTo>
                  <a:pt x="176" y="40"/>
                </a:lnTo>
                <a:lnTo>
                  <a:pt x="184" y="16"/>
                </a:lnTo>
                <a:lnTo>
                  <a:pt x="176" y="0"/>
                </a:lnTo>
                <a:lnTo>
                  <a:pt x="168" y="0"/>
                </a:lnTo>
                <a:lnTo>
                  <a:pt x="168" y="8"/>
                </a:lnTo>
                <a:lnTo>
                  <a:pt x="136" y="24"/>
                </a:lnTo>
                <a:lnTo>
                  <a:pt x="112" y="16"/>
                </a:lnTo>
                <a:lnTo>
                  <a:pt x="120" y="24"/>
                </a:lnTo>
                <a:lnTo>
                  <a:pt x="120" y="40"/>
                </a:lnTo>
                <a:lnTo>
                  <a:pt x="128" y="48"/>
                </a:lnTo>
                <a:lnTo>
                  <a:pt x="104" y="64"/>
                </a:lnTo>
                <a:lnTo>
                  <a:pt x="88" y="64"/>
                </a:lnTo>
                <a:lnTo>
                  <a:pt x="88" y="56"/>
                </a:lnTo>
                <a:lnTo>
                  <a:pt x="80" y="48"/>
                </a:lnTo>
                <a:lnTo>
                  <a:pt x="48" y="56"/>
                </a:lnTo>
                <a:lnTo>
                  <a:pt x="48" y="64"/>
                </a:lnTo>
                <a:lnTo>
                  <a:pt x="56" y="72"/>
                </a:lnTo>
                <a:lnTo>
                  <a:pt x="40" y="72"/>
                </a:lnTo>
                <a:lnTo>
                  <a:pt x="48" y="96"/>
                </a:lnTo>
                <a:lnTo>
                  <a:pt x="48" y="144"/>
                </a:lnTo>
                <a:lnTo>
                  <a:pt x="16" y="152"/>
                </a:lnTo>
                <a:lnTo>
                  <a:pt x="8" y="168"/>
                </a:lnTo>
                <a:lnTo>
                  <a:pt x="0" y="192"/>
                </a:lnTo>
                <a:lnTo>
                  <a:pt x="8" y="216"/>
                </a:lnTo>
                <a:lnTo>
                  <a:pt x="24" y="232"/>
                </a:lnTo>
                <a:lnTo>
                  <a:pt x="40" y="224"/>
                </a:lnTo>
                <a:lnTo>
                  <a:pt x="40" y="240"/>
                </a:lnTo>
                <a:lnTo>
                  <a:pt x="56" y="240"/>
                </a:lnTo>
                <a:lnTo>
                  <a:pt x="72" y="248"/>
                </a:lnTo>
                <a:lnTo>
                  <a:pt x="88" y="224"/>
                </a:lnTo>
                <a:lnTo>
                  <a:pt x="112" y="224"/>
                </a:lnTo>
                <a:lnTo>
                  <a:pt x="112" y="248"/>
                </a:lnTo>
                <a:lnTo>
                  <a:pt x="120" y="264"/>
                </a:lnTo>
                <a:lnTo>
                  <a:pt x="176" y="288"/>
                </a:lnTo>
                <a:lnTo>
                  <a:pt x="184" y="304"/>
                </a:lnTo>
                <a:lnTo>
                  <a:pt x="184" y="312"/>
                </a:lnTo>
                <a:lnTo>
                  <a:pt x="184" y="320"/>
                </a:lnTo>
                <a:lnTo>
                  <a:pt x="208" y="328"/>
                </a:lnTo>
                <a:lnTo>
                  <a:pt x="208" y="336"/>
                </a:lnTo>
                <a:lnTo>
                  <a:pt x="224" y="352"/>
                </a:lnTo>
                <a:lnTo>
                  <a:pt x="216" y="384"/>
                </a:lnTo>
                <a:lnTo>
                  <a:pt x="224" y="408"/>
                </a:lnTo>
                <a:lnTo>
                  <a:pt x="248" y="416"/>
                </a:lnTo>
                <a:lnTo>
                  <a:pt x="256" y="416"/>
                </a:lnTo>
                <a:lnTo>
                  <a:pt x="256" y="440"/>
                </a:lnTo>
                <a:lnTo>
                  <a:pt x="272" y="440"/>
                </a:lnTo>
                <a:lnTo>
                  <a:pt x="272" y="464"/>
                </a:lnTo>
                <a:lnTo>
                  <a:pt x="280" y="464"/>
                </a:lnTo>
                <a:lnTo>
                  <a:pt x="288" y="488"/>
                </a:lnTo>
                <a:lnTo>
                  <a:pt x="280" y="496"/>
                </a:lnTo>
                <a:lnTo>
                  <a:pt x="248" y="536"/>
                </a:lnTo>
                <a:lnTo>
                  <a:pt x="256" y="536"/>
                </a:lnTo>
                <a:lnTo>
                  <a:pt x="272" y="552"/>
                </a:lnTo>
                <a:lnTo>
                  <a:pt x="272" y="544"/>
                </a:lnTo>
                <a:lnTo>
                  <a:pt x="304" y="560"/>
                </a:lnTo>
                <a:lnTo>
                  <a:pt x="312" y="576"/>
                </a:lnTo>
                <a:lnTo>
                  <a:pt x="312" y="592"/>
                </a:lnTo>
                <a:lnTo>
                  <a:pt x="320" y="568"/>
                </a:lnTo>
                <a:lnTo>
                  <a:pt x="336" y="552"/>
                </a:lnTo>
                <a:lnTo>
                  <a:pt x="344" y="528"/>
                </a:lnTo>
                <a:lnTo>
                  <a:pt x="360" y="512"/>
                </a:lnTo>
                <a:lnTo>
                  <a:pt x="352" y="472"/>
                </a:lnTo>
                <a:lnTo>
                  <a:pt x="376" y="448"/>
                </a:lnTo>
                <a:lnTo>
                  <a:pt x="384" y="440"/>
                </a:lnTo>
                <a:lnTo>
                  <a:pt x="392" y="440"/>
                </a:lnTo>
                <a:lnTo>
                  <a:pt x="392" y="432"/>
                </a:lnTo>
                <a:lnTo>
                  <a:pt x="400" y="432"/>
                </a:lnTo>
                <a:lnTo>
                  <a:pt x="400" y="424"/>
                </a:lnTo>
                <a:lnTo>
                  <a:pt x="432" y="424"/>
                </a:lnTo>
                <a:lnTo>
                  <a:pt x="432" y="416"/>
                </a:lnTo>
                <a:lnTo>
                  <a:pt x="448" y="408"/>
                </a:lnTo>
                <a:lnTo>
                  <a:pt x="448" y="400"/>
                </a:lnTo>
                <a:lnTo>
                  <a:pt x="464" y="376"/>
                </a:lnTo>
                <a:lnTo>
                  <a:pt x="464" y="352"/>
                </a:lnTo>
                <a:lnTo>
                  <a:pt x="464" y="344"/>
                </a:lnTo>
                <a:lnTo>
                  <a:pt x="464" y="280"/>
                </a:lnTo>
                <a:lnTo>
                  <a:pt x="504" y="224"/>
                </a:lnTo>
                <a:lnTo>
                  <a:pt x="512" y="200"/>
                </a:lnTo>
                <a:lnTo>
                  <a:pt x="512" y="184"/>
                </a:lnTo>
                <a:lnTo>
                  <a:pt x="504" y="160"/>
                </a:lnTo>
                <a:lnTo>
                  <a:pt x="488" y="152"/>
                </a:lnTo>
                <a:lnTo>
                  <a:pt x="448" y="120"/>
                </a:lnTo>
                <a:lnTo>
                  <a:pt x="424" y="128"/>
                </a:lnTo>
                <a:lnTo>
                  <a:pt x="400" y="112"/>
                </a:lnTo>
                <a:lnTo>
                  <a:pt x="384" y="120"/>
                </a:lnTo>
                <a:lnTo>
                  <a:pt x="384" y="112"/>
                </a:lnTo>
                <a:lnTo>
                  <a:pt x="384" y="104"/>
                </a:lnTo>
                <a:lnTo>
                  <a:pt x="376" y="104"/>
                </a:lnTo>
                <a:lnTo>
                  <a:pt x="368" y="96"/>
                </a:lnTo>
                <a:lnTo>
                  <a:pt x="344" y="88"/>
                </a:lnTo>
                <a:lnTo>
                  <a:pt x="336" y="88"/>
                </a:lnTo>
                <a:lnTo>
                  <a:pt x="328" y="104"/>
                </a:lnTo>
                <a:lnTo>
                  <a:pt x="336" y="80"/>
                </a:lnTo>
                <a:lnTo>
                  <a:pt x="328" y="80"/>
                </a:lnTo>
                <a:lnTo>
                  <a:pt x="304" y="88"/>
                </a:lnTo>
                <a:lnTo>
                  <a:pt x="304" y="104"/>
                </a:lnTo>
                <a:lnTo>
                  <a:pt x="296" y="96"/>
                </a:lnTo>
                <a:lnTo>
                  <a:pt x="296" y="80"/>
                </a:lnTo>
                <a:lnTo>
                  <a:pt x="312" y="64"/>
                </a:lnTo>
                <a:lnTo>
                  <a:pt x="312" y="56"/>
                </a:lnTo>
                <a:lnTo>
                  <a:pt x="304" y="48"/>
                </a:lnTo>
                <a:lnTo>
                  <a:pt x="296" y="24"/>
                </a:lnTo>
                <a:lnTo>
                  <a:pt x="288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2" name="Freeform 286"/>
          <p:cNvSpPr>
            <a:spLocks noChangeAspect="1"/>
          </p:cNvSpPr>
          <p:nvPr/>
        </p:nvSpPr>
        <p:spPr bwMode="auto">
          <a:xfrm>
            <a:off x="8040117" y="3758366"/>
            <a:ext cx="388937" cy="568325"/>
          </a:xfrm>
          <a:custGeom>
            <a:avLst/>
            <a:gdLst>
              <a:gd name="T0" fmla="*/ 2147483647 w 176"/>
              <a:gd name="T1" fmla="*/ 2147483647 h 272"/>
              <a:gd name="T2" fmla="*/ 0 w 176"/>
              <a:gd name="T3" fmla="*/ 2147483647 h 272"/>
              <a:gd name="T4" fmla="*/ 2147483647 w 176"/>
              <a:gd name="T5" fmla="*/ 2147483647 h 272"/>
              <a:gd name="T6" fmla="*/ 0 w 176"/>
              <a:gd name="T7" fmla="*/ 2147483647 h 272"/>
              <a:gd name="T8" fmla="*/ 2147483647 w 176"/>
              <a:gd name="T9" fmla="*/ 2147483647 h 272"/>
              <a:gd name="T10" fmla="*/ 2147483647 w 176"/>
              <a:gd name="T11" fmla="*/ 2147483647 h 272"/>
              <a:gd name="T12" fmla="*/ 2147483647 w 176"/>
              <a:gd name="T13" fmla="*/ 2147483647 h 272"/>
              <a:gd name="T14" fmla="*/ 2147483647 w 176"/>
              <a:gd name="T15" fmla="*/ 2147483647 h 272"/>
              <a:gd name="T16" fmla="*/ 2147483647 w 176"/>
              <a:gd name="T17" fmla="*/ 2147483647 h 272"/>
              <a:gd name="T18" fmla="*/ 2147483647 w 176"/>
              <a:gd name="T19" fmla="*/ 2147483647 h 272"/>
              <a:gd name="T20" fmla="*/ 2147483647 w 176"/>
              <a:gd name="T21" fmla="*/ 2147483647 h 272"/>
              <a:gd name="T22" fmla="*/ 2147483647 w 176"/>
              <a:gd name="T23" fmla="*/ 2147483647 h 272"/>
              <a:gd name="T24" fmla="*/ 2147483647 w 176"/>
              <a:gd name="T25" fmla="*/ 2147483647 h 272"/>
              <a:gd name="T26" fmla="*/ 2147483647 w 176"/>
              <a:gd name="T27" fmla="*/ 2147483647 h 272"/>
              <a:gd name="T28" fmla="*/ 2147483647 w 176"/>
              <a:gd name="T29" fmla="*/ 2147483647 h 272"/>
              <a:gd name="T30" fmla="*/ 2147483647 w 176"/>
              <a:gd name="T31" fmla="*/ 2147483647 h 272"/>
              <a:gd name="T32" fmla="*/ 2147483647 w 176"/>
              <a:gd name="T33" fmla="*/ 2147483647 h 272"/>
              <a:gd name="T34" fmla="*/ 2147483647 w 176"/>
              <a:gd name="T35" fmla="*/ 2147483647 h 272"/>
              <a:gd name="T36" fmla="*/ 2147483647 w 176"/>
              <a:gd name="T37" fmla="*/ 2147483647 h 272"/>
              <a:gd name="T38" fmla="*/ 2147483647 w 176"/>
              <a:gd name="T39" fmla="*/ 2147483647 h 272"/>
              <a:gd name="T40" fmla="*/ 2147483647 w 176"/>
              <a:gd name="T41" fmla="*/ 2147483647 h 272"/>
              <a:gd name="T42" fmla="*/ 2147483647 w 176"/>
              <a:gd name="T43" fmla="*/ 2147483647 h 272"/>
              <a:gd name="T44" fmla="*/ 2147483647 w 176"/>
              <a:gd name="T45" fmla="*/ 2147483647 h 272"/>
              <a:gd name="T46" fmla="*/ 2147483647 w 176"/>
              <a:gd name="T47" fmla="*/ 2147483647 h 272"/>
              <a:gd name="T48" fmla="*/ 2147483647 w 176"/>
              <a:gd name="T49" fmla="*/ 2147483647 h 272"/>
              <a:gd name="T50" fmla="*/ 2147483647 w 176"/>
              <a:gd name="T51" fmla="*/ 2147483647 h 272"/>
              <a:gd name="T52" fmla="*/ 2147483647 w 176"/>
              <a:gd name="T53" fmla="*/ 0 h 272"/>
              <a:gd name="T54" fmla="*/ 2147483647 w 176"/>
              <a:gd name="T55" fmla="*/ 0 h 272"/>
              <a:gd name="T56" fmla="*/ 2147483647 w 176"/>
              <a:gd name="T57" fmla="*/ 2147483647 h 272"/>
              <a:gd name="T58" fmla="*/ 2147483647 w 176"/>
              <a:gd name="T59" fmla="*/ 2147483647 h 272"/>
              <a:gd name="T60" fmla="*/ 2147483647 w 176"/>
              <a:gd name="T61" fmla="*/ 2147483647 h 272"/>
              <a:gd name="T62" fmla="*/ 2147483647 w 176"/>
              <a:gd name="T63" fmla="*/ 2147483647 h 272"/>
              <a:gd name="T64" fmla="*/ 2147483647 w 176"/>
              <a:gd name="T65" fmla="*/ 2147483647 h 272"/>
              <a:gd name="T66" fmla="*/ 2147483647 w 176"/>
              <a:gd name="T67" fmla="*/ 2147483647 h 272"/>
              <a:gd name="T68" fmla="*/ 2147483647 w 176"/>
              <a:gd name="T69" fmla="*/ 2147483647 h 27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76" h="272">
                <a:moveTo>
                  <a:pt x="8" y="48"/>
                </a:moveTo>
                <a:lnTo>
                  <a:pt x="0" y="64"/>
                </a:lnTo>
                <a:lnTo>
                  <a:pt x="8" y="88"/>
                </a:lnTo>
                <a:lnTo>
                  <a:pt x="0" y="88"/>
                </a:lnTo>
                <a:lnTo>
                  <a:pt x="16" y="104"/>
                </a:lnTo>
                <a:lnTo>
                  <a:pt x="32" y="128"/>
                </a:lnTo>
                <a:lnTo>
                  <a:pt x="80" y="224"/>
                </a:lnTo>
                <a:lnTo>
                  <a:pt x="152" y="272"/>
                </a:lnTo>
                <a:lnTo>
                  <a:pt x="168" y="264"/>
                </a:lnTo>
                <a:lnTo>
                  <a:pt x="176" y="248"/>
                </a:lnTo>
                <a:lnTo>
                  <a:pt x="168" y="240"/>
                </a:lnTo>
                <a:lnTo>
                  <a:pt x="168" y="184"/>
                </a:lnTo>
                <a:lnTo>
                  <a:pt x="160" y="160"/>
                </a:lnTo>
                <a:lnTo>
                  <a:pt x="144" y="160"/>
                </a:lnTo>
                <a:lnTo>
                  <a:pt x="144" y="144"/>
                </a:lnTo>
                <a:lnTo>
                  <a:pt x="128" y="152"/>
                </a:lnTo>
                <a:lnTo>
                  <a:pt x="112" y="136"/>
                </a:lnTo>
                <a:lnTo>
                  <a:pt x="104" y="112"/>
                </a:lnTo>
                <a:lnTo>
                  <a:pt x="112" y="88"/>
                </a:lnTo>
                <a:lnTo>
                  <a:pt x="120" y="72"/>
                </a:lnTo>
                <a:lnTo>
                  <a:pt x="152" y="64"/>
                </a:lnTo>
                <a:lnTo>
                  <a:pt x="144" y="56"/>
                </a:lnTo>
                <a:lnTo>
                  <a:pt x="144" y="40"/>
                </a:lnTo>
                <a:lnTo>
                  <a:pt x="136" y="32"/>
                </a:lnTo>
                <a:lnTo>
                  <a:pt x="104" y="40"/>
                </a:lnTo>
                <a:lnTo>
                  <a:pt x="96" y="16"/>
                </a:lnTo>
                <a:lnTo>
                  <a:pt x="80" y="0"/>
                </a:lnTo>
                <a:lnTo>
                  <a:pt x="72" y="0"/>
                </a:lnTo>
                <a:lnTo>
                  <a:pt x="80" y="16"/>
                </a:lnTo>
                <a:lnTo>
                  <a:pt x="72" y="24"/>
                </a:lnTo>
                <a:lnTo>
                  <a:pt x="64" y="40"/>
                </a:lnTo>
                <a:lnTo>
                  <a:pt x="40" y="48"/>
                </a:lnTo>
                <a:lnTo>
                  <a:pt x="24" y="72"/>
                </a:lnTo>
                <a:lnTo>
                  <a:pt x="8" y="64"/>
                </a:lnTo>
                <a:lnTo>
                  <a:pt x="8" y="4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3" name="Freeform 287"/>
          <p:cNvSpPr>
            <a:spLocks noChangeAspect="1"/>
          </p:cNvSpPr>
          <p:nvPr/>
        </p:nvSpPr>
        <p:spPr bwMode="auto">
          <a:xfrm>
            <a:off x="8040117" y="3707566"/>
            <a:ext cx="179387" cy="201613"/>
          </a:xfrm>
          <a:custGeom>
            <a:avLst/>
            <a:gdLst>
              <a:gd name="T0" fmla="*/ 2147483647 w 80"/>
              <a:gd name="T1" fmla="*/ 2147483647 h 96"/>
              <a:gd name="T2" fmla="*/ 2147483647 w 80"/>
              <a:gd name="T3" fmla="*/ 2147483647 h 96"/>
              <a:gd name="T4" fmla="*/ 2147483647 w 80"/>
              <a:gd name="T5" fmla="*/ 2147483647 h 96"/>
              <a:gd name="T6" fmla="*/ 2147483647 w 80"/>
              <a:gd name="T7" fmla="*/ 2147483647 h 96"/>
              <a:gd name="T8" fmla="*/ 2147483647 w 80"/>
              <a:gd name="T9" fmla="*/ 2147483647 h 96"/>
              <a:gd name="T10" fmla="*/ 2147483647 w 80"/>
              <a:gd name="T11" fmla="*/ 2147483647 h 96"/>
              <a:gd name="T12" fmla="*/ 2147483647 w 80"/>
              <a:gd name="T13" fmla="*/ 2147483647 h 96"/>
              <a:gd name="T14" fmla="*/ 2147483647 w 80"/>
              <a:gd name="T15" fmla="*/ 2147483647 h 96"/>
              <a:gd name="T16" fmla="*/ 2147483647 w 80"/>
              <a:gd name="T17" fmla="*/ 2147483647 h 96"/>
              <a:gd name="T18" fmla="*/ 2147483647 w 80"/>
              <a:gd name="T19" fmla="*/ 2147483647 h 96"/>
              <a:gd name="T20" fmla="*/ 2147483647 w 80"/>
              <a:gd name="T21" fmla="*/ 2147483647 h 96"/>
              <a:gd name="T22" fmla="*/ 2147483647 w 80"/>
              <a:gd name="T23" fmla="*/ 0 h 96"/>
              <a:gd name="T24" fmla="*/ 2147483647 w 80"/>
              <a:gd name="T25" fmla="*/ 2147483647 h 96"/>
              <a:gd name="T26" fmla="*/ 2147483647 w 80"/>
              <a:gd name="T27" fmla="*/ 2147483647 h 96"/>
              <a:gd name="T28" fmla="*/ 2147483647 w 80"/>
              <a:gd name="T29" fmla="*/ 2147483647 h 96"/>
              <a:gd name="T30" fmla="*/ 2147483647 w 80"/>
              <a:gd name="T31" fmla="*/ 2147483647 h 96"/>
              <a:gd name="T32" fmla="*/ 0 w 80"/>
              <a:gd name="T33" fmla="*/ 2147483647 h 96"/>
              <a:gd name="T34" fmla="*/ 0 w 80"/>
              <a:gd name="T35" fmla="*/ 2147483647 h 96"/>
              <a:gd name="T36" fmla="*/ 2147483647 w 80"/>
              <a:gd name="T37" fmla="*/ 2147483647 h 96"/>
              <a:gd name="T38" fmla="*/ 2147483647 w 80"/>
              <a:gd name="T39" fmla="*/ 2147483647 h 96"/>
              <a:gd name="T40" fmla="*/ 2147483647 w 80"/>
              <a:gd name="T41" fmla="*/ 2147483647 h 96"/>
              <a:gd name="T42" fmla="*/ 2147483647 w 80"/>
              <a:gd name="T43" fmla="*/ 2147483647 h 9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80" h="96">
                <a:moveTo>
                  <a:pt x="8" y="72"/>
                </a:moveTo>
                <a:lnTo>
                  <a:pt x="8" y="88"/>
                </a:lnTo>
                <a:lnTo>
                  <a:pt x="24" y="96"/>
                </a:lnTo>
                <a:lnTo>
                  <a:pt x="40" y="72"/>
                </a:lnTo>
                <a:lnTo>
                  <a:pt x="64" y="64"/>
                </a:lnTo>
                <a:lnTo>
                  <a:pt x="72" y="48"/>
                </a:lnTo>
                <a:lnTo>
                  <a:pt x="80" y="40"/>
                </a:lnTo>
                <a:lnTo>
                  <a:pt x="72" y="24"/>
                </a:lnTo>
                <a:lnTo>
                  <a:pt x="80" y="24"/>
                </a:lnTo>
                <a:lnTo>
                  <a:pt x="72" y="16"/>
                </a:lnTo>
                <a:lnTo>
                  <a:pt x="48" y="24"/>
                </a:lnTo>
                <a:lnTo>
                  <a:pt x="32" y="0"/>
                </a:lnTo>
                <a:lnTo>
                  <a:pt x="16" y="16"/>
                </a:lnTo>
                <a:lnTo>
                  <a:pt x="16" y="24"/>
                </a:lnTo>
                <a:lnTo>
                  <a:pt x="8" y="24"/>
                </a:lnTo>
                <a:lnTo>
                  <a:pt x="8" y="32"/>
                </a:lnTo>
                <a:lnTo>
                  <a:pt x="0" y="40"/>
                </a:lnTo>
                <a:lnTo>
                  <a:pt x="0" y="56"/>
                </a:lnTo>
                <a:lnTo>
                  <a:pt x="16" y="72"/>
                </a:lnTo>
                <a:lnTo>
                  <a:pt x="16" y="64"/>
                </a:lnTo>
                <a:lnTo>
                  <a:pt x="16" y="72"/>
                </a:lnTo>
                <a:lnTo>
                  <a:pt x="8" y="7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4" name="Freeform 288"/>
          <p:cNvSpPr>
            <a:spLocks noChangeAspect="1"/>
          </p:cNvSpPr>
          <p:nvPr/>
        </p:nvSpPr>
        <p:spPr bwMode="auto">
          <a:xfrm>
            <a:off x="8094092" y="3355141"/>
            <a:ext cx="371475" cy="534988"/>
          </a:xfrm>
          <a:custGeom>
            <a:avLst/>
            <a:gdLst>
              <a:gd name="T0" fmla="*/ 2147483647 w 168"/>
              <a:gd name="T1" fmla="*/ 2147483647 h 256"/>
              <a:gd name="T2" fmla="*/ 0 w 168"/>
              <a:gd name="T3" fmla="*/ 2147483647 h 256"/>
              <a:gd name="T4" fmla="*/ 2147483647 w 168"/>
              <a:gd name="T5" fmla="*/ 2147483647 h 256"/>
              <a:gd name="T6" fmla="*/ 2147483647 w 168"/>
              <a:gd name="T7" fmla="*/ 2147483647 h 256"/>
              <a:gd name="T8" fmla="*/ 2147483647 w 168"/>
              <a:gd name="T9" fmla="*/ 2147483647 h 256"/>
              <a:gd name="T10" fmla="*/ 2147483647 w 168"/>
              <a:gd name="T11" fmla="*/ 2147483647 h 256"/>
              <a:gd name="T12" fmla="*/ 2147483647 w 168"/>
              <a:gd name="T13" fmla="*/ 2147483647 h 256"/>
              <a:gd name="T14" fmla="*/ 2147483647 w 168"/>
              <a:gd name="T15" fmla="*/ 2147483647 h 256"/>
              <a:gd name="T16" fmla="*/ 2147483647 w 168"/>
              <a:gd name="T17" fmla="*/ 2147483647 h 256"/>
              <a:gd name="T18" fmla="*/ 2147483647 w 168"/>
              <a:gd name="T19" fmla="*/ 2147483647 h 256"/>
              <a:gd name="T20" fmla="*/ 2147483647 w 168"/>
              <a:gd name="T21" fmla="*/ 2147483647 h 256"/>
              <a:gd name="T22" fmla="*/ 2147483647 w 168"/>
              <a:gd name="T23" fmla="*/ 2147483647 h 256"/>
              <a:gd name="T24" fmla="*/ 2147483647 w 168"/>
              <a:gd name="T25" fmla="*/ 2147483647 h 256"/>
              <a:gd name="T26" fmla="*/ 2147483647 w 168"/>
              <a:gd name="T27" fmla="*/ 2147483647 h 256"/>
              <a:gd name="T28" fmla="*/ 2147483647 w 168"/>
              <a:gd name="T29" fmla="*/ 2147483647 h 256"/>
              <a:gd name="T30" fmla="*/ 2147483647 w 168"/>
              <a:gd name="T31" fmla="*/ 2147483647 h 256"/>
              <a:gd name="T32" fmla="*/ 2147483647 w 168"/>
              <a:gd name="T33" fmla="*/ 2147483647 h 256"/>
              <a:gd name="T34" fmla="*/ 2147483647 w 168"/>
              <a:gd name="T35" fmla="*/ 0 h 256"/>
              <a:gd name="T36" fmla="*/ 2147483647 w 168"/>
              <a:gd name="T37" fmla="*/ 2147483647 h 256"/>
              <a:gd name="T38" fmla="*/ 2147483647 w 168"/>
              <a:gd name="T39" fmla="*/ 2147483647 h 256"/>
              <a:gd name="T40" fmla="*/ 2147483647 w 168"/>
              <a:gd name="T41" fmla="*/ 2147483647 h 256"/>
              <a:gd name="T42" fmla="*/ 2147483647 w 168"/>
              <a:gd name="T43" fmla="*/ 2147483647 h 256"/>
              <a:gd name="T44" fmla="*/ 2147483647 w 168"/>
              <a:gd name="T45" fmla="*/ 2147483647 h 256"/>
              <a:gd name="T46" fmla="*/ 2147483647 w 168"/>
              <a:gd name="T47" fmla="*/ 2147483647 h 256"/>
              <a:gd name="T48" fmla="*/ 2147483647 w 168"/>
              <a:gd name="T49" fmla="*/ 2147483647 h 256"/>
              <a:gd name="T50" fmla="*/ 2147483647 w 168"/>
              <a:gd name="T51" fmla="*/ 2147483647 h 256"/>
              <a:gd name="T52" fmla="*/ 2147483647 w 168"/>
              <a:gd name="T53" fmla="*/ 2147483647 h 256"/>
              <a:gd name="T54" fmla="*/ 2147483647 w 168"/>
              <a:gd name="T55" fmla="*/ 2147483647 h 256"/>
              <a:gd name="T56" fmla="*/ 2147483647 w 168"/>
              <a:gd name="T57" fmla="*/ 2147483647 h 256"/>
              <a:gd name="T58" fmla="*/ 2147483647 w 168"/>
              <a:gd name="T59" fmla="*/ 2147483647 h 256"/>
              <a:gd name="T60" fmla="*/ 2147483647 w 168"/>
              <a:gd name="T61" fmla="*/ 2147483647 h 256"/>
              <a:gd name="T62" fmla="*/ 2147483647 w 168"/>
              <a:gd name="T63" fmla="*/ 2147483647 h 256"/>
              <a:gd name="T64" fmla="*/ 2147483647 w 168"/>
              <a:gd name="T65" fmla="*/ 2147483647 h 256"/>
              <a:gd name="T66" fmla="*/ 2147483647 w 168"/>
              <a:gd name="T67" fmla="*/ 2147483647 h 256"/>
              <a:gd name="T68" fmla="*/ 2147483647 w 168"/>
              <a:gd name="T69" fmla="*/ 2147483647 h 256"/>
              <a:gd name="T70" fmla="*/ 2147483647 w 168"/>
              <a:gd name="T71" fmla="*/ 2147483647 h 256"/>
              <a:gd name="T72" fmla="*/ 2147483647 w 168"/>
              <a:gd name="T73" fmla="*/ 2147483647 h 256"/>
              <a:gd name="T74" fmla="*/ 2147483647 w 168"/>
              <a:gd name="T75" fmla="*/ 2147483647 h 256"/>
              <a:gd name="T76" fmla="*/ 2147483647 w 168"/>
              <a:gd name="T77" fmla="*/ 2147483647 h 256"/>
              <a:gd name="T78" fmla="*/ 2147483647 w 168"/>
              <a:gd name="T79" fmla="*/ 2147483647 h 256"/>
              <a:gd name="T80" fmla="*/ 2147483647 w 168"/>
              <a:gd name="T81" fmla="*/ 2147483647 h 256"/>
              <a:gd name="T82" fmla="*/ 2147483647 w 168"/>
              <a:gd name="T83" fmla="*/ 2147483647 h 256"/>
              <a:gd name="T84" fmla="*/ 2147483647 w 168"/>
              <a:gd name="T85" fmla="*/ 2147483647 h 256"/>
              <a:gd name="T86" fmla="*/ 2147483647 w 168"/>
              <a:gd name="T87" fmla="*/ 2147483647 h 256"/>
              <a:gd name="T88" fmla="*/ 2147483647 w 168"/>
              <a:gd name="T89" fmla="*/ 2147483647 h 256"/>
              <a:gd name="T90" fmla="*/ 2147483647 w 168"/>
              <a:gd name="T91" fmla="*/ 2147483647 h 256"/>
              <a:gd name="T92" fmla="*/ 2147483647 w 168"/>
              <a:gd name="T93" fmla="*/ 2147483647 h 256"/>
              <a:gd name="T94" fmla="*/ 2147483647 w 168"/>
              <a:gd name="T95" fmla="*/ 2147483647 h 25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168" h="256">
                <a:moveTo>
                  <a:pt x="8" y="168"/>
                </a:moveTo>
                <a:lnTo>
                  <a:pt x="0" y="168"/>
                </a:lnTo>
                <a:lnTo>
                  <a:pt x="8" y="168"/>
                </a:lnTo>
                <a:lnTo>
                  <a:pt x="16" y="152"/>
                </a:lnTo>
                <a:lnTo>
                  <a:pt x="24" y="152"/>
                </a:lnTo>
                <a:lnTo>
                  <a:pt x="32" y="136"/>
                </a:lnTo>
                <a:lnTo>
                  <a:pt x="24" y="128"/>
                </a:lnTo>
                <a:lnTo>
                  <a:pt x="24" y="88"/>
                </a:lnTo>
                <a:lnTo>
                  <a:pt x="24" y="80"/>
                </a:lnTo>
                <a:lnTo>
                  <a:pt x="32" y="72"/>
                </a:lnTo>
                <a:lnTo>
                  <a:pt x="32" y="64"/>
                </a:lnTo>
                <a:lnTo>
                  <a:pt x="40" y="72"/>
                </a:lnTo>
                <a:lnTo>
                  <a:pt x="40" y="64"/>
                </a:lnTo>
                <a:lnTo>
                  <a:pt x="56" y="48"/>
                </a:lnTo>
                <a:lnTo>
                  <a:pt x="56" y="24"/>
                </a:lnTo>
                <a:lnTo>
                  <a:pt x="72" y="24"/>
                </a:lnTo>
                <a:lnTo>
                  <a:pt x="80" y="24"/>
                </a:lnTo>
                <a:lnTo>
                  <a:pt x="112" y="0"/>
                </a:lnTo>
                <a:lnTo>
                  <a:pt x="112" y="8"/>
                </a:lnTo>
                <a:lnTo>
                  <a:pt x="104" y="16"/>
                </a:lnTo>
                <a:lnTo>
                  <a:pt x="96" y="24"/>
                </a:lnTo>
                <a:lnTo>
                  <a:pt x="88" y="48"/>
                </a:lnTo>
                <a:lnTo>
                  <a:pt x="96" y="72"/>
                </a:lnTo>
                <a:lnTo>
                  <a:pt x="96" y="80"/>
                </a:lnTo>
                <a:lnTo>
                  <a:pt x="104" y="80"/>
                </a:lnTo>
                <a:lnTo>
                  <a:pt x="128" y="88"/>
                </a:lnTo>
                <a:lnTo>
                  <a:pt x="136" y="96"/>
                </a:lnTo>
                <a:lnTo>
                  <a:pt x="160" y="96"/>
                </a:lnTo>
                <a:lnTo>
                  <a:pt x="152" y="120"/>
                </a:lnTo>
                <a:lnTo>
                  <a:pt x="160" y="144"/>
                </a:lnTo>
                <a:lnTo>
                  <a:pt x="152" y="144"/>
                </a:lnTo>
                <a:lnTo>
                  <a:pt x="168" y="168"/>
                </a:lnTo>
                <a:lnTo>
                  <a:pt x="160" y="160"/>
                </a:lnTo>
                <a:lnTo>
                  <a:pt x="128" y="168"/>
                </a:lnTo>
                <a:lnTo>
                  <a:pt x="128" y="176"/>
                </a:lnTo>
                <a:lnTo>
                  <a:pt x="136" y="184"/>
                </a:lnTo>
                <a:lnTo>
                  <a:pt x="120" y="184"/>
                </a:lnTo>
                <a:lnTo>
                  <a:pt x="128" y="208"/>
                </a:lnTo>
                <a:lnTo>
                  <a:pt x="128" y="256"/>
                </a:lnTo>
                <a:lnTo>
                  <a:pt x="120" y="248"/>
                </a:lnTo>
                <a:lnTo>
                  <a:pt x="120" y="232"/>
                </a:lnTo>
                <a:lnTo>
                  <a:pt x="112" y="224"/>
                </a:lnTo>
                <a:lnTo>
                  <a:pt x="80" y="232"/>
                </a:lnTo>
                <a:lnTo>
                  <a:pt x="72" y="208"/>
                </a:lnTo>
                <a:lnTo>
                  <a:pt x="56" y="192"/>
                </a:lnTo>
                <a:lnTo>
                  <a:pt x="48" y="184"/>
                </a:lnTo>
                <a:lnTo>
                  <a:pt x="24" y="192"/>
                </a:lnTo>
                <a:lnTo>
                  <a:pt x="8" y="16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5" name="Freeform 289"/>
          <p:cNvSpPr>
            <a:spLocks noChangeAspect="1"/>
          </p:cNvSpPr>
          <p:nvPr/>
        </p:nvSpPr>
        <p:spPr bwMode="auto">
          <a:xfrm>
            <a:off x="8289354" y="3372604"/>
            <a:ext cx="388938" cy="350837"/>
          </a:xfrm>
          <a:custGeom>
            <a:avLst/>
            <a:gdLst>
              <a:gd name="T0" fmla="*/ 2147483647 w 176"/>
              <a:gd name="T1" fmla="*/ 2147483647 h 168"/>
              <a:gd name="T2" fmla="*/ 2147483647 w 176"/>
              <a:gd name="T3" fmla="*/ 2147483647 h 168"/>
              <a:gd name="T4" fmla="*/ 2147483647 w 176"/>
              <a:gd name="T5" fmla="*/ 2147483647 h 168"/>
              <a:gd name="T6" fmla="*/ 2147483647 w 176"/>
              <a:gd name="T7" fmla="*/ 2147483647 h 168"/>
              <a:gd name="T8" fmla="*/ 2147483647 w 176"/>
              <a:gd name="T9" fmla="*/ 2147483647 h 168"/>
              <a:gd name="T10" fmla="*/ 2147483647 w 176"/>
              <a:gd name="T11" fmla="*/ 2147483647 h 168"/>
              <a:gd name="T12" fmla="*/ 2147483647 w 176"/>
              <a:gd name="T13" fmla="*/ 2147483647 h 168"/>
              <a:gd name="T14" fmla="*/ 2147483647 w 176"/>
              <a:gd name="T15" fmla="*/ 2147483647 h 168"/>
              <a:gd name="T16" fmla="*/ 2147483647 w 176"/>
              <a:gd name="T17" fmla="*/ 2147483647 h 168"/>
              <a:gd name="T18" fmla="*/ 2147483647 w 176"/>
              <a:gd name="T19" fmla="*/ 2147483647 h 168"/>
              <a:gd name="T20" fmla="*/ 2147483647 w 176"/>
              <a:gd name="T21" fmla="*/ 2147483647 h 168"/>
              <a:gd name="T22" fmla="*/ 2147483647 w 176"/>
              <a:gd name="T23" fmla="*/ 2147483647 h 168"/>
              <a:gd name="T24" fmla="*/ 2147483647 w 176"/>
              <a:gd name="T25" fmla="*/ 2147483647 h 168"/>
              <a:gd name="T26" fmla="*/ 2147483647 w 176"/>
              <a:gd name="T27" fmla="*/ 2147483647 h 168"/>
              <a:gd name="T28" fmla="*/ 2147483647 w 176"/>
              <a:gd name="T29" fmla="*/ 2147483647 h 168"/>
              <a:gd name="T30" fmla="*/ 2147483647 w 176"/>
              <a:gd name="T31" fmla="*/ 2147483647 h 168"/>
              <a:gd name="T32" fmla="*/ 2147483647 w 176"/>
              <a:gd name="T33" fmla="*/ 2147483647 h 168"/>
              <a:gd name="T34" fmla="*/ 2147483647 w 176"/>
              <a:gd name="T35" fmla="*/ 2147483647 h 168"/>
              <a:gd name="T36" fmla="*/ 2147483647 w 176"/>
              <a:gd name="T37" fmla="*/ 2147483647 h 168"/>
              <a:gd name="T38" fmla="*/ 2147483647 w 176"/>
              <a:gd name="T39" fmla="*/ 2147483647 h 168"/>
              <a:gd name="T40" fmla="*/ 2147483647 w 176"/>
              <a:gd name="T41" fmla="*/ 2147483647 h 168"/>
              <a:gd name="T42" fmla="*/ 2147483647 w 176"/>
              <a:gd name="T43" fmla="*/ 2147483647 h 168"/>
              <a:gd name="T44" fmla="*/ 2147483647 w 176"/>
              <a:gd name="T45" fmla="*/ 2147483647 h 168"/>
              <a:gd name="T46" fmla="*/ 2147483647 w 176"/>
              <a:gd name="T47" fmla="*/ 2147483647 h 168"/>
              <a:gd name="T48" fmla="*/ 2147483647 w 176"/>
              <a:gd name="T49" fmla="*/ 2147483647 h 168"/>
              <a:gd name="T50" fmla="*/ 0 w 176"/>
              <a:gd name="T51" fmla="*/ 2147483647 h 168"/>
              <a:gd name="T52" fmla="*/ 2147483647 w 176"/>
              <a:gd name="T53" fmla="*/ 2147483647 h 168"/>
              <a:gd name="T54" fmla="*/ 2147483647 w 176"/>
              <a:gd name="T55" fmla="*/ 2147483647 h 168"/>
              <a:gd name="T56" fmla="*/ 2147483647 w 176"/>
              <a:gd name="T57" fmla="*/ 2147483647 h 168"/>
              <a:gd name="T58" fmla="*/ 2147483647 w 176"/>
              <a:gd name="T59" fmla="*/ 2147483647 h 168"/>
              <a:gd name="T60" fmla="*/ 2147483647 w 176"/>
              <a:gd name="T61" fmla="*/ 2147483647 h 168"/>
              <a:gd name="T62" fmla="*/ 2147483647 w 176"/>
              <a:gd name="T63" fmla="*/ 2147483647 h 168"/>
              <a:gd name="T64" fmla="*/ 2147483647 w 176"/>
              <a:gd name="T65" fmla="*/ 2147483647 h 168"/>
              <a:gd name="T66" fmla="*/ 2147483647 w 176"/>
              <a:gd name="T67" fmla="*/ 2147483647 h 168"/>
              <a:gd name="T68" fmla="*/ 2147483647 w 176"/>
              <a:gd name="T69" fmla="*/ 0 h 168"/>
              <a:gd name="T70" fmla="*/ 2147483647 w 176"/>
              <a:gd name="T71" fmla="*/ 2147483647 h 168"/>
              <a:gd name="T72" fmla="*/ 2147483647 w 176"/>
              <a:gd name="T73" fmla="*/ 2147483647 h 168"/>
              <a:gd name="T74" fmla="*/ 2147483647 w 176"/>
              <a:gd name="T75" fmla="*/ 2147483647 h 168"/>
              <a:gd name="T76" fmla="*/ 2147483647 w 176"/>
              <a:gd name="T77" fmla="*/ 2147483647 h 168"/>
              <a:gd name="T78" fmla="*/ 2147483647 w 176"/>
              <a:gd name="T79" fmla="*/ 2147483647 h 168"/>
              <a:gd name="T80" fmla="*/ 2147483647 w 176"/>
              <a:gd name="T81" fmla="*/ 2147483647 h 168"/>
              <a:gd name="T82" fmla="*/ 2147483647 w 176"/>
              <a:gd name="T83" fmla="*/ 2147483647 h 168"/>
              <a:gd name="T84" fmla="*/ 2147483647 w 176"/>
              <a:gd name="T85" fmla="*/ 2147483647 h 168"/>
              <a:gd name="T86" fmla="*/ 2147483647 w 176"/>
              <a:gd name="T87" fmla="*/ 2147483647 h 168"/>
              <a:gd name="T88" fmla="*/ 2147483647 w 176"/>
              <a:gd name="T89" fmla="*/ 2147483647 h 168"/>
              <a:gd name="T90" fmla="*/ 2147483647 w 176"/>
              <a:gd name="T91" fmla="*/ 2147483647 h 168"/>
              <a:gd name="T92" fmla="*/ 2147483647 w 176"/>
              <a:gd name="T93" fmla="*/ 2147483647 h 168"/>
              <a:gd name="T94" fmla="*/ 2147483647 w 176"/>
              <a:gd name="T95" fmla="*/ 2147483647 h 16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176" h="168">
                <a:moveTo>
                  <a:pt x="176" y="56"/>
                </a:moveTo>
                <a:lnTo>
                  <a:pt x="160" y="64"/>
                </a:lnTo>
                <a:lnTo>
                  <a:pt x="160" y="72"/>
                </a:lnTo>
                <a:lnTo>
                  <a:pt x="168" y="80"/>
                </a:lnTo>
                <a:lnTo>
                  <a:pt x="160" y="80"/>
                </a:lnTo>
                <a:lnTo>
                  <a:pt x="152" y="96"/>
                </a:lnTo>
                <a:lnTo>
                  <a:pt x="160" y="104"/>
                </a:lnTo>
                <a:lnTo>
                  <a:pt x="160" y="112"/>
                </a:lnTo>
                <a:lnTo>
                  <a:pt x="128" y="128"/>
                </a:lnTo>
                <a:lnTo>
                  <a:pt x="104" y="120"/>
                </a:lnTo>
                <a:lnTo>
                  <a:pt x="112" y="128"/>
                </a:lnTo>
                <a:lnTo>
                  <a:pt x="112" y="144"/>
                </a:lnTo>
                <a:lnTo>
                  <a:pt x="120" y="152"/>
                </a:lnTo>
                <a:lnTo>
                  <a:pt x="96" y="168"/>
                </a:lnTo>
                <a:lnTo>
                  <a:pt x="80" y="168"/>
                </a:lnTo>
                <a:lnTo>
                  <a:pt x="80" y="160"/>
                </a:lnTo>
                <a:lnTo>
                  <a:pt x="64" y="136"/>
                </a:lnTo>
                <a:lnTo>
                  <a:pt x="72" y="136"/>
                </a:lnTo>
                <a:lnTo>
                  <a:pt x="64" y="112"/>
                </a:lnTo>
                <a:lnTo>
                  <a:pt x="72" y="88"/>
                </a:lnTo>
                <a:lnTo>
                  <a:pt x="48" y="88"/>
                </a:lnTo>
                <a:lnTo>
                  <a:pt x="40" y="80"/>
                </a:lnTo>
                <a:lnTo>
                  <a:pt x="16" y="72"/>
                </a:lnTo>
                <a:lnTo>
                  <a:pt x="8" y="72"/>
                </a:lnTo>
                <a:lnTo>
                  <a:pt x="8" y="64"/>
                </a:lnTo>
                <a:lnTo>
                  <a:pt x="0" y="40"/>
                </a:lnTo>
                <a:lnTo>
                  <a:pt x="8" y="16"/>
                </a:lnTo>
                <a:lnTo>
                  <a:pt x="16" y="8"/>
                </a:lnTo>
                <a:lnTo>
                  <a:pt x="24" y="24"/>
                </a:lnTo>
                <a:lnTo>
                  <a:pt x="16" y="32"/>
                </a:lnTo>
                <a:lnTo>
                  <a:pt x="16" y="48"/>
                </a:lnTo>
                <a:lnTo>
                  <a:pt x="24" y="40"/>
                </a:lnTo>
                <a:lnTo>
                  <a:pt x="24" y="16"/>
                </a:lnTo>
                <a:lnTo>
                  <a:pt x="40" y="8"/>
                </a:lnTo>
                <a:lnTo>
                  <a:pt x="40" y="0"/>
                </a:lnTo>
                <a:lnTo>
                  <a:pt x="48" y="8"/>
                </a:lnTo>
                <a:lnTo>
                  <a:pt x="64" y="16"/>
                </a:lnTo>
                <a:lnTo>
                  <a:pt x="64" y="24"/>
                </a:lnTo>
                <a:lnTo>
                  <a:pt x="88" y="24"/>
                </a:lnTo>
                <a:lnTo>
                  <a:pt x="104" y="32"/>
                </a:lnTo>
                <a:lnTo>
                  <a:pt x="120" y="24"/>
                </a:lnTo>
                <a:lnTo>
                  <a:pt x="144" y="24"/>
                </a:lnTo>
                <a:lnTo>
                  <a:pt x="136" y="24"/>
                </a:lnTo>
                <a:lnTo>
                  <a:pt x="144" y="32"/>
                </a:lnTo>
                <a:lnTo>
                  <a:pt x="160" y="40"/>
                </a:lnTo>
                <a:lnTo>
                  <a:pt x="160" y="56"/>
                </a:lnTo>
                <a:lnTo>
                  <a:pt x="168" y="56"/>
                </a:lnTo>
                <a:lnTo>
                  <a:pt x="176" y="5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6" name="Freeform 290"/>
          <p:cNvSpPr>
            <a:spLocks noChangeAspect="1"/>
          </p:cNvSpPr>
          <p:nvPr/>
        </p:nvSpPr>
        <p:spPr bwMode="auto">
          <a:xfrm>
            <a:off x="8838629" y="3572629"/>
            <a:ext cx="71438" cy="117475"/>
          </a:xfrm>
          <a:custGeom>
            <a:avLst/>
            <a:gdLst>
              <a:gd name="T0" fmla="*/ 2147483647 w 32"/>
              <a:gd name="T1" fmla="*/ 2147483647 h 56"/>
              <a:gd name="T2" fmla="*/ 2147483647 w 32"/>
              <a:gd name="T3" fmla="*/ 2147483647 h 56"/>
              <a:gd name="T4" fmla="*/ 0 w 32"/>
              <a:gd name="T5" fmla="*/ 2147483647 h 56"/>
              <a:gd name="T6" fmla="*/ 0 w 32"/>
              <a:gd name="T7" fmla="*/ 2147483647 h 56"/>
              <a:gd name="T8" fmla="*/ 0 w 32"/>
              <a:gd name="T9" fmla="*/ 2147483647 h 56"/>
              <a:gd name="T10" fmla="*/ 0 w 32"/>
              <a:gd name="T11" fmla="*/ 0 h 56"/>
              <a:gd name="T12" fmla="*/ 2147483647 w 32"/>
              <a:gd name="T13" fmla="*/ 2147483647 h 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2" h="56">
                <a:moveTo>
                  <a:pt x="32" y="24"/>
                </a:moveTo>
                <a:lnTo>
                  <a:pt x="16" y="56"/>
                </a:lnTo>
                <a:lnTo>
                  <a:pt x="0" y="56"/>
                </a:lnTo>
                <a:lnTo>
                  <a:pt x="0" y="32"/>
                </a:lnTo>
                <a:lnTo>
                  <a:pt x="0" y="16"/>
                </a:lnTo>
                <a:lnTo>
                  <a:pt x="0" y="0"/>
                </a:lnTo>
                <a:lnTo>
                  <a:pt x="32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7" name="Freeform 291"/>
          <p:cNvSpPr>
            <a:spLocks noChangeAspect="1"/>
          </p:cNvSpPr>
          <p:nvPr/>
        </p:nvSpPr>
        <p:spPr bwMode="auto">
          <a:xfrm>
            <a:off x="8732267" y="3572629"/>
            <a:ext cx="106362" cy="117475"/>
          </a:xfrm>
          <a:custGeom>
            <a:avLst/>
            <a:gdLst>
              <a:gd name="T0" fmla="*/ 2147483647 w 48"/>
              <a:gd name="T1" fmla="*/ 0 h 56"/>
              <a:gd name="T2" fmla="*/ 2147483647 w 48"/>
              <a:gd name="T3" fmla="*/ 0 h 56"/>
              <a:gd name="T4" fmla="*/ 2147483647 w 48"/>
              <a:gd name="T5" fmla="*/ 0 h 56"/>
              <a:gd name="T6" fmla="*/ 0 w 48"/>
              <a:gd name="T7" fmla="*/ 2147483647 h 56"/>
              <a:gd name="T8" fmla="*/ 2147483647 w 48"/>
              <a:gd name="T9" fmla="*/ 2147483647 h 56"/>
              <a:gd name="T10" fmla="*/ 2147483647 w 48"/>
              <a:gd name="T11" fmla="*/ 2147483647 h 56"/>
              <a:gd name="T12" fmla="*/ 2147483647 w 48"/>
              <a:gd name="T13" fmla="*/ 2147483647 h 56"/>
              <a:gd name="T14" fmla="*/ 2147483647 w 48"/>
              <a:gd name="T15" fmla="*/ 2147483647 h 56"/>
              <a:gd name="T16" fmla="*/ 2147483647 w 48"/>
              <a:gd name="T17" fmla="*/ 2147483647 h 56"/>
              <a:gd name="T18" fmla="*/ 2147483647 w 48"/>
              <a:gd name="T19" fmla="*/ 2147483647 h 56"/>
              <a:gd name="T20" fmla="*/ 2147483647 w 48"/>
              <a:gd name="T21" fmla="*/ 0 h 5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48" h="56">
                <a:moveTo>
                  <a:pt x="48" y="0"/>
                </a:moveTo>
                <a:lnTo>
                  <a:pt x="40" y="0"/>
                </a:lnTo>
                <a:lnTo>
                  <a:pt x="8" y="0"/>
                </a:lnTo>
                <a:lnTo>
                  <a:pt x="0" y="24"/>
                </a:lnTo>
                <a:lnTo>
                  <a:pt x="16" y="56"/>
                </a:lnTo>
                <a:lnTo>
                  <a:pt x="24" y="56"/>
                </a:lnTo>
                <a:lnTo>
                  <a:pt x="24" y="48"/>
                </a:lnTo>
                <a:lnTo>
                  <a:pt x="48" y="56"/>
                </a:lnTo>
                <a:lnTo>
                  <a:pt x="48" y="32"/>
                </a:lnTo>
                <a:lnTo>
                  <a:pt x="48" y="16"/>
                </a:lnTo>
                <a:lnTo>
                  <a:pt x="4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8" name="Freeform 292"/>
          <p:cNvSpPr>
            <a:spLocks noChangeAspect="1"/>
          </p:cNvSpPr>
          <p:nvPr/>
        </p:nvSpPr>
        <p:spPr bwMode="auto">
          <a:xfrm>
            <a:off x="8378254" y="4310816"/>
            <a:ext cx="354013" cy="1138238"/>
          </a:xfrm>
          <a:custGeom>
            <a:avLst/>
            <a:gdLst>
              <a:gd name="T0" fmla="*/ 2147483647 w 160"/>
              <a:gd name="T1" fmla="*/ 0 h 544"/>
              <a:gd name="T2" fmla="*/ 2147483647 w 160"/>
              <a:gd name="T3" fmla="*/ 2147483647 h 544"/>
              <a:gd name="T4" fmla="*/ 2147483647 w 160"/>
              <a:gd name="T5" fmla="*/ 2147483647 h 544"/>
              <a:gd name="T6" fmla="*/ 2147483647 w 160"/>
              <a:gd name="T7" fmla="*/ 2147483647 h 544"/>
              <a:gd name="T8" fmla="*/ 2147483647 w 160"/>
              <a:gd name="T9" fmla="*/ 2147483647 h 544"/>
              <a:gd name="T10" fmla="*/ 2147483647 w 160"/>
              <a:gd name="T11" fmla="*/ 2147483647 h 544"/>
              <a:gd name="T12" fmla="*/ 2147483647 w 160"/>
              <a:gd name="T13" fmla="*/ 2147483647 h 544"/>
              <a:gd name="T14" fmla="*/ 2147483647 w 160"/>
              <a:gd name="T15" fmla="*/ 2147483647 h 544"/>
              <a:gd name="T16" fmla="*/ 2147483647 w 160"/>
              <a:gd name="T17" fmla="*/ 2147483647 h 544"/>
              <a:gd name="T18" fmla="*/ 2147483647 w 160"/>
              <a:gd name="T19" fmla="*/ 2147483647 h 544"/>
              <a:gd name="T20" fmla="*/ 2147483647 w 160"/>
              <a:gd name="T21" fmla="*/ 2147483647 h 544"/>
              <a:gd name="T22" fmla="*/ 2147483647 w 160"/>
              <a:gd name="T23" fmla="*/ 2147483647 h 544"/>
              <a:gd name="T24" fmla="*/ 2147483647 w 160"/>
              <a:gd name="T25" fmla="*/ 2147483647 h 544"/>
              <a:gd name="T26" fmla="*/ 2147483647 w 160"/>
              <a:gd name="T27" fmla="*/ 2147483647 h 544"/>
              <a:gd name="T28" fmla="*/ 2147483647 w 160"/>
              <a:gd name="T29" fmla="*/ 2147483647 h 544"/>
              <a:gd name="T30" fmla="*/ 2147483647 w 160"/>
              <a:gd name="T31" fmla="*/ 2147483647 h 544"/>
              <a:gd name="T32" fmla="*/ 2147483647 w 160"/>
              <a:gd name="T33" fmla="*/ 2147483647 h 544"/>
              <a:gd name="T34" fmla="*/ 2147483647 w 160"/>
              <a:gd name="T35" fmla="*/ 2147483647 h 544"/>
              <a:gd name="T36" fmla="*/ 2147483647 w 160"/>
              <a:gd name="T37" fmla="*/ 2147483647 h 544"/>
              <a:gd name="T38" fmla="*/ 2147483647 w 160"/>
              <a:gd name="T39" fmla="*/ 2147483647 h 544"/>
              <a:gd name="T40" fmla="*/ 2147483647 w 160"/>
              <a:gd name="T41" fmla="*/ 2147483647 h 544"/>
              <a:gd name="T42" fmla="*/ 2147483647 w 160"/>
              <a:gd name="T43" fmla="*/ 2147483647 h 544"/>
              <a:gd name="T44" fmla="*/ 2147483647 w 160"/>
              <a:gd name="T45" fmla="*/ 2147483647 h 544"/>
              <a:gd name="T46" fmla="*/ 2147483647 w 160"/>
              <a:gd name="T47" fmla="*/ 2147483647 h 544"/>
              <a:gd name="T48" fmla="*/ 2147483647 w 160"/>
              <a:gd name="T49" fmla="*/ 2147483647 h 544"/>
              <a:gd name="T50" fmla="*/ 2147483647 w 160"/>
              <a:gd name="T51" fmla="*/ 2147483647 h 544"/>
              <a:gd name="T52" fmla="*/ 2147483647 w 160"/>
              <a:gd name="T53" fmla="*/ 2147483647 h 544"/>
              <a:gd name="T54" fmla="*/ 2147483647 w 160"/>
              <a:gd name="T55" fmla="*/ 2147483647 h 544"/>
              <a:gd name="T56" fmla="*/ 2147483647 w 160"/>
              <a:gd name="T57" fmla="*/ 2147483647 h 544"/>
              <a:gd name="T58" fmla="*/ 2147483647 w 160"/>
              <a:gd name="T59" fmla="*/ 2147483647 h 544"/>
              <a:gd name="T60" fmla="*/ 2147483647 w 160"/>
              <a:gd name="T61" fmla="*/ 2147483647 h 544"/>
              <a:gd name="T62" fmla="*/ 2147483647 w 160"/>
              <a:gd name="T63" fmla="*/ 2147483647 h 544"/>
              <a:gd name="T64" fmla="*/ 2147483647 w 160"/>
              <a:gd name="T65" fmla="*/ 2147483647 h 544"/>
              <a:gd name="T66" fmla="*/ 2147483647 w 160"/>
              <a:gd name="T67" fmla="*/ 2147483647 h 544"/>
              <a:gd name="T68" fmla="*/ 2147483647 w 160"/>
              <a:gd name="T69" fmla="*/ 2147483647 h 544"/>
              <a:gd name="T70" fmla="*/ 2147483647 w 160"/>
              <a:gd name="T71" fmla="*/ 2147483647 h 544"/>
              <a:gd name="T72" fmla="*/ 2147483647 w 160"/>
              <a:gd name="T73" fmla="*/ 2147483647 h 544"/>
              <a:gd name="T74" fmla="*/ 2147483647 w 160"/>
              <a:gd name="T75" fmla="*/ 2147483647 h 544"/>
              <a:gd name="T76" fmla="*/ 2147483647 w 160"/>
              <a:gd name="T77" fmla="*/ 2147483647 h 544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60" h="544">
                <a:moveTo>
                  <a:pt x="0" y="8"/>
                </a:moveTo>
                <a:lnTo>
                  <a:pt x="16" y="0"/>
                </a:lnTo>
                <a:lnTo>
                  <a:pt x="32" y="24"/>
                </a:lnTo>
                <a:lnTo>
                  <a:pt x="32" y="40"/>
                </a:lnTo>
                <a:lnTo>
                  <a:pt x="48" y="80"/>
                </a:lnTo>
                <a:lnTo>
                  <a:pt x="56" y="80"/>
                </a:lnTo>
                <a:lnTo>
                  <a:pt x="56" y="96"/>
                </a:lnTo>
                <a:lnTo>
                  <a:pt x="40" y="104"/>
                </a:lnTo>
                <a:lnTo>
                  <a:pt x="48" y="136"/>
                </a:lnTo>
                <a:lnTo>
                  <a:pt x="40" y="160"/>
                </a:lnTo>
                <a:lnTo>
                  <a:pt x="40" y="208"/>
                </a:lnTo>
                <a:lnTo>
                  <a:pt x="56" y="248"/>
                </a:lnTo>
                <a:lnTo>
                  <a:pt x="48" y="272"/>
                </a:lnTo>
                <a:lnTo>
                  <a:pt x="56" y="280"/>
                </a:lnTo>
                <a:lnTo>
                  <a:pt x="48" y="296"/>
                </a:lnTo>
                <a:lnTo>
                  <a:pt x="64" y="320"/>
                </a:lnTo>
                <a:lnTo>
                  <a:pt x="64" y="360"/>
                </a:lnTo>
                <a:lnTo>
                  <a:pt x="72" y="368"/>
                </a:lnTo>
                <a:lnTo>
                  <a:pt x="72" y="384"/>
                </a:lnTo>
                <a:lnTo>
                  <a:pt x="80" y="408"/>
                </a:lnTo>
                <a:lnTo>
                  <a:pt x="88" y="416"/>
                </a:lnTo>
                <a:lnTo>
                  <a:pt x="88" y="408"/>
                </a:lnTo>
                <a:lnTo>
                  <a:pt x="96" y="440"/>
                </a:lnTo>
                <a:lnTo>
                  <a:pt x="96" y="488"/>
                </a:lnTo>
                <a:lnTo>
                  <a:pt x="104" y="496"/>
                </a:lnTo>
                <a:lnTo>
                  <a:pt x="112" y="496"/>
                </a:lnTo>
                <a:lnTo>
                  <a:pt x="128" y="520"/>
                </a:lnTo>
                <a:lnTo>
                  <a:pt x="160" y="520"/>
                </a:lnTo>
                <a:lnTo>
                  <a:pt x="160" y="528"/>
                </a:lnTo>
                <a:lnTo>
                  <a:pt x="152" y="528"/>
                </a:lnTo>
                <a:lnTo>
                  <a:pt x="152" y="544"/>
                </a:lnTo>
                <a:lnTo>
                  <a:pt x="136" y="536"/>
                </a:lnTo>
                <a:lnTo>
                  <a:pt x="144" y="536"/>
                </a:lnTo>
                <a:lnTo>
                  <a:pt x="144" y="528"/>
                </a:lnTo>
                <a:lnTo>
                  <a:pt x="136" y="536"/>
                </a:lnTo>
                <a:lnTo>
                  <a:pt x="104" y="520"/>
                </a:lnTo>
                <a:lnTo>
                  <a:pt x="104" y="528"/>
                </a:lnTo>
                <a:lnTo>
                  <a:pt x="96" y="520"/>
                </a:lnTo>
                <a:lnTo>
                  <a:pt x="96" y="512"/>
                </a:lnTo>
                <a:lnTo>
                  <a:pt x="104" y="512"/>
                </a:lnTo>
                <a:lnTo>
                  <a:pt x="96" y="504"/>
                </a:lnTo>
                <a:lnTo>
                  <a:pt x="96" y="512"/>
                </a:lnTo>
                <a:lnTo>
                  <a:pt x="88" y="512"/>
                </a:lnTo>
                <a:lnTo>
                  <a:pt x="88" y="496"/>
                </a:lnTo>
                <a:lnTo>
                  <a:pt x="88" y="488"/>
                </a:lnTo>
                <a:lnTo>
                  <a:pt x="80" y="496"/>
                </a:lnTo>
                <a:lnTo>
                  <a:pt x="80" y="488"/>
                </a:lnTo>
                <a:lnTo>
                  <a:pt x="72" y="488"/>
                </a:lnTo>
                <a:lnTo>
                  <a:pt x="64" y="464"/>
                </a:lnTo>
                <a:lnTo>
                  <a:pt x="64" y="456"/>
                </a:lnTo>
                <a:lnTo>
                  <a:pt x="72" y="464"/>
                </a:lnTo>
                <a:lnTo>
                  <a:pt x="72" y="440"/>
                </a:lnTo>
                <a:lnTo>
                  <a:pt x="56" y="440"/>
                </a:lnTo>
                <a:lnTo>
                  <a:pt x="48" y="440"/>
                </a:lnTo>
                <a:lnTo>
                  <a:pt x="56" y="432"/>
                </a:lnTo>
                <a:lnTo>
                  <a:pt x="56" y="424"/>
                </a:lnTo>
                <a:lnTo>
                  <a:pt x="48" y="400"/>
                </a:lnTo>
                <a:lnTo>
                  <a:pt x="56" y="400"/>
                </a:lnTo>
                <a:lnTo>
                  <a:pt x="64" y="400"/>
                </a:lnTo>
                <a:lnTo>
                  <a:pt x="64" y="416"/>
                </a:lnTo>
                <a:lnTo>
                  <a:pt x="64" y="424"/>
                </a:lnTo>
                <a:lnTo>
                  <a:pt x="64" y="400"/>
                </a:lnTo>
                <a:lnTo>
                  <a:pt x="56" y="368"/>
                </a:lnTo>
                <a:lnTo>
                  <a:pt x="48" y="360"/>
                </a:lnTo>
                <a:lnTo>
                  <a:pt x="48" y="368"/>
                </a:lnTo>
                <a:lnTo>
                  <a:pt x="40" y="352"/>
                </a:lnTo>
                <a:lnTo>
                  <a:pt x="40" y="336"/>
                </a:lnTo>
                <a:lnTo>
                  <a:pt x="24" y="304"/>
                </a:lnTo>
                <a:lnTo>
                  <a:pt x="24" y="296"/>
                </a:lnTo>
                <a:lnTo>
                  <a:pt x="32" y="296"/>
                </a:lnTo>
                <a:lnTo>
                  <a:pt x="32" y="248"/>
                </a:lnTo>
                <a:lnTo>
                  <a:pt x="32" y="224"/>
                </a:lnTo>
                <a:lnTo>
                  <a:pt x="16" y="200"/>
                </a:lnTo>
                <a:lnTo>
                  <a:pt x="24" y="192"/>
                </a:lnTo>
                <a:lnTo>
                  <a:pt x="16" y="176"/>
                </a:lnTo>
                <a:lnTo>
                  <a:pt x="24" y="136"/>
                </a:lnTo>
                <a:lnTo>
                  <a:pt x="16" y="80"/>
                </a:lnTo>
                <a:lnTo>
                  <a:pt x="16" y="64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9" name="Freeform 293"/>
          <p:cNvSpPr>
            <a:spLocks noChangeAspect="1"/>
          </p:cNvSpPr>
          <p:nvPr/>
        </p:nvSpPr>
        <p:spPr bwMode="auto">
          <a:xfrm>
            <a:off x="8395717" y="4059991"/>
            <a:ext cx="371475" cy="417513"/>
          </a:xfrm>
          <a:custGeom>
            <a:avLst/>
            <a:gdLst>
              <a:gd name="T0" fmla="*/ 0 w 168"/>
              <a:gd name="T1" fmla="*/ 2147483647 h 200"/>
              <a:gd name="T2" fmla="*/ 2147483647 w 168"/>
              <a:gd name="T3" fmla="*/ 2147483647 h 200"/>
              <a:gd name="T4" fmla="*/ 2147483647 w 168"/>
              <a:gd name="T5" fmla="*/ 0 h 200"/>
              <a:gd name="T6" fmla="*/ 2147483647 w 168"/>
              <a:gd name="T7" fmla="*/ 0 h 200"/>
              <a:gd name="T8" fmla="*/ 2147483647 w 168"/>
              <a:gd name="T9" fmla="*/ 2147483647 h 200"/>
              <a:gd name="T10" fmla="*/ 2147483647 w 168"/>
              <a:gd name="T11" fmla="*/ 2147483647 h 200"/>
              <a:gd name="T12" fmla="*/ 2147483647 w 168"/>
              <a:gd name="T13" fmla="*/ 2147483647 h 200"/>
              <a:gd name="T14" fmla="*/ 2147483647 w 168"/>
              <a:gd name="T15" fmla="*/ 2147483647 h 200"/>
              <a:gd name="T16" fmla="*/ 2147483647 w 168"/>
              <a:gd name="T17" fmla="*/ 2147483647 h 200"/>
              <a:gd name="T18" fmla="*/ 2147483647 w 168"/>
              <a:gd name="T19" fmla="*/ 2147483647 h 200"/>
              <a:gd name="T20" fmla="*/ 2147483647 w 168"/>
              <a:gd name="T21" fmla="*/ 2147483647 h 200"/>
              <a:gd name="T22" fmla="*/ 2147483647 w 168"/>
              <a:gd name="T23" fmla="*/ 2147483647 h 200"/>
              <a:gd name="T24" fmla="*/ 2147483647 w 168"/>
              <a:gd name="T25" fmla="*/ 2147483647 h 200"/>
              <a:gd name="T26" fmla="*/ 2147483647 w 168"/>
              <a:gd name="T27" fmla="*/ 2147483647 h 200"/>
              <a:gd name="T28" fmla="*/ 2147483647 w 168"/>
              <a:gd name="T29" fmla="*/ 2147483647 h 200"/>
              <a:gd name="T30" fmla="*/ 2147483647 w 168"/>
              <a:gd name="T31" fmla="*/ 2147483647 h 200"/>
              <a:gd name="T32" fmla="*/ 2147483647 w 168"/>
              <a:gd name="T33" fmla="*/ 2147483647 h 200"/>
              <a:gd name="T34" fmla="*/ 2147483647 w 168"/>
              <a:gd name="T35" fmla="*/ 2147483647 h 200"/>
              <a:gd name="T36" fmla="*/ 2147483647 w 168"/>
              <a:gd name="T37" fmla="*/ 2147483647 h 200"/>
              <a:gd name="T38" fmla="*/ 2147483647 w 168"/>
              <a:gd name="T39" fmla="*/ 2147483647 h 200"/>
              <a:gd name="T40" fmla="*/ 2147483647 w 168"/>
              <a:gd name="T41" fmla="*/ 2147483647 h 200"/>
              <a:gd name="T42" fmla="*/ 2147483647 w 168"/>
              <a:gd name="T43" fmla="*/ 2147483647 h 200"/>
              <a:gd name="T44" fmla="*/ 2147483647 w 168"/>
              <a:gd name="T45" fmla="*/ 2147483647 h 200"/>
              <a:gd name="T46" fmla="*/ 2147483647 w 168"/>
              <a:gd name="T47" fmla="*/ 2147483647 h 200"/>
              <a:gd name="T48" fmla="*/ 2147483647 w 168"/>
              <a:gd name="T49" fmla="*/ 2147483647 h 200"/>
              <a:gd name="T50" fmla="*/ 2147483647 w 168"/>
              <a:gd name="T51" fmla="*/ 2147483647 h 200"/>
              <a:gd name="T52" fmla="*/ 2147483647 w 168"/>
              <a:gd name="T53" fmla="*/ 2147483647 h 200"/>
              <a:gd name="T54" fmla="*/ 0 w 168"/>
              <a:gd name="T55" fmla="*/ 2147483647 h 20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68" h="200">
                <a:moveTo>
                  <a:pt x="0" y="16"/>
                </a:moveTo>
                <a:lnTo>
                  <a:pt x="16" y="24"/>
                </a:lnTo>
                <a:lnTo>
                  <a:pt x="32" y="0"/>
                </a:lnTo>
                <a:lnTo>
                  <a:pt x="56" y="0"/>
                </a:lnTo>
                <a:lnTo>
                  <a:pt x="56" y="24"/>
                </a:lnTo>
                <a:lnTo>
                  <a:pt x="64" y="40"/>
                </a:lnTo>
                <a:lnTo>
                  <a:pt x="120" y="64"/>
                </a:lnTo>
                <a:lnTo>
                  <a:pt x="128" y="80"/>
                </a:lnTo>
                <a:lnTo>
                  <a:pt x="128" y="88"/>
                </a:lnTo>
                <a:lnTo>
                  <a:pt x="128" y="96"/>
                </a:lnTo>
                <a:lnTo>
                  <a:pt x="152" y="104"/>
                </a:lnTo>
                <a:lnTo>
                  <a:pt x="152" y="112"/>
                </a:lnTo>
                <a:lnTo>
                  <a:pt x="168" y="128"/>
                </a:lnTo>
                <a:lnTo>
                  <a:pt x="160" y="160"/>
                </a:lnTo>
                <a:lnTo>
                  <a:pt x="152" y="144"/>
                </a:lnTo>
                <a:lnTo>
                  <a:pt x="112" y="152"/>
                </a:lnTo>
                <a:lnTo>
                  <a:pt x="104" y="192"/>
                </a:lnTo>
                <a:lnTo>
                  <a:pt x="88" y="192"/>
                </a:lnTo>
                <a:lnTo>
                  <a:pt x="64" y="184"/>
                </a:lnTo>
                <a:lnTo>
                  <a:pt x="48" y="200"/>
                </a:lnTo>
                <a:lnTo>
                  <a:pt x="40" y="200"/>
                </a:lnTo>
                <a:lnTo>
                  <a:pt x="24" y="160"/>
                </a:lnTo>
                <a:lnTo>
                  <a:pt x="24" y="144"/>
                </a:lnTo>
                <a:lnTo>
                  <a:pt x="8" y="120"/>
                </a:lnTo>
                <a:lnTo>
                  <a:pt x="16" y="104"/>
                </a:lnTo>
                <a:lnTo>
                  <a:pt x="8" y="96"/>
                </a:lnTo>
                <a:lnTo>
                  <a:pt x="8" y="40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10" name="Freeform 294"/>
          <p:cNvSpPr>
            <a:spLocks noChangeAspect="1"/>
          </p:cNvSpPr>
          <p:nvPr/>
        </p:nvSpPr>
        <p:spPr bwMode="auto">
          <a:xfrm>
            <a:off x="8625904" y="4360029"/>
            <a:ext cx="249238" cy="269875"/>
          </a:xfrm>
          <a:custGeom>
            <a:avLst/>
            <a:gdLst>
              <a:gd name="T0" fmla="*/ 2147483647 w 112"/>
              <a:gd name="T1" fmla="*/ 2147483647 h 128"/>
              <a:gd name="T2" fmla="*/ 2147483647 w 112"/>
              <a:gd name="T3" fmla="*/ 2147483647 h 128"/>
              <a:gd name="T4" fmla="*/ 2147483647 w 112"/>
              <a:gd name="T5" fmla="*/ 2147483647 h 128"/>
              <a:gd name="T6" fmla="*/ 2147483647 w 112"/>
              <a:gd name="T7" fmla="*/ 2147483647 h 128"/>
              <a:gd name="T8" fmla="*/ 2147483647 w 112"/>
              <a:gd name="T9" fmla="*/ 2147483647 h 128"/>
              <a:gd name="T10" fmla="*/ 2147483647 w 112"/>
              <a:gd name="T11" fmla="*/ 2147483647 h 128"/>
              <a:gd name="T12" fmla="*/ 2147483647 w 112"/>
              <a:gd name="T13" fmla="*/ 2147483647 h 128"/>
              <a:gd name="T14" fmla="*/ 2147483647 w 112"/>
              <a:gd name="T15" fmla="*/ 0 h 128"/>
              <a:gd name="T16" fmla="*/ 2147483647 w 112"/>
              <a:gd name="T17" fmla="*/ 2147483647 h 128"/>
              <a:gd name="T18" fmla="*/ 0 w 112"/>
              <a:gd name="T19" fmla="*/ 2147483647 h 128"/>
              <a:gd name="T20" fmla="*/ 2147483647 w 112"/>
              <a:gd name="T21" fmla="*/ 2147483647 h 128"/>
              <a:gd name="T22" fmla="*/ 2147483647 w 112"/>
              <a:gd name="T23" fmla="*/ 2147483647 h 128"/>
              <a:gd name="T24" fmla="*/ 2147483647 w 112"/>
              <a:gd name="T25" fmla="*/ 2147483647 h 128"/>
              <a:gd name="T26" fmla="*/ 2147483647 w 112"/>
              <a:gd name="T27" fmla="*/ 2147483647 h 128"/>
              <a:gd name="T28" fmla="*/ 2147483647 w 112"/>
              <a:gd name="T29" fmla="*/ 2147483647 h 128"/>
              <a:gd name="T30" fmla="*/ 2147483647 w 112"/>
              <a:gd name="T31" fmla="*/ 2147483647 h 128"/>
              <a:gd name="T32" fmla="*/ 2147483647 w 112"/>
              <a:gd name="T33" fmla="*/ 2147483647 h 128"/>
              <a:gd name="T34" fmla="*/ 2147483647 w 112"/>
              <a:gd name="T35" fmla="*/ 2147483647 h 128"/>
              <a:gd name="T36" fmla="*/ 2147483647 w 112"/>
              <a:gd name="T37" fmla="*/ 2147483647 h 12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12" h="128">
                <a:moveTo>
                  <a:pt x="112" y="96"/>
                </a:moveTo>
                <a:lnTo>
                  <a:pt x="112" y="72"/>
                </a:lnTo>
                <a:lnTo>
                  <a:pt x="96" y="72"/>
                </a:lnTo>
                <a:lnTo>
                  <a:pt x="96" y="48"/>
                </a:lnTo>
                <a:lnTo>
                  <a:pt x="88" y="48"/>
                </a:lnTo>
                <a:lnTo>
                  <a:pt x="64" y="40"/>
                </a:lnTo>
                <a:lnTo>
                  <a:pt x="56" y="16"/>
                </a:lnTo>
                <a:lnTo>
                  <a:pt x="48" y="0"/>
                </a:lnTo>
                <a:lnTo>
                  <a:pt x="8" y="8"/>
                </a:lnTo>
                <a:lnTo>
                  <a:pt x="0" y="48"/>
                </a:lnTo>
                <a:lnTo>
                  <a:pt x="32" y="72"/>
                </a:lnTo>
                <a:lnTo>
                  <a:pt x="48" y="80"/>
                </a:lnTo>
                <a:lnTo>
                  <a:pt x="72" y="88"/>
                </a:lnTo>
                <a:lnTo>
                  <a:pt x="72" y="104"/>
                </a:lnTo>
                <a:lnTo>
                  <a:pt x="64" y="120"/>
                </a:lnTo>
                <a:lnTo>
                  <a:pt x="96" y="128"/>
                </a:lnTo>
                <a:lnTo>
                  <a:pt x="104" y="128"/>
                </a:lnTo>
                <a:lnTo>
                  <a:pt x="112" y="112"/>
                </a:lnTo>
                <a:lnTo>
                  <a:pt x="112" y="9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11" name="Freeform 295"/>
          <p:cNvSpPr>
            <a:spLocks noChangeAspect="1"/>
          </p:cNvSpPr>
          <p:nvPr/>
        </p:nvSpPr>
        <p:spPr bwMode="auto">
          <a:xfrm>
            <a:off x="8465567" y="4445754"/>
            <a:ext cx="444500" cy="954087"/>
          </a:xfrm>
          <a:custGeom>
            <a:avLst/>
            <a:gdLst>
              <a:gd name="T0" fmla="*/ 2147483647 w 200"/>
              <a:gd name="T1" fmla="*/ 2147483647 h 456"/>
              <a:gd name="T2" fmla="*/ 2147483647 w 200"/>
              <a:gd name="T3" fmla="*/ 2147483647 h 456"/>
              <a:gd name="T4" fmla="*/ 2147483647 w 200"/>
              <a:gd name="T5" fmla="*/ 2147483647 h 456"/>
              <a:gd name="T6" fmla="*/ 2147483647 w 200"/>
              <a:gd name="T7" fmla="*/ 2147483647 h 456"/>
              <a:gd name="T8" fmla="*/ 2147483647 w 200"/>
              <a:gd name="T9" fmla="*/ 2147483647 h 456"/>
              <a:gd name="T10" fmla="*/ 2147483647 w 200"/>
              <a:gd name="T11" fmla="*/ 2147483647 h 456"/>
              <a:gd name="T12" fmla="*/ 2147483647 w 200"/>
              <a:gd name="T13" fmla="*/ 2147483647 h 456"/>
              <a:gd name="T14" fmla="*/ 2147483647 w 200"/>
              <a:gd name="T15" fmla="*/ 2147483647 h 456"/>
              <a:gd name="T16" fmla="*/ 2147483647 w 200"/>
              <a:gd name="T17" fmla="*/ 2147483647 h 456"/>
              <a:gd name="T18" fmla="*/ 2147483647 w 200"/>
              <a:gd name="T19" fmla="*/ 2147483647 h 456"/>
              <a:gd name="T20" fmla="*/ 2147483647 w 200"/>
              <a:gd name="T21" fmla="*/ 2147483647 h 456"/>
              <a:gd name="T22" fmla="*/ 2147483647 w 200"/>
              <a:gd name="T23" fmla="*/ 2147483647 h 456"/>
              <a:gd name="T24" fmla="*/ 2147483647 w 200"/>
              <a:gd name="T25" fmla="*/ 2147483647 h 456"/>
              <a:gd name="T26" fmla="*/ 2147483647 w 200"/>
              <a:gd name="T27" fmla="*/ 2147483647 h 456"/>
              <a:gd name="T28" fmla="*/ 2147483647 w 200"/>
              <a:gd name="T29" fmla="*/ 2147483647 h 456"/>
              <a:gd name="T30" fmla="*/ 2147483647 w 200"/>
              <a:gd name="T31" fmla="*/ 2147483647 h 456"/>
              <a:gd name="T32" fmla="*/ 2147483647 w 200"/>
              <a:gd name="T33" fmla="*/ 2147483647 h 456"/>
              <a:gd name="T34" fmla="*/ 2147483647 w 200"/>
              <a:gd name="T35" fmla="*/ 2147483647 h 456"/>
              <a:gd name="T36" fmla="*/ 2147483647 w 200"/>
              <a:gd name="T37" fmla="*/ 2147483647 h 456"/>
              <a:gd name="T38" fmla="*/ 2147483647 w 200"/>
              <a:gd name="T39" fmla="*/ 2147483647 h 456"/>
              <a:gd name="T40" fmla="*/ 2147483647 w 200"/>
              <a:gd name="T41" fmla="*/ 2147483647 h 456"/>
              <a:gd name="T42" fmla="*/ 2147483647 w 200"/>
              <a:gd name="T43" fmla="*/ 2147483647 h 456"/>
              <a:gd name="T44" fmla="*/ 2147483647 w 200"/>
              <a:gd name="T45" fmla="*/ 2147483647 h 456"/>
              <a:gd name="T46" fmla="*/ 2147483647 w 200"/>
              <a:gd name="T47" fmla="*/ 2147483647 h 456"/>
              <a:gd name="T48" fmla="*/ 2147483647 w 200"/>
              <a:gd name="T49" fmla="*/ 2147483647 h 456"/>
              <a:gd name="T50" fmla="*/ 2147483647 w 200"/>
              <a:gd name="T51" fmla="*/ 2147483647 h 456"/>
              <a:gd name="T52" fmla="*/ 2147483647 w 200"/>
              <a:gd name="T53" fmla="*/ 2147483647 h 456"/>
              <a:gd name="T54" fmla="*/ 0 w 200"/>
              <a:gd name="T55" fmla="*/ 2147483647 h 456"/>
              <a:gd name="T56" fmla="*/ 2147483647 w 200"/>
              <a:gd name="T57" fmla="*/ 2147483647 h 456"/>
              <a:gd name="T58" fmla="*/ 2147483647 w 200"/>
              <a:gd name="T59" fmla="*/ 2147483647 h 456"/>
              <a:gd name="T60" fmla="*/ 2147483647 w 200"/>
              <a:gd name="T61" fmla="*/ 0 h 456"/>
              <a:gd name="T62" fmla="*/ 2147483647 w 200"/>
              <a:gd name="T63" fmla="*/ 2147483647 h 456"/>
              <a:gd name="T64" fmla="*/ 2147483647 w 200"/>
              <a:gd name="T65" fmla="*/ 2147483647 h 456"/>
              <a:gd name="T66" fmla="*/ 2147483647 w 200"/>
              <a:gd name="T67" fmla="*/ 2147483647 h 456"/>
              <a:gd name="T68" fmla="*/ 2147483647 w 200"/>
              <a:gd name="T69" fmla="*/ 2147483647 h 456"/>
              <a:gd name="T70" fmla="*/ 2147483647 w 200"/>
              <a:gd name="T71" fmla="*/ 2147483647 h 456"/>
              <a:gd name="T72" fmla="*/ 2147483647 w 200"/>
              <a:gd name="T73" fmla="*/ 2147483647 h 456"/>
              <a:gd name="T74" fmla="*/ 2147483647 w 200"/>
              <a:gd name="T75" fmla="*/ 2147483647 h 45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00" h="456">
                <a:moveTo>
                  <a:pt x="160" y="128"/>
                </a:moveTo>
                <a:lnTo>
                  <a:pt x="160" y="184"/>
                </a:lnTo>
                <a:lnTo>
                  <a:pt x="160" y="192"/>
                </a:lnTo>
                <a:lnTo>
                  <a:pt x="184" y="208"/>
                </a:lnTo>
                <a:lnTo>
                  <a:pt x="176" y="216"/>
                </a:lnTo>
                <a:lnTo>
                  <a:pt x="192" y="224"/>
                </a:lnTo>
                <a:lnTo>
                  <a:pt x="192" y="232"/>
                </a:lnTo>
                <a:lnTo>
                  <a:pt x="184" y="248"/>
                </a:lnTo>
                <a:lnTo>
                  <a:pt x="152" y="256"/>
                </a:lnTo>
                <a:lnTo>
                  <a:pt x="136" y="264"/>
                </a:lnTo>
                <a:lnTo>
                  <a:pt x="128" y="256"/>
                </a:lnTo>
                <a:lnTo>
                  <a:pt x="136" y="272"/>
                </a:lnTo>
                <a:lnTo>
                  <a:pt x="136" y="288"/>
                </a:lnTo>
                <a:lnTo>
                  <a:pt x="120" y="296"/>
                </a:lnTo>
                <a:lnTo>
                  <a:pt x="104" y="288"/>
                </a:lnTo>
                <a:lnTo>
                  <a:pt x="112" y="304"/>
                </a:lnTo>
                <a:lnTo>
                  <a:pt x="120" y="312"/>
                </a:lnTo>
                <a:lnTo>
                  <a:pt x="128" y="304"/>
                </a:lnTo>
                <a:lnTo>
                  <a:pt x="136" y="312"/>
                </a:lnTo>
                <a:lnTo>
                  <a:pt x="136" y="320"/>
                </a:lnTo>
                <a:lnTo>
                  <a:pt x="128" y="320"/>
                </a:lnTo>
                <a:lnTo>
                  <a:pt x="120" y="312"/>
                </a:lnTo>
                <a:lnTo>
                  <a:pt x="120" y="320"/>
                </a:lnTo>
                <a:lnTo>
                  <a:pt x="128" y="320"/>
                </a:lnTo>
                <a:lnTo>
                  <a:pt x="120" y="328"/>
                </a:lnTo>
                <a:lnTo>
                  <a:pt x="120" y="344"/>
                </a:lnTo>
                <a:lnTo>
                  <a:pt x="120" y="352"/>
                </a:lnTo>
                <a:lnTo>
                  <a:pt x="104" y="352"/>
                </a:lnTo>
                <a:lnTo>
                  <a:pt x="104" y="368"/>
                </a:lnTo>
                <a:lnTo>
                  <a:pt x="104" y="376"/>
                </a:lnTo>
                <a:lnTo>
                  <a:pt x="120" y="384"/>
                </a:lnTo>
                <a:lnTo>
                  <a:pt x="128" y="384"/>
                </a:lnTo>
                <a:lnTo>
                  <a:pt x="136" y="392"/>
                </a:lnTo>
                <a:lnTo>
                  <a:pt x="120" y="408"/>
                </a:lnTo>
                <a:lnTo>
                  <a:pt x="120" y="424"/>
                </a:lnTo>
                <a:lnTo>
                  <a:pt x="112" y="432"/>
                </a:lnTo>
                <a:lnTo>
                  <a:pt x="112" y="440"/>
                </a:lnTo>
                <a:lnTo>
                  <a:pt x="136" y="456"/>
                </a:lnTo>
                <a:lnTo>
                  <a:pt x="120" y="456"/>
                </a:lnTo>
                <a:lnTo>
                  <a:pt x="88" y="456"/>
                </a:lnTo>
                <a:lnTo>
                  <a:pt x="72" y="432"/>
                </a:lnTo>
                <a:lnTo>
                  <a:pt x="64" y="432"/>
                </a:lnTo>
                <a:lnTo>
                  <a:pt x="56" y="424"/>
                </a:lnTo>
                <a:lnTo>
                  <a:pt x="56" y="376"/>
                </a:lnTo>
                <a:lnTo>
                  <a:pt x="48" y="344"/>
                </a:lnTo>
                <a:lnTo>
                  <a:pt x="48" y="352"/>
                </a:lnTo>
                <a:lnTo>
                  <a:pt x="40" y="344"/>
                </a:lnTo>
                <a:lnTo>
                  <a:pt x="32" y="320"/>
                </a:lnTo>
                <a:lnTo>
                  <a:pt x="32" y="304"/>
                </a:lnTo>
                <a:lnTo>
                  <a:pt x="24" y="296"/>
                </a:lnTo>
                <a:lnTo>
                  <a:pt x="24" y="256"/>
                </a:lnTo>
                <a:lnTo>
                  <a:pt x="8" y="232"/>
                </a:lnTo>
                <a:lnTo>
                  <a:pt x="16" y="216"/>
                </a:lnTo>
                <a:lnTo>
                  <a:pt x="8" y="208"/>
                </a:lnTo>
                <a:lnTo>
                  <a:pt x="16" y="184"/>
                </a:lnTo>
                <a:lnTo>
                  <a:pt x="0" y="144"/>
                </a:lnTo>
                <a:lnTo>
                  <a:pt x="0" y="96"/>
                </a:lnTo>
                <a:lnTo>
                  <a:pt x="8" y="72"/>
                </a:lnTo>
                <a:lnTo>
                  <a:pt x="0" y="40"/>
                </a:lnTo>
                <a:lnTo>
                  <a:pt x="16" y="32"/>
                </a:lnTo>
                <a:lnTo>
                  <a:pt x="16" y="16"/>
                </a:lnTo>
                <a:lnTo>
                  <a:pt x="32" y="0"/>
                </a:lnTo>
                <a:lnTo>
                  <a:pt x="56" y="8"/>
                </a:lnTo>
                <a:lnTo>
                  <a:pt x="72" y="8"/>
                </a:lnTo>
                <a:lnTo>
                  <a:pt x="104" y="32"/>
                </a:lnTo>
                <a:lnTo>
                  <a:pt x="120" y="40"/>
                </a:lnTo>
                <a:lnTo>
                  <a:pt x="144" y="48"/>
                </a:lnTo>
                <a:lnTo>
                  <a:pt x="144" y="64"/>
                </a:lnTo>
                <a:lnTo>
                  <a:pt x="136" y="80"/>
                </a:lnTo>
                <a:lnTo>
                  <a:pt x="168" y="88"/>
                </a:lnTo>
                <a:lnTo>
                  <a:pt x="176" y="88"/>
                </a:lnTo>
                <a:lnTo>
                  <a:pt x="184" y="72"/>
                </a:lnTo>
                <a:lnTo>
                  <a:pt x="184" y="56"/>
                </a:lnTo>
                <a:lnTo>
                  <a:pt x="192" y="56"/>
                </a:lnTo>
                <a:lnTo>
                  <a:pt x="200" y="80"/>
                </a:lnTo>
                <a:lnTo>
                  <a:pt x="192" y="88"/>
                </a:lnTo>
                <a:lnTo>
                  <a:pt x="160" y="12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12" name="Freeform 296"/>
          <p:cNvSpPr>
            <a:spLocks noChangeAspect="1"/>
          </p:cNvSpPr>
          <p:nvPr/>
        </p:nvSpPr>
        <p:spPr bwMode="auto">
          <a:xfrm>
            <a:off x="8625904" y="3490079"/>
            <a:ext cx="141288" cy="217487"/>
          </a:xfrm>
          <a:custGeom>
            <a:avLst/>
            <a:gdLst>
              <a:gd name="T0" fmla="*/ 2147483647 w 64"/>
              <a:gd name="T1" fmla="*/ 0 h 104"/>
              <a:gd name="T2" fmla="*/ 2147483647 w 64"/>
              <a:gd name="T3" fmla="*/ 2147483647 h 104"/>
              <a:gd name="T4" fmla="*/ 2147483647 w 64"/>
              <a:gd name="T5" fmla="*/ 2147483647 h 104"/>
              <a:gd name="T6" fmla="*/ 2147483647 w 64"/>
              <a:gd name="T7" fmla="*/ 2147483647 h 104"/>
              <a:gd name="T8" fmla="*/ 2147483647 w 64"/>
              <a:gd name="T9" fmla="*/ 2147483647 h 104"/>
              <a:gd name="T10" fmla="*/ 0 w 64"/>
              <a:gd name="T11" fmla="*/ 2147483647 h 104"/>
              <a:gd name="T12" fmla="*/ 2147483647 w 64"/>
              <a:gd name="T13" fmla="*/ 2147483647 h 104"/>
              <a:gd name="T14" fmla="*/ 2147483647 w 64"/>
              <a:gd name="T15" fmla="*/ 2147483647 h 104"/>
              <a:gd name="T16" fmla="*/ 2147483647 w 64"/>
              <a:gd name="T17" fmla="*/ 2147483647 h 104"/>
              <a:gd name="T18" fmla="*/ 2147483647 w 64"/>
              <a:gd name="T19" fmla="*/ 2147483647 h 104"/>
              <a:gd name="T20" fmla="*/ 2147483647 w 64"/>
              <a:gd name="T21" fmla="*/ 2147483647 h 104"/>
              <a:gd name="T22" fmla="*/ 2147483647 w 64"/>
              <a:gd name="T23" fmla="*/ 2147483647 h 104"/>
              <a:gd name="T24" fmla="*/ 2147483647 w 64"/>
              <a:gd name="T25" fmla="*/ 2147483647 h 104"/>
              <a:gd name="T26" fmla="*/ 2147483647 w 64"/>
              <a:gd name="T27" fmla="*/ 2147483647 h 104"/>
              <a:gd name="T28" fmla="*/ 2147483647 w 64"/>
              <a:gd name="T29" fmla="*/ 2147483647 h 104"/>
              <a:gd name="T30" fmla="*/ 2147483647 w 64"/>
              <a:gd name="T31" fmla="*/ 2147483647 h 104"/>
              <a:gd name="T32" fmla="*/ 2147483647 w 64"/>
              <a:gd name="T33" fmla="*/ 2147483647 h 104"/>
              <a:gd name="T34" fmla="*/ 2147483647 w 64"/>
              <a:gd name="T35" fmla="*/ 2147483647 h 104"/>
              <a:gd name="T36" fmla="*/ 2147483647 w 64"/>
              <a:gd name="T37" fmla="*/ 0 h 10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4" h="104">
                <a:moveTo>
                  <a:pt x="24" y="0"/>
                </a:moveTo>
                <a:lnTo>
                  <a:pt x="8" y="8"/>
                </a:lnTo>
                <a:lnTo>
                  <a:pt x="8" y="16"/>
                </a:lnTo>
                <a:lnTo>
                  <a:pt x="16" y="24"/>
                </a:lnTo>
                <a:lnTo>
                  <a:pt x="8" y="24"/>
                </a:lnTo>
                <a:lnTo>
                  <a:pt x="0" y="40"/>
                </a:lnTo>
                <a:lnTo>
                  <a:pt x="8" y="48"/>
                </a:lnTo>
                <a:lnTo>
                  <a:pt x="16" y="48"/>
                </a:lnTo>
                <a:lnTo>
                  <a:pt x="24" y="64"/>
                </a:lnTo>
                <a:lnTo>
                  <a:pt x="16" y="88"/>
                </a:lnTo>
                <a:lnTo>
                  <a:pt x="24" y="104"/>
                </a:lnTo>
                <a:lnTo>
                  <a:pt x="32" y="104"/>
                </a:lnTo>
                <a:lnTo>
                  <a:pt x="56" y="96"/>
                </a:lnTo>
                <a:lnTo>
                  <a:pt x="64" y="96"/>
                </a:lnTo>
                <a:lnTo>
                  <a:pt x="48" y="64"/>
                </a:lnTo>
                <a:lnTo>
                  <a:pt x="56" y="40"/>
                </a:lnTo>
                <a:lnTo>
                  <a:pt x="40" y="24"/>
                </a:lnTo>
                <a:lnTo>
                  <a:pt x="40" y="8"/>
                </a:lnTo>
                <a:lnTo>
                  <a:pt x="24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13" name="Freeform 299"/>
          <p:cNvSpPr>
            <a:spLocks noChangeAspect="1"/>
          </p:cNvSpPr>
          <p:nvPr/>
        </p:nvSpPr>
        <p:spPr bwMode="auto">
          <a:xfrm>
            <a:off x="8625904" y="3404354"/>
            <a:ext cx="17463" cy="36512"/>
          </a:xfrm>
          <a:custGeom>
            <a:avLst/>
            <a:gdLst>
              <a:gd name="T0" fmla="*/ 0 w 8"/>
              <a:gd name="T1" fmla="*/ 2147483647 h 16"/>
              <a:gd name="T2" fmla="*/ 2147483647 w 8"/>
              <a:gd name="T3" fmla="*/ 2147483647 h 16"/>
              <a:gd name="T4" fmla="*/ 2147483647 w 8"/>
              <a:gd name="T5" fmla="*/ 0 h 16"/>
              <a:gd name="T6" fmla="*/ 0 w 8"/>
              <a:gd name="T7" fmla="*/ 2147483647 h 16"/>
              <a:gd name="T8" fmla="*/ 0 w 8"/>
              <a:gd name="T9" fmla="*/ 2147483647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8" h="16">
                <a:moveTo>
                  <a:pt x="0" y="16"/>
                </a:moveTo>
                <a:lnTo>
                  <a:pt x="8" y="16"/>
                </a:lnTo>
                <a:lnTo>
                  <a:pt x="8" y="0"/>
                </a:lnTo>
                <a:lnTo>
                  <a:pt x="0" y="8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14" name="Freeform 300"/>
          <p:cNvSpPr>
            <a:spLocks noChangeAspect="1"/>
          </p:cNvSpPr>
          <p:nvPr/>
        </p:nvSpPr>
        <p:spPr bwMode="auto">
          <a:xfrm>
            <a:off x="8163942" y="3170991"/>
            <a:ext cx="55562" cy="17463"/>
          </a:xfrm>
          <a:custGeom>
            <a:avLst/>
            <a:gdLst>
              <a:gd name="T0" fmla="*/ 0 w 24"/>
              <a:gd name="T1" fmla="*/ 0 h 8"/>
              <a:gd name="T2" fmla="*/ 2147483647 w 24"/>
              <a:gd name="T3" fmla="*/ 2147483647 h 8"/>
              <a:gd name="T4" fmla="*/ 2147483647 w 24"/>
              <a:gd name="T5" fmla="*/ 2147483647 h 8"/>
              <a:gd name="T6" fmla="*/ 2147483647 w 24"/>
              <a:gd name="T7" fmla="*/ 0 h 8"/>
              <a:gd name="T8" fmla="*/ 2147483647 w 24"/>
              <a:gd name="T9" fmla="*/ 0 h 8"/>
              <a:gd name="T10" fmla="*/ 0 w 24"/>
              <a:gd name="T11" fmla="*/ 0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4" h="8">
                <a:moveTo>
                  <a:pt x="0" y="0"/>
                </a:moveTo>
                <a:lnTo>
                  <a:pt x="8" y="8"/>
                </a:lnTo>
                <a:lnTo>
                  <a:pt x="24" y="8"/>
                </a:lnTo>
                <a:lnTo>
                  <a:pt x="24" y="0"/>
                </a:lnTo>
                <a:lnTo>
                  <a:pt x="8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15" name="Freeform 301"/>
          <p:cNvSpPr>
            <a:spLocks noChangeAspect="1"/>
          </p:cNvSpPr>
          <p:nvPr/>
        </p:nvSpPr>
        <p:spPr bwMode="auto">
          <a:xfrm>
            <a:off x="8040117" y="3053516"/>
            <a:ext cx="17462" cy="15875"/>
          </a:xfrm>
          <a:custGeom>
            <a:avLst/>
            <a:gdLst>
              <a:gd name="T0" fmla="*/ 0 w 8"/>
              <a:gd name="T1" fmla="*/ 2147483647 h 8"/>
              <a:gd name="T2" fmla="*/ 2147483647 w 8"/>
              <a:gd name="T3" fmla="*/ 2147483647 h 8"/>
              <a:gd name="T4" fmla="*/ 0 w 8"/>
              <a:gd name="T5" fmla="*/ 0 h 8"/>
              <a:gd name="T6" fmla="*/ 0 w 8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8"/>
                </a:moveTo>
                <a:lnTo>
                  <a:pt x="8" y="8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16" name="Freeform 302"/>
          <p:cNvSpPr>
            <a:spLocks noChangeAspect="1"/>
          </p:cNvSpPr>
          <p:nvPr/>
        </p:nvSpPr>
        <p:spPr bwMode="auto">
          <a:xfrm>
            <a:off x="7984554" y="3020179"/>
            <a:ext cx="304800" cy="101600"/>
          </a:xfrm>
          <a:custGeom>
            <a:avLst/>
            <a:gdLst>
              <a:gd name="T0" fmla="*/ 0 w 136"/>
              <a:gd name="T1" fmla="*/ 2147483647 h 48"/>
              <a:gd name="T2" fmla="*/ 2147483647 w 136"/>
              <a:gd name="T3" fmla="*/ 2147483647 h 48"/>
              <a:gd name="T4" fmla="*/ 2147483647 w 136"/>
              <a:gd name="T5" fmla="*/ 2147483647 h 48"/>
              <a:gd name="T6" fmla="*/ 2147483647 w 136"/>
              <a:gd name="T7" fmla="*/ 2147483647 h 48"/>
              <a:gd name="T8" fmla="*/ 2147483647 w 136"/>
              <a:gd name="T9" fmla="*/ 2147483647 h 48"/>
              <a:gd name="T10" fmla="*/ 2147483647 w 136"/>
              <a:gd name="T11" fmla="*/ 2147483647 h 48"/>
              <a:gd name="T12" fmla="*/ 2147483647 w 136"/>
              <a:gd name="T13" fmla="*/ 2147483647 h 48"/>
              <a:gd name="T14" fmla="*/ 2147483647 w 136"/>
              <a:gd name="T15" fmla="*/ 2147483647 h 48"/>
              <a:gd name="T16" fmla="*/ 2147483647 w 136"/>
              <a:gd name="T17" fmla="*/ 2147483647 h 48"/>
              <a:gd name="T18" fmla="*/ 2147483647 w 136"/>
              <a:gd name="T19" fmla="*/ 2147483647 h 48"/>
              <a:gd name="T20" fmla="*/ 2147483647 w 136"/>
              <a:gd name="T21" fmla="*/ 2147483647 h 48"/>
              <a:gd name="T22" fmla="*/ 2147483647 w 136"/>
              <a:gd name="T23" fmla="*/ 2147483647 h 48"/>
              <a:gd name="T24" fmla="*/ 2147483647 w 136"/>
              <a:gd name="T25" fmla="*/ 2147483647 h 48"/>
              <a:gd name="T26" fmla="*/ 2147483647 w 136"/>
              <a:gd name="T27" fmla="*/ 2147483647 h 48"/>
              <a:gd name="T28" fmla="*/ 2147483647 w 136"/>
              <a:gd name="T29" fmla="*/ 2147483647 h 48"/>
              <a:gd name="T30" fmla="*/ 2147483647 w 136"/>
              <a:gd name="T31" fmla="*/ 0 h 48"/>
              <a:gd name="T32" fmla="*/ 2147483647 w 136"/>
              <a:gd name="T33" fmla="*/ 2147483647 h 48"/>
              <a:gd name="T34" fmla="*/ 0 w 136"/>
              <a:gd name="T35" fmla="*/ 2147483647 h 48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136" h="48">
                <a:moveTo>
                  <a:pt x="0" y="24"/>
                </a:moveTo>
                <a:lnTo>
                  <a:pt x="8" y="24"/>
                </a:lnTo>
                <a:lnTo>
                  <a:pt x="32" y="8"/>
                </a:lnTo>
                <a:lnTo>
                  <a:pt x="48" y="8"/>
                </a:lnTo>
                <a:lnTo>
                  <a:pt x="40" y="16"/>
                </a:lnTo>
                <a:lnTo>
                  <a:pt x="80" y="24"/>
                </a:lnTo>
                <a:lnTo>
                  <a:pt x="88" y="40"/>
                </a:lnTo>
                <a:lnTo>
                  <a:pt x="96" y="40"/>
                </a:lnTo>
                <a:lnTo>
                  <a:pt x="88" y="48"/>
                </a:lnTo>
                <a:lnTo>
                  <a:pt x="136" y="48"/>
                </a:lnTo>
                <a:lnTo>
                  <a:pt x="128" y="40"/>
                </a:lnTo>
                <a:lnTo>
                  <a:pt x="120" y="40"/>
                </a:lnTo>
                <a:lnTo>
                  <a:pt x="120" y="32"/>
                </a:lnTo>
                <a:lnTo>
                  <a:pt x="104" y="32"/>
                </a:lnTo>
                <a:lnTo>
                  <a:pt x="88" y="16"/>
                </a:lnTo>
                <a:lnTo>
                  <a:pt x="48" y="0"/>
                </a:lnTo>
                <a:lnTo>
                  <a:pt x="16" y="8"/>
                </a:lnTo>
                <a:lnTo>
                  <a:pt x="0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17" name="Freeform 303"/>
          <p:cNvSpPr>
            <a:spLocks noChangeAspect="1"/>
          </p:cNvSpPr>
          <p:nvPr/>
        </p:nvSpPr>
        <p:spPr bwMode="auto">
          <a:xfrm>
            <a:off x="8483029" y="3170991"/>
            <a:ext cx="53975" cy="17463"/>
          </a:xfrm>
          <a:custGeom>
            <a:avLst/>
            <a:gdLst>
              <a:gd name="T0" fmla="*/ 0 w 24"/>
              <a:gd name="T1" fmla="*/ 2147483647 h 8"/>
              <a:gd name="T2" fmla="*/ 2147483647 w 24"/>
              <a:gd name="T3" fmla="*/ 2147483647 h 8"/>
              <a:gd name="T4" fmla="*/ 2147483647 w 24"/>
              <a:gd name="T5" fmla="*/ 0 h 8"/>
              <a:gd name="T6" fmla="*/ 2147483647 w 24"/>
              <a:gd name="T7" fmla="*/ 0 h 8"/>
              <a:gd name="T8" fmla="*/ 0 w 24"/>
              <a:gd name="T9" fmla="*/ 0 h 8"/>
              <a:gd name="T10" fmla="*/ 0 w 24"/>
              <a:gd name="T11" fmla="*/ 2147483647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4" h="8">
                <a:moveTo>
                  <a:pt x="0" y="8"/>
                </a:moveTo>
                <a:lnTo>
                  <a:pt x="16" y="8"/>
                </a:lnTo>
                <a:lnTo>
                  <a:pt x="24" y="0"/>
                </a:lnTo>
                <a:lnTo>
                  <a:pt x="16" y="0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18" name="Line 304"/>
          <p:cNvSpPr>
            <a:spLocks noChangeAspect="1" noChangeShapeType="1"/>
          </p:cNvSpPr>
          <p:nvPr/>
        </p:nvSpPr>
        <p:spPr bwMode="auto">
          <a:xfrm>
            <a:off x="8411592" y="3372604"/>
            <a:ext cx="4762" cy="15875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19" name="Line 305"/>
          <p:cNvSpPr>
            <a:spLocks noChangeAspect="1" noChangeShapeType="1"/>
          </p:cNvSpPr>
          <p:nvPr/>
        </p:nvSpPr>
        <p:spPr bwMode="auto">
          <a:xfrm>
            <a:off x="8643367" y="3255129"/>
            <a:ext cx="3175" cy="17462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0" name="Line 306"/>
          <p:cNvSpPr>
            <a:spLocks noChangeAspect="1" noChangeShapeType="1"/>
          </p:cNvSpPr>
          <p:nvPr/>
        </p:nvSpPr>
        <p:spPr bwMode="auto">
          <a:xfrm>
            <a:off x="8643367" y="3304341"/>
            <a:ext cx="15875" cy="4763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1" name="Freeform 307"/>
          <p:cNvSpPr>
            <a:spLocks noChangeAspect="1"/>
          </p:cNvSpPr>
          <p:nvPr/>
        </p:nvSpPr>
        <p:spPr bwMode="auto">
          <a:xfrm>
            <a:off x="8181404" y="2953504"/>
            <a:ext cx="17463" cy="49212"/>
          </a:xfrm>
          <a:custGeom>
            <a:avLst/>
            <a:gdLst>
              <a:gd name="T0" fmla="*/ 2147483647 w 8"/>
              <a:gd name="T1" fmla="*/ 0 h 24"/>
              <a:gd name="T2" fmla="*/ 0 w 8"/>
              <a:gd name="T3" fmla="*/ 2147483647 h 24"/>
              <a:gd name="T4" fmla="*/ 2147483647 w 8"/>
              <a:gd name="T5" fmla="*/ 2147483647 h 24"/>
              <a:gd name="T6" fmla="*/ 2147483647 w 8"/>
              <a:gd name="T7" fmla="*/ 2147483647 h 24"/>
              <a:gd name="T8" fmla="*/ 2147483647 w 8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8" h="24">
                <a:moveTo>
                  <a:pt x="8" y="0"/>
                </a:moveTo>
                <a:lnTo>
                  <a:pt x="0" y="8"/>
                </a:lnTo>
                <a:lnTo>
                  <a:pt x="8" y="24"/>
                </a:lnTo>
                <a:lnTo>
                  <a:pt x="8" y="8"/>
                </a:lnTo>
                <a:lnTo>
                  <a:pt x="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2" name="Freeform 308"/>
          <p:cNvSpPr>
            <a:spLocks noChangeAspect="1"/>
          </p:cNvSpPr>
          <p:nvPr/>
        </p:nvSpPr>
        <p:spPr bwMode="auto">
          <a:xfrm>
            <a:off x="8306817" y="3069391"/>
            <a:ext cx="14287" cy="17463"/>
          </a:xfrm>
          <a:custGeom>
            <a:avLst/>
            <a:gdLst>
              <a:gd name="T0" fmla="*/ 0 w 8"/>
              <a:gd name="T1" fmla="*/ 2147483647 h 8"/>
              <a:gd name="T2" fmla="*/ 2147483647 w 8"/>
              <a:gd name="T3" fmla="*/ 2147483647 h 8"/>
              <a:gd name="T4" fmla="*/ 2147483647 w 8"/>
              <a:gd name="T5" fmla="*/ 0 h 8"/>
              <a:gd name="T6" fmla="*/ 0 w 8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8"/>
                </a:moveTo>
                <a:lnTo>
                  <a:pt x="8" y="8"/>
                </a:lnTo>
                <a:lnTo>
                  <a:pt x="8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3" name="Line 309"/>
          <p:cNvSpPr>
            <a:spLocks noChangeAspect="1" noChangeShapeType="1"/>
          </p:cNvSpPr>
          <p:nvPr/>
        </p:nvSpPr>
        <p:spPr bwMode="auto">
          <a:xfrm>
            <a:off x="8181404" y="2920166"/>
            <a:ext cx="38100" cy="15875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4" name="Freeform 310"/>
          <p:cNvSpPr>
            <a:spLocks noChangeAspect="1"/>
          </p:cNvSpPr>
          <p:nvPr/>
        </p:nvSpPr>
        <p:spPr bwMode="auto">
          <a:xfrm>
            <a:off x="8219504" y="2920166"/>
            <a:ext cx="12700" cy="33338"/>
          </a:xfrm>
          <a:custGeom>
            <a:avLst/>
            <a:gdLst>
              <a:gd name="T0" fmla="*/ 0 w 8"/>
              <a:gd name="T1" fmla="*/ 0 h 16"/>
              <a:gd name="T2" fmla="*/ 2147483647 w 8"/>
              <a:gd name="T3" fmla="*/ 2147483647 h 16"/>
              <a:gd name="T4" fmla="*/ 2147483647 w 8"/>
              <a:gd name="T5" fmla="*/ 2147483647 h 1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8" h="16">
                <a:moveTo>
                  <a:pt x="0" y="0"/>
                </a:moveTo>
                <a:lnTo>
                  <a:pt x="8" y="8"/>
                </a:lnTo>
                <a:lnTo>
                  <a:pt x="8" y="16"/>
                </a:lnTo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5" name="Freeform 311"/>
          <p:cNvSpPr>
            <a:spLocks noChangeAspect="1"/>
          </p:cNvSpPr>
          <p:nvPr/>
        </p:nvSpPr>
        <p:spPr bwMode="auto">
          <a:xfrm>
            <a:off x="8232204" y="2970966"/>
            <a:ext cx="20638" cy="17463"/>
          </a:xfrm>
          <a:custGeom>
            <a:avLst/>
            <a:gdLst>
              <a:gd name="T0" fmla="*/ 0 w 8"/>
              <a:gd name="T1" fmla="*/ 0 h 8"/>
              <a:gd name="T2" fmla="*/ 2147483647 w 8"/>
              <a:gd name="T3" fmla="*/ 0 h 8"/>
              <a:gd name="T4" fmla="*/ 2147483647 w 8"/>
              <a:gd name="T5" fmla="*/ 2147483647 h 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8" h="8">
                <a:moveTo>
                  <a:pt x="0" y="0"/>
                </a:moveTo>
                <a:lnTo>
                  <a:pt x="8" y="0"/>
                </a:lnTo>
                <a:lnTo>
                  <a:pt x="8" y="8"/>
                </a:lnTo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6" name="Line 312"/>
          <p:cNvSpPr>
            <a:spLocks noChangeAspect="1" noChangeShapeType="1"/>
          </p:cNvSpPr>
          <p:nvPr/>
        </p:nvSpPr>
        <p:spPr bwMode="auto">
          <a:xfrm>
            <a:off x="8271892" y="2988429"/>
            <a:ext cx="0" cy="14287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7" name="Freeform 313"/>
          <p:cNvSpPr>
            <a:spLocks noChangeAspect="1"/>
          </p:cNvSpPr>
          <p:nvPr/>
        </p:nvSpPr>
        <p:spPr bwMode="auto">
          <a:xfrm>
            <a:off x="8271892" y="3020179"/>
            <a:ext cx="34925" cy="33337"/>
          </a:xfrm>
          <a:custGeom>
            <a:avLst/>
            <a:gdLst>
              <a:gd name="T0" fmla="*/ 0 w 16"/>
              <a:gd name="T1" fmla="*/ 0 h 16"/>
              <a:gd name="T2" fmla="*/ 2147483647 w 16"/>
              <a:gd name="T3" fmla="*/ 2147483647 h 16"/>
              <a:gd name="T4" fmla="*/ 2147483647 w 16"/>
              <a:gd name="T5" fmla="*/ 2147483647 h 1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6" h="16">
                <a:moveTo>
                  <a:pt x="0" y="0"/>
                </a:moveTo>
                <a:lnTo>
                  <a:pt x="8" y="16"/>
                </a:lnTo>
                <a:lnTo>
                  <a:pt x="16" y="16"/>
                </a:lnTo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8" name="Line 314"/>
          <p:cNvSpPr>
            <a:spLocks noChangeAspect="1" noChangeShapeType="1"/>
          </p:cNvSpPr>
          <p:nvPr/>
        </p:nvSpPr>
        <p:spPr bwMode="auto">
          <a:xfrm flipV="1">
            <a:off x="8289354" y="3053516"/>
            <a:ext cx="17463" cy="15875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9" name="Line 315"/>
          <p:cNvSpPr>
            <a:spLocks noChangeAspect="1" noChangeShapeType="1"/>
          </p:cNvSpPr>
          <p:nvPr/>
        </p:nvSpPr>
        <p:spPr bwMode="auto">
          <a:xfrm>
            <a:off x="8321104" y="3053516"/>
            <a:ext cx="19050" cy="15875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0" name="Freeform 316"/>
          <p:cNvSpPr>
            <a:spLocks noChangeAspect="1"/>
          </p:cNvSpPr>
          <p:nvPr/>
        </p:nvSpPr>
        <p:spPr bwMode="auto">
          <a:xfrm>
            <a:off x="8340154" y="3069391"/>
            <a:ext cx="38100" cy="17463"/>
          </a:xfrm>
          <a:custGeom>
            <a:avLst/>
            <a:gdLst>
              <a:gd name="T0" fmla="*/ 0 w 16"/>
              <a:gd name="T1" fmla="*/ 2147483647 h 8"/>
              <a:gd name="T2" fmla="*/ 2147483647 w 16"/>
              <a:gd name="T3" fmla="*/ 0 h 8"/>
              <a:gd name="T4" fmla="*/ 2147483647 w 16"/>
              <a:gd name="T5" fmla="*/ 2147483647 h 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6" h="8">
                <a:moveTo>
                  <a:pt x="0" y="8"/>
                </a:moveTo>
                <a:lnTo>
                  <a:pt x="8" y="0"/>
                </a:lnTo>
                <a:lnTo>
                  <a:pt x="16" y="8"/>
                </a:lnTo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1" name="Line 317"/>
          <p:cNvSpPr>
            <a:spLocks noChangeAspect="1" noChangeShapeType="1"/>
          </p:cNvSpPr>
          <p:nvPr/>
        </p:nvSpPr>
        <p:spPr bwMode="auto">
          <a:xfrm>
            <a:off x="8094092" y="2988429"/>
            <a:ext cx="15875" cy="1587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2" name="Freeform 318"/>
          <p:cNvSpPr>
            <a:spLocks noChangeAspect="1"/>
          </p:cNvSpPr>
          <p:nvPr/>
        </p:nvSpPr>
        <p:spPr bwMode="auto">
          <a:xfrm>
            <a:off x="8449692" y="2450266"/>
            <a:ext cx="68262" cy="15875"/>
          </a:xfrm>
          <a:custGeom>
            <a:avLst/>
            <a:gdLst>
              <a:gd name="T0" fmla="*/ 0 w 32"/>
              <a:gd name="T1" fmla="*/ 2147483647 h 8"/>
              <a:gd name="T2" fmla="*/ 2147483647 w 32"/>
              <a:gd name="T3" fmla="*/ 0 h 8"/>
              <a:gd name="T4" fmla="*/ 2147483647 w 32"/>
              <a:gd name="T5" fmla="*/ 0 h 8"/>
              <a:gd name="T6" fmla="*/ 0 w 32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32" h="8">
                <a:moveTo>
                  <a:pt x="0" y="8"/>
                </a:moveTo>
                <a:lnTo>
                  <a:pt x="32" y="0"/>
                </a:lnTo>
                <a:lnTo>
                  <a:pt x="24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3" name="Freeform 319"/>
          <p:cNvSpPr>
            <a:spLocks noChangeAspect="1"/>
          </p:cNvSpPr>
          <p:nvPr/>
        </p:nvSpPr>
        <p:spPr bwMode="auto">
          <a:xfrm>
            <a:off x="8821167" y="2181979"/>
            <a:ext cx="71437" cy="17462"/>
          </a:xfrm>
          <a:custGeom>
            <a:avLst/>
            <a:gdLst>
              <a:gd name="T0" fmla="*/ 0 w 32"/>
              <a:gd name="T1" fmla="*/ 0 h 8"/>
              <a:gd name="T2" fmla="*/ 2147483647 w 32"/>
              <a:gd name="T3" fmla="*/ 2147483647 h 8"/>
              <a:gd name="T4" fmla="*/ 2147483647 w 32"/>
              <a:gd name="T5" fmla="*/ 2147483647 h 8"/>
              <a:gd name="T6" fmla="*/ 2147483647 w 32"/>
              <a:gd name="T7" fmla="*/ 0 h 8"/>
              <a:gd name="T8" fmla="*/ 0 w 32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2" h="8">
                <a:moveTo>
                  <a:pt x="0" y="0"/>
                </a:moveTo>
                <a:lnTo>
                  <a:pt x="16" y="8"/>
                </a:lnTo>
                <a:lnTo>
                  <a:pt x="32" y="8"/>
                </a:lnTo>
                <a:lnTo>
                  <a:pt x="16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4" name="Freeform 320"/>
          <p:cNvSpPr>
            <a:spLocks noChangeAspect="1"/>
          </p:cNvSpPr>
          <p:nvPr/>
        </p:nvSpPr>
        <p:spPr bwMode="auto">
          <a:xfrm>
            <a:off x="8784654" y="2267704"/>
            <a:ext cx="53975" cy="31750"/>
          </a:xfrm>
          <a:custGeom>
            <a:avLst/>
            <a:gdLst>
              <a:gd name="T0" fmla="*/ 0 w 24"/>
              <a:gd name="T1" fmla="*/ 2147483647 h 16"/>
              <a:gd name="T2" fmla="*/ 2147483647 w 24"/>
              <a:gd name="T3" fmla="*/ 2147483647 h 16"/>
              <a:gd name="T4" fmla="*/ 2147483647 w 24"/>
              <a:gd name="T5" fmla="*/ 2147483647 h 16"/>
              <a:gd name="T6" fmla="*/ 2147483647 w 24"/>
              <a:gd name="T7" fmla="*/ 2147483647 h 16"/>
              <a:gd name="T8" fmla="*/ 2147483647 w 24"/>
              <a:gd name="T9" fmla="*/ 0 h 16"/>
              <a:gd name="T10" fmla="*/ 0 w 24"/>
              <a:gd name="T11" fmla="*/ 2147483647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4" h="16">
                <a:moveTo>
                  <a:pt x="0" y="8"/>
                </a:moveTo>
                <a:lnTo>
                  <a:pt x="16" y="16"/>
                </a:lnTo>
                <a:lnTo>
                  <a:pt x="24" y="8"/>
                </a:lnTo>
                <a:lnTo>
                  <a:pt x="8" y="8"/>
                </a:lnTo>
                <a:lnTo>
                  <a:pt x="8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5" name="Freeform 321"/>
          <p:cNvSpPr>
            <a:spLocks noChangeAspect="1"/>
          </p:cNvSpPr>
          <p:nvPr/>
        </p:nvSpPr>
        <p:spPr bwMode="auto">
          <a:xfrm>
            <a:off x="8571929" y="1799391"/>
            <a:ext cx="53975" cy="14288"/>
          </a:xfrm>
          <a:custGeom>
            <a:avLst/>
            <a:gdLst>
              <a:gd name="T0" fmla="*/ 0 w 24"/>
              <a:gd name="T1" fmla="*/ 2147483647 h 8"/>
              <a:gd name="T2" fmla="*/ 2147483647 w 24"/>
              <a:gd name="T3" fmla="*/ 0 h 8"/>
              <a:gd name="T4" fmla="*/ 2147483647 w 24"/>
              <a:gd name="T5" fmla="*/ 0 h 8"/>
              <a:gd name="T6" fmla="*/ 0 w 24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4" h="8">
                <a:moveTo>
                  <a:pt x="0" y="8"/>
                </a:moveTo>
                <a:lnTo>
                  <a:pt x="24" y="0"/>
                </a:lnTo>
                <a:lnTo>
                  <a:pt x="8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6" name="Freeform 322"/>
          <p:cNvSpPr>
            <a:spLocks noChangeAspect="1"/>
          </p:cNvSpPr>
          <p:nvPr/>
        </p:nvSpPr>
        <p:spPr bwMode="auto">
          <a:xfrm>
            <a:off x="8643367" y="1813679"/>
            <a:ext cx="34925" cy="15875"/>
          </a:xfrm>
          <a:custGeom>
            <a:avLst/>
            <a:gdLst>
              <a:gd name="T0" fmla="*/ 2147483647 w 16"/>
              <a:gd name="T1" fmla="*/ 0 h 8"/>
              <a:gd name="T2" fmla="*/ 0 w 16"/>
              <a:gd name="T3" fmla="*/ 2147483647 h 8"/>
              <a:gd name="T4" fmla="*/ 2147483647 w 16"/>
              <a:gd name="T5" fmla="*/ 0 h 8"/>
              <a:gd name="T6" fmla="*/ 2147483647 w 16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6" h="8">
                <a:moveTo>
                  <a:pt x="8" y="0"/>
                </a:moveTo>
                <a:lnTo>
                  <a:pt x="0" y="8"/>
                </a:lnTo>
                <a:lnTo>
                  <a:pt x="16" y="0"/>
                </a:lnTo>
                <a:lnTo>
                  <a:pt x="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7" name="Freeform 323"/>
          <p:cNvSpPr>
            <a:spLocks noChangeAspect="1"/>
          </p:cNvSpPr>
          <p:nvPr/>
        </p:nvSpPr>
        <p:spPr bwMode="auto">
          <a:xfrm>
            <a:off x="8927529" y="2131179"/>
            <a:ext cx="177800" cy="152400"/>
          </a:xfrm>
          <a:custGeom>
            <a:avLst/>
            <a:gdLst>
              <a:gd name="T0" fmla="*/ 0 w 80"/>
              <a:gd name="T1" fmla="*/ 2147483647 h 72"/>
              <a:gd name="T2" fmla="*/ 0 w 80"/>
              <a:gd name="T3" fmla="*/ 2147483647 h 72"/>
              <a:gd name="T4" fmla="*/ 2147483647 w 80"/>
              <a:gd name="T5" fmla="*/ 2147483647 h 72"/>
              <a:gd name="T6" fmla="*/ 2147483647 w 80"/>
              <a:gd name="T7" fmla="*/ 2147483647 h 72"/>
              <a:gd name="T8" fmla="*/ 2147483647 w 80"/>
              <a:gd name="T9" fmla="*/ 2147483647 h 72"/>
              <a:gd name="T10" fmla="*/ 2147483647 w 80"/>
              <a:gd name="T11" fmla="*/ 2147483647 h 72"/>
              <a:gd name="T12" fmla="*/ 2147483647 w 80"/>
              <a:gd name="T13" fmla="*/ 2147483647 h 72"/>
              <a:gd name="T14" fmla="*/ 2147483647 w 80"/>
              <a:gd name="T15" fmla="*/ 2147483647 h 72"/>
              <a:gd name="T16" fmla="*/ 2147483647 w 80"/>
              <a:gd name="T17" fmla="*/ 2147483647 h 72"/>
              <a:gd name="T18" fmla="*/ 2147483647 w 80"/>
              <a:gd name="T19" fmla="*/ 2147483647 h 72"/>
              <a:gd name="T20" fmla="*/ 2147483647 w 80"/>
              <a:gd name="T21" fmla="*/ 2147483647 h 72"/>
              <a:gd name="T22" fmla="*/ 2147483647 w 80"/>
              <a:gd name="T23" fmla="*/ 2147483647 h 72"/>
              <a:gd name="T24" fmla="*/ 2147483647 w 80"/>
              <a:gd name="T25" fmla="*/ 2147483647 h 72"/>
              <a:gd name="T26" fmla="*/ 2147483647 w 80"/>
              <a:gd name="T27" fmla="*/ 2147483647 h 72"/>
              <a:gd name="T28" fmla="*/ 2147483647 w 80"/>
              <a:gd name="T29" fmla="*/ 2147483647 h 72"/>
              <a:gd name="T30" fmla="*/ 2147483647 w 80"/>
              <a:gd name="T31" fmla="*/ 2147483647 h 72"/>
              <a:gd name="T32" fmla="*/ 2147483647 w 80"/>
              <a:gd name="T33" fmla="*/ 2147483647 h 72"/>
              <a:gd name="T34" fmla="*/ 2147483647 w 80"/>
              <a:gd name="T35" fmla="*/ 2147483647 h 72"/>
              <a:gd name="T36" fmla="*/ 2147483647 w 80"/>
              <a:gd name="T37" fmla="*/ 2147483647 h 72"/>
              <a:gd name="T38" fmla="*/ 2147483647 w 80"/>
              <a:gd name="T39" fmla="*/ 2147483647 h 72"/>
              <a:gd name="T40" fmla="*/ 2147483647 w 80"/>
              <a:gd name="T41" fmla="*/ 2147483647 h 72"/>
              <a:gd name="T42" fmla="*/ 2147483647 w 80"/>
              <a:gd name="T43" fmla="*/ 2147483647 h 72"/>
              <a:gd name="T44" fmla="*/ 2147483647 w 80"/>
              <a:gd name="T45" fmla="*/ 0 h 72"/>
              <a:gd name="T46" fmla="*/ 2147483647 w 80"/>
              <a:gd name="T47" fmla="*/ 0 h 72"/>
              <a:gd name="T48" fmla="*/ 2147483647 w 80"/>
              <a:gd name="T49" fmla="*/ 2147483647 h 72"/>
              <a:gd name="T50" fmla="*/ 0 w 80"/>
              <a:gd name="T51" fmla="*/ 2147483647 h 7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80" h="72">
                <a:moveTo>
                  <a:pt x="0" y="48"/>
                </a:moveTo>
                <a:lnTo>
                  <a:pt x="0" y="56"/>
                </a:lnTo>
                <a:lnTo>
                  <a:pt x="48" y="56"/>
                </a:lnTo>
                <a:lnTo>
                  <a:pt x="40" y="64"/>
                </a:lnTo>
                <a:lnTo>
                  <a:pt x="48" y="64"/>
                </a:lnTo>
                <a:lnTo>
                  <a:pt x="56" y="56"/>
                </a:lnTo>
                <a:lnTo>
                  <a:pt x="64" y="56"/>
                </a:lnTo>
                <a:lnTo>
                  <a:pt x="56" y="64"/>
                </a:lnTo>
                <a:lnTo>
                  <a:pt x="64" y="64"/>
                </a:lnTo>
                <a:lnTo>
                  <a:pt x="64" y="72"/>
                </a:lnTo>
                <a:lnTo>
                  <a:pt x="72" y="72"/>
                </a:lnTo>
                <a:lnTo>
                  <a:pt x="80" y="56"/>
                </a:lnTo>
                <a:lnTo>
                  <a:pt x="72" y="56"/>
                </a:lnTo>
                <a:lnTo>
                  <a:pt x="80" y="48"/>
                </a:lnTo>
                <a:lnTo>
                  <a:pt x="64" y="56"/>
                </a:lnTo>
                <a:lnTo>
                  <a:pt x="80" y="40"/>
                </a:lnTo>
                <a:lnTo>
                  <a:pt x="72" y="40"/>
                </a:lnTo>
                <a:lnTo>
                  <a:pt x="80" y="32"/>
                </a:lnTo>
                <a:lnTo>
                  <a:pt x="56" y="32"/>
                </a:lnTo>
                <a:lnTo>
                  <a:pt x="56" y="24"/>
                </a:lnTo>
                <a:lnTo>
                  <a:pt x="56" y="16"/>
                </a:lnTo>
                <a:lnTo>
                  <a:pt x="40" y="24"/>
                </a:lnTo>
                <a:lnTo>
                  <a:pt x="64" y="0"/>
                </a:lnTo>
                <a:lnTo>
                  <a:pt x="56" y="0"/>
                </a:lnTo>
                <a:lnTo>
                  <a:pt x="16" y="40"/>
                </a:lnTo>
                <a:lnTo>
                  <a:pt x="0" y="4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8" name="Freeform 324"/>
          <p:cNvSpPr>
            <a:spLocks noChangeAspect="1"/>
          </p:cNvSpPr>
          <p:nvPr/>
        </p:nvSpPr>
        <p:spPr bwMode="auto">
          <a:xfrm>
            <a:off x="8517954" y="1696204"/>
            <a:ext cx="179388" cy="82550"/>
          </a:xfrm>
          <a:custGeom>
            <a:avLst/>
            <a:gdLst>
              <a:gd name="T0" fmla="*/ 0 w 80"/>
              <a:gd name="T1" fmla="*/ 2147483647 h 40"/>
              <a:gd name="T2" fmla="*/ 2147483647 w 80"/>
              <a:gd name="T3" fmla="*/ 2147483647 h 40"/>
              <a:gd name="T4" fmla="*/ 2147483647 w 80"/>
              <a:gd name="T5" fmla="*/ 2147483647 h 40"/>
              <a:gd name="T6" fmla="*/ 2147483647 w 80"/>
              <a:gd name="T7" fmla="*/ 2147483647 h 40"/>
              <a:gd name="T8" fmla="*/ 2147483647 w 80"/>
              <a:gd name="T9" fmla="*/ 2147483647 h 40"/>
              <a:gd name="T10" fmla="*/ 2147483647 w 80"/>
              <a:gd name="T11" fmla="*/ 2147483647 h 40"/>
              <a:gd name="T12" fmla="*/ 2147483647 w 80"/>
              <a:gd name="T13" fmla="*/ 2147483647 h 40"/>
              <a:gd name="T14" fmla="*/ 2147483647 w 80"/>
              <a:gd name="T15" fmla="*/ 2147483647 h 40"/>
              <a:gd name="T16" fmla="*/ 2147483647 w 80"/>
              <a:gd name="T17" fmla="*/ 0 h 40"/>
              <a:gd name="T18" fmla="*/ 2147483647 w 80"/>
              <a:gd name="T19" fmla="*/ 2147483647 h 40"/>
              <a:gd name="T20" fmla="*/ 2147483647 w 80"/>
              <a:gd name="T21" fmla="*/ 2147483647 h 40"/>
              <a:gd name="T22" fmla="*/ 0 w 80"/>
              <a:gd name="T23" fmla="*/ 2147483647 h 4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80" h="40">
                <a:moveTo>
                  <a:pt x="0" y="32"/>
                </a:moveTo>
                <a:lnTo>
                  <a:pt x="16" y="32"/>
                </a:lnTo>
                <a:lnTo>
                  <a:pt x="16" y="40"/>
                </a:lnTo>
                <a:lnTo>
                  <a:pt x="40" y="32"/>
                </a:lnTo>
                <a:lnTo>
                  <a:pt x="48" y="32"/>
                </a:lnTo>
                <a:lnTo>
                  <a:pt x="64" y="40"/>
                </a:lnTo>
                <a:lnTo>
                  <a:pt x="80" y="32"/>
                </a:lnTo>
                <a:lnTo>
                  <a:pt x="48" y="8"/>
                </a:lnTo>
                <a:lnTo>
                  <a:pt x="48" y="0"/>
                </a:lnTo>
                <a:lnTo>
                  <a:pt x="32" y="16"/>
                </a:lnTo>
                <a:lnTo>
                  <a:pt x="16" y="32"/>
                </a:lnTo>
                <a:lnTo>
                  <a:pt x="0" y="3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9" name="Freeform 325"/>
          <p:cNvSpPr>
            <a:spLocks noChangeAspect="1"/>
          </p:cNvSpPr>
          <p:nvPr/>
        </p:nvSpPr>
        <p:spPr bwMode="auto">
          <a:xfrm>
            <a:off x="8838629" y="1646991"/>
            <a:ext cx="53975" cy="31750"/>
          </a:xfrm>
          <a:custGeom>
            <a:avLst/>
            <a:gdLst>
              <a:gd name="T0" fmla="*/ 0 w 24"/>
              <a:gd name="T1" fmla="*/ 2147483647 h 16"/>
              <a:gd name="T2" fmla="*/ 0 w 24"/>
              <a:gd name="T3" fmla="*/ 2147483647 h 16"/>
              <a:gd name="T4" fmla="*/ 2147483647 w 24"/>
              <a:gd name="T5" fmla="*/ 2147483647 h 16"/>
              <a:gd name="T6" fmla="*/ 2147483647 w 24"/>
              <a:gd name="T7" fmla="*/ 0 h 16"/>
              <a:gd name="T8" fmla="*/ 2147483647 w 24"/>
              <a:gd name="T9" fmla="*/ 0 h 16"/>
              <a:gd name="T10" fmla="*/ 0 w 24"/>
              <a:gd name="T11" fmla="*/ 2147483647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4" h="16">
                <a:moveTo>
                  <a:pt x="0" y="8"/>
                </a:moveTo>
                <a:lnTo>
                  <a:pt x="0" y="16"/>
                </a:lnTo>
                <a:lnTo>
                  <a:pt x="8" y="16"/>
                </a:lnTo>
                <a:lnTo>
                  <a:pt x="24" y="0"/>
                </a:lnTo>
                <a:lnTo>
                  <a:pt x="16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0" name="Freeform 326"/>
          <p:cNvSpPr>
            <a:spLocks noChangeAspect="1"/>
          </p:cNvSpPr>
          <p:nvPr/>
        </p:nvSpPr>
        <p:spPr bwMode="auto">
          <a:xfrm>
            <a:off x="8659242" y="1497766"/>
            <a:ext cx="500062" cy="315913"/>
          </a:xfrm>
          <a:custGeom>
            <a:avLst/>
            <a:gdLst>
              <a:gd name="T0" fmla="*/ 0 w 224"/>
              <a:gd name="T1" fmla="*/ 2147483647 h 152"/>
              <a:gd name="T2" fmla="*/ 2147483647 w 224"/>
              <a:gd name="T3" fmla="*/ 2147483647 h 152"/>
              <a:gd name="T4" fmla="*/ 2147483647 w 224"/>
              <a:gd name="T5" fmla="*/ 2147483647 h 152"/>
              <a:gd name="T6" fmla="*/ 2147483647 w 224"/>
              <a:gd name="T7" fmla="*/ 2147483647 h 152"/>
              <a:gd name="T8" fmla="*/ 2147483647 w 224"/>
              <a:gd name="T9" fmla="*/ 2147483647 h 152"/>
              <a:gd name="T10" fmla="*/ 2147483647 w 224"/>
              <a:gd name="T11" fmla="*/ 2147483647 h 152"/>
              <a:gd name="T12" fmla="*/ 2147483647 w 224"/>
              <a:gd name="T13" fmla="*/ 2147483647 h 152"/>
              <a:gd name="T14" fmla="*/ 2147483647 w 224"/>
              <a:gd name="T15" fmla="*/ 2147483647 h 152"/>
              <a:gd name="T16" fmla="*/ 2147483647 w 224"/>
              <a:gd name="T17" fmla="*/ 2147483647 h 152"/>
              <a:gd name="T18" fmla="*/ 2147483647 w 224"/>
              <a:gd name="T19" fmla="*/ 2147483647 h 152"/>
              <a:gd name="T20" fmla="*/ 2147483647 w 224"/>
              <a:gd name="T21" fmla="*/ 2147483647 h 152"/>
              <a:gd name="T22" fmla="*/ 2147483647 w 224"/>
              <a:gd name="T23" fmla="*/ 2147483647 h 152"/>
              <a:gd name="T24" fmla="*/ 2147483647 w 224"/>
              <a:gd name="T25" fmla="*/ 2147483647 h 152"/>
              <a:gd name="T26" fmla="*/ 2147483647 w 224"/>
              <a:gd name="T27" fmla="*/ 2147483647 h 152"/>
              <a:gd name="T28" fmla="*/ 2147483647 w 224"/>
              <a:gd name="T29" fmla="*/ 2147483647 h 152"/>
              <a:gd name="T30" fmla="*/ 2147483647 w 224"/>
              <a:gd name="T31" fmla="*/ 2147483647 h 152"/>
              <a:gd name="T32" fmla="*/ 2147483647 w 224"/>
              <a:gd name="T33" fmla="*/ 2147483647 h 152"/>
              <a:gd name="T34" fmla="*/ 2147483647 w 224"/>
              <a:gd name="T35" fmla="*/ 2147483647 h 152"/>
              <a:gd name="T36" fmla="*/ 2147483647 w 224"/>
              <a:gd name="T37" fmla="*/ 2147483647 h 152"/>
              <a:gd name="T38" fmla="*/ 2147483647 w 224"/>
              <a:gd name="T39" fmla="*/ 2147483647 h 152"/>
              <a:gd name="T40" fmla="*/ 2147483647 w 224"/>
              <a:gd name="T41" fmla="*/ 2147483647 h 152"/>
              <a:gd name="T42" fmla="*/ 2147483647 w 224"/>
              <a:gd name="T43" fmla="*/ 2147483647 h 152"/>
              <a:gd name="T44" fmla="*/ 2147483647 w 224"/>
              <a:gd name="T45" fmla="*/ 2147483647 h 152"/>
              <a:gd name="T46" fmla="*/ 2147483647 w 224"/>
              <a:gd name="T47" fmla="*/ 2147483647 h 152"/>
              <a:gd name="T48" fmla="*/ 2147483647 w 224"/>
              <a:gd name="T49" fmla="*/ 2147483647 h 152"/>
              <a:gd name="T50" fmla="*/ 2147483647 w 224"/>
              <a:gd name="T51" fmla="*/ 2147483647 h 152"/>
              <a:gd name="T52" fmla="*/ 2147483647 w 224"/>
              <a:gd name="T53" fmla="*/ 2147483647 h 152"/>
              <a:gd name="T54" fmla="*/ 2147483647 w 224"/>
              <a:gd name="T55" fmla="*/ 2147483647 h 152"/>
              <a:gd name="T56" fmla="*/ 2147483647 w 224"/>
              <a:gd name="T57" fmla="*/ 2147483647 h 152"/>
              <a:gd name="T58" fmla="*/ 2147483647 w 224"/>
              <a:gd name="T59" fmla="*/ 2147483647 h 152"/>
              <a:gd name="T60" fmla="*/ 2147483647 w 224"/>
              <a:gd name="T61" fmla="*/ 2147483647 h 152"/>
              <a:gd name="T62" fmla="*/ 2147483647 w 224"/>
              <a:gd name="T63" fmla="*/ 2147483647 h 152"/>
              <a:gd name="T64" fmla="*/ 2147483647 w 224"/>
              <a:gd name="T65" fmla="*/ 2147483647 h 152"/>
              <a:gd name="T66" fmla="*/ 2147483647 w 224"/>
              <a:gd name="T67" fmla="*/ 2147483647 h 152"/>
              <a:gd name="T68" fmla="*/ 2147483647 w 224"/>
              <a:gd name="T69" fmla="*/ 2147483647 h 152"/>
              <a:gd name="T70" fmla="*/ 2147483647 w 224"/>
              <a:gd name="T71" fmla="*/ 2147483647 h 152"/>
              <a:gd name="T72" fmla="*/ 2147483647 w 224"/>
              <a:gd name="T73" fmla="*/ 2147483647 h 152"/>
              <a:gd name="T74" fmla="*/ 2147483647 w 224"/>
              <a:gd name="T75" fmla="*/ 2147483647 h 152"/>
              <a:gd name="T76" fmla="*/ 2147483647 w 224"/>
              <a:gd name="T77" fmla="*/ 2147483647 h 152"/>
              <a:gd name="T78" fmla="*/ 2147483647 w 224"/>
              <a:gd name="T79" fmla="*/ 2147483647 h 152"/>
              <a:gd name="T80" fmla="*/ 2147483647 w 224"/>
              <a:gd name="T81" fmla="*/ 2147483647 h 152"/>
              <a:gd name="T82" fmla="*/ 2147483647 w 224"/>
              <a:gd name="T83" fmla="*/ 2147483647 h 152"/>
              <a:gd name="T84" fmla="*/ 2147483647 w 224"/>
              <a:gd name="T85" fmla="*/ 2147483647 h 152"/>
              <a:gd name="T86" fmla="*/ 2147483647 w 224"/>
              <a:gd name="T87" fmla="*/ 2147483647 h 152"/>
              <a:gd name="T88" fmla="*/ 2147483647 w 224"/>
              <a:gd name="T89" fmla="*/ 2147483647 h 152"/>
              <a:gd name="T90" fmla="*/ 2147483647 w 224"/>
              <a:gd name="T91" fmla="*/ 2147483647 h 152"/>
              <a:gd name="T92" fmla="*/ 2147483647 w 224"/>
              <a:gd name="T93" fmla="*/ 2147483647 h 152"/>
              <a:gd name="T94" fmla="*/ 2147483647 w 224"/>
              <a:gd name="T95" fmla="*/ 2147483647 h 152"/>
              <a:gd name="T96" fmla="*/ 2147483647 w 224"/>
              <a:gd name="T97" fmla="*/ 2147483647 h 152"/>
              <a:gd name="T98" fmla="*/ 2147483647 w 224"/>
              <a:gd name="T99" fmla="*/ 2147483647 h 152"/>
              <a:gd name="T100" fmla="*/ 2147483647 w 224"/>
              <a:gd name="T101" fmla="*/ 0 h 152"/>
              <a:gd name="T102" fmla="*/ 2147483647 w 224"/>
              <a:gd name="T103" fmla="*/ 2147483647 h 152"/>
              <a:gd name="T104" fmla="*/ 2147483647 w 224"/>
              <a:gd name="T105" fmla="*/ 2147483647 h 152"/>
              <a:gd name="T106" fmla="*/ 2147483647 w 224"/>
              <a:gd name="T107" fmla="*/ 2147483647 h 152"/>
              <a:gd name="T108" fmla="*/ 2147483647 w 224"/>
              <a:gd name="T109" fmla="*/ 0 h 152"/>
              <a:gd name="T110" fmla="*/ 2147483647 w 224"/>
              <a:gd name="T111" fmla="*/ 0 h 152"/>
              <a:gd name="T112" fmla="*/ 2147483647 w 224"/>
              <a:gd name="T113" fmla="*/ 2147483647 h 152"/>
              <a:gd name="T114" fmla="*/ 0 w 224"/>
              <a:gd name="T115" fmla="*/ 2147483647 h 152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24" h="152">
                <a:moveTo>
                  <a:pt x="0" y="24"/>
                </a:moveTo>
                <a:lnTo>
                  <a:pt x="8" y="40"/>
                </a:lnTo>
                <a:lnTo>
                  <a:pt x="24" y="48"/>
                </a:lnTo>
                <a:lnTo>
                  <a:pt x="64" y="48"/>
                </a:lnTo>
                <a:lnTo>
                  <a:pt x="72" y="56"/>
                </a:lnTo>
                <a:lnTo>
                  <a:pt x="96" y="48"/>
                </a:lnTo>
                <a:lnTo>
                  <a:pt x="112" y="56"/>
                </a:lnTo>
                <a:lnTo>
                  <a:pt x="96" y="64"/>
                </a:lnTo>
                <a:lnTo>
                  <a:pt x="112" y="64"/>
                </a:lnTo>
                <a:lnTo>
                  <a:pt x="120" y="64"/>
                </a:lnTo>
                <a:lnTo>
                  <a:pt x="128" y="72"/>
                </a:lnTo>
                <a:lnTo>
                  <a:pt x="128" y="88"/>
                </a:lnTo>
                <a:lnTo>
                  <a:pt x="88" y="96"/>
                </a:lnTo>
                <a:lnTo>
                  <a:pt x="96" y="104"/>
                </a:lnTo>
                <a:lnTo>
                  <a:pt x="80" y="112"/>
                </a:lnTo>
                <a:lnTo>
                  <a:pt x="56" y="104"/>
                </a:lnTo>
                <a:lnTo>
                  <a:pt x="40" y="120"/>
                </a:lnTo>
                <a:lnTo>
                  <a:pt x="64" y="120"/>
                </a:lnTo>
                <a:lnTo>
                  <a:pt x="88" y="128"/>
                </a:lnTo>
                <a:lnTo>
                  <a:pt x="96" y="128"/>
                </a:lnTo>
                <a:lnTo>
                  <a:pt x="96" y="136"/>
                </a:lnTo>
                <a:lnTo>
                  <a:pt x="96" y="144"/>
                </a:lnTo>
                <a:lnTo>
                  <a:pt x="120" y="152"/>
                </a:lnTo>
                <a:lnTo>
                  <a:pt x="144" y="152"/>
                </a:lnTo>
                <a:lnTo>
                  <a:pt x="128" y="136"/>
                </a:lnTo>
                <a:lnTo>
                  <a:pt x="128" y="128"/>
                </a:lnTo>
                <a:lnTo>
                  <a:pt x="152" y="144"/>
                </a:lnTo>
                <a:lnTo>
                  <a:pt x="168" y="144"/>
                </a:lnTo>
                <a:lnTo>
                  <a:pt x="176" y="136"/>
                </a:lnTo>
                <a:lnTo>
                  <a:pt x="168" y="128"/>
                </a:lnTo>
                <a:lnTo>
                  <a:pt x="176" y="120"/>
                </a:lnTo>
                <a:lnTo>
                  <a:pt x="160" y="104"/>
                </a:lnTo>
                <a:lnTo>
                  <a:pt x="168" y="96"/>
                </a:lnTo>
                <a:lnTo>
                  <a:pt x="184" y="104"/>
                </a:lnTo>
                <a:lnTo>
                  <a:pt x="184" y="112"/>
                </a:lnTo>
                <a:lnTo>
                  <a:pt x="192" y="112"/>
                </a:lnTo>
                <a:lnTo>
                  <a:pt x="224" y="88"/>
                </a:lnTo>
                <a:lnTo>
                  <a:pt x="200" y="72"/>
                </a:lnTo>
                <a:lnTo>
                  <a:pt x="184" y="72"/>
                </a:lnTo>
                <a:lnTo>
                  <a:pt x="176" y="64"/>
                </a:lnTo>
                <a:lnTo>
                  <a:pt x="184" y="64"/>
                </a:lnTo>
                <a:lnTo>
                  <a:pt x="200" y="56"/>
                </a:lnTo>
                <a:lnTo>
                  <a:pt x="192" y="56"/>
                </a:lnTo>
                <a:lnTo>
                  <a:pt x="200" y="48"/>
                </a:lnTo>
                <a:lnTo>
                  <a:pt x="176" y="32"/>
                </a:lnTo>
                <a:lnTo>
                  <a:pt x="152" y="24"/>
                </a:lnTo>
                <a:lnTo>
                  <a:pt x="160" y="16"/>
                </a:lnTo>
                <a:lnTo>
                  <a:pt x="128" y="16"/>
                </a:lnTo>
                <a:lnTo>
                  <a:pt x="88" y="24"/>
                </a:lnTo>
                <a:lnTo>
                  <a:pt x="104" y="8"/>
                </a:lnTo>
                <a:lnTo>
                  <a:pt x="88" y="0"/>
                </a:lnTo>
                <a:lnTo>
                  <a:pt x="56" y="8"/>
                </a:lnTo>
                <a:lnTo>
                  <a:pt x="40" y="24"/>
                </a:lnTo>
                <a:lnTo>
                  <a:pt x="48" y="16"/>
                </a:lnTo>
                <a:lnTo>
                  <a:pt x="80" y="0"/>
                </a:lnTo>
                <a:lnTo>
                  <a:pt x="56" y="0"/>
                </a:lnTo>
                <a:lnTo>
                  <a:pt x="24" y="8"/>
                </a:lnTo>
                <a:lnTo>
                  <a:pt x="0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1" name="Freeform 327"/>
          <p:cNvSpPr>
            <a:spLocks noChangeAspect="1"/>
          </p:cNvSpPr>
          <p:nvPr/>
        </p:nvSpPr>
        <p:spPr bwMode="auto">
          <a:xfrm>
            <a:off x="8892604" y="1497766"/>
            <a:ext cx="88900" cy="30163"/>
          </a:xfrm>
          <a:custGeom>
            <a:avLst/>
            <a:gdLst>
              <a:gd name="T0" fmla="*/ 2147483647 w 40"/>
              <a:gd name="T1" fmla="*/ 0 h 16"/>
              <a:gd name="T2" fmla="*/ 0 w 40"/>
              <a:gd name="T3" fmla="*/ 2147483647 h 16"/>
              <a:gd name="T4" fmla="*/ 2147483647 w 40"/>
              <a:gd name="T5" fmla="*/ 2147483647 h 16"/>
              <a:gd name="T6" fmla="*/ 2147483647 w 40"/>
              <a:gd name="T7" fmla="*/ 2147483647 h 16"/>
              <a:gd name="T8" fmla="*/ 2147483647 w 40"/>
              <a:gd name="T9" fmla="*/ 2147483647 h 16"/>
              <a:gd name="T10" fmla="*/ 2147483647 w 40"/>
              <a:gd name="T11" fmla="*/ 0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" h="16">
                <a:moveTo>
                  <a:pt x="8" y="0"/>
                </a:moveTo>
                <a:lnTo>
                  <a:pt x="0" y="8"/>
                </a:lnTo>
                <a:lnTo>
                  <a:pt x="8" y="16"/>
                </a:lnTo>
                <a:lnTo>
                  <a:pt x="32" y="16"/>
                </a:lnTo>
                <a:lnTo>
                  <a:pt x="40" y="8"/>
                </a:lnTo>
                <a:lnTo>
                  <a:pt x="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2" name="Freeform 328"/>
          <p:cNvSpPr>
            <a:spLocks noChangeAspect="1"/>
          </p:cNvSpPr>
          <p:nvPr/>
        </p:nvSpPr>
        <p:spPr bwMode="auto">
          <a:xfrm>
            <a:off x="8625904" y="1462841"/>
            <a:ext cx="52388" cy="17463"/>
          </a:xfrm>
          <a:custGeom>
            <a:avLst/>
            <a:gdLst>
              <a:gd name="T0" fmla="*/ 0 w 24"/>
              <a:gd name="T1" fmla="*/ 0 h 8"/>
              <a:gd name="T2" fmla="*/ 2147483647 w 24"/>
              <a:gd name="T3" fmla="*/ 2147483647 h 8"/>
              <a:gd name="T4" fmla="*/ 2147483647 w 24"/>
              <a:gd name="T5" fmla="*/ 0 h 8"/>
              <a:gd name="T6" fmla="*/ 2147483647 w 24"/>
              <a:gd name="T7" fmla="*/ 0 h 8"/>
              <a:gd name="T8" fmla="*/ 0 w 24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" h="8">
                <a:moveTo>
                  <a:pt x="0" y="0"/>
                </a:moveTo>
                <a:lnTo>
                  <a:pt x="16" y="8"/>
                </a:lnTo>
                <a:lnTo>
                  <a:pt x="24" y="0"/>
                </a:lnTo>
                <a:lnTo>
                  <a:pt x="16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3" name="Freeform 329"/>
          <p:cNvSpPr>
            <a:spLocks noChangeAspect="1"/>
          </p:cNvSpPr>
          <p:nvPr/>
        </p:nvSpPr>
        <p:spPr bwMode="auto">
          <a:xfrm>
            <a:off x="8678292" y="1429504"/>
            <a:ext cx="285750" cy="50800"/>
          </a:xfrm>
          <a:custGeom>
            <a:avLst/>
            <a:gdLst>
              <a:gd name="T0" fmla="*/ 2147483647 w 128"/>
              <a:gd name="T1" fmla="*/ 0 h 24"/>
              <a:gd name="T2" fmla="*/ 0 w 128"/>
              <a:gd name="T3" fmla="*/ 0 h 24"/>
              <a:gd name="T4" fmla="*/ 2147483647 w 128"/>
              <a:gd name="T5" fmla="*/ 2147483647 h 24"/>
              <a:gd name="T6" fmla="*/ 2147483647 w 128"/>
              <a:gd name="T7" fmla="*/ 2147483647 h 24"/>
              <a:gd name="T8" fmla="*/ 2147483647 w 128"/>
              <a:gd name="T9" fmla="*/ 2147483647 h 24"/>
              <a:gd name="T10" fmla="*/ 2147483647 w 128"/>
              <a:gd name="T11" fmla="*/ 2147483647 h 24"/>
              <a:gd name="T12" fmla="*/ 2147483647 w 128"/>
              <a:gd name="T13" fmla="*/ 2147483647 h 24"/>
              <a:gd name="T14" fmla="*/ 2147483647 w 128"/>
              <a:gd name="T15" fmla="*/ 2147483647 h 24"/>
              <a:gd name="T16" fmla="*/ 2147483647 w 128"/>
              <a:gd name="T17" fmla="*/ 2147483647 h 24"/>
              <a:gd name="T18" fmla="*/ 2147483647 w 128"/>
              <a:gd name="T19" fmla="*/ 2147483647 h 24"/>
              <a:gd name="T20" fmla="*/ 2147483647 w 128"/>
              <a:gd name="T21" fmla="*/ 2147483647 h 24"/>
              <a:gd name="T22" fmla="*/ 2147483647 w 128"/>
              <a:gd name="T23" fmla="*/ 2147483647 h 24"/>
              <a:gd name="T24" fmla="*/ 2147483647 w 128"/>
              <a:gd name="T25" fmla="*/ 2147483647 h 24"/>
              <a:gd name="T26" fmla="*/ 2147483647 w 128"/>
              <a:gd name="T27" fmla="*/ 0 h 24"/>
              <a:gd name="T28" fmla="*/ 2147483647 w 128"/>
              <a:gd name="T29" fmla="*/ 0 h 2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28" h="24">
                <a:moveTo>
                  <a:pt x="8" y="0"/>
                </a:moveTo>
                <a:lnTo>
                  <a:pt x="0" y="0"/>
                </a:lnTo>
                <a:lnTo>
                  <a:pt x="8" y="8"/>
                </a:lnTo>
                <a:lnTo>
                  <a:pt x="32" y="8"/>
                </a:lnTo>
                <a:lnTo>
                  <a:pt x="16" y="24"/>
                </a:lnTo>
                <a:lnTo>
                  <a:pt x="24" y="24"/>
                </a:lnTo>
                <a:lnTo>
                  <a:pt x="72" y="24"/>
                </a:lnTo>
                <a:lnTo>
                  <a:pt x="88" y="24"/>
                </a:lnTo>
                <a:lnTo>
                  <a:pt x="96" y="24"/>
                </a:lnTo>
                <a:lnTo>
                  <a:pt x="112" y="24"/>
                </a:lnTo>
                <a:lnTo>
                  <a:pt x="128" y="16"/>
                </a:lnTo>
                <a:lnTo>
                  <a:pt x="56" y="8"/>
                </a:lnTo>
                <a:lnTo>
                  <a:pt x="48" y="8"/>
                </a:lnTo>
                <a:lnTo>
                  <a:pt x="48" y="0"/>
                </a:lnTo>
                <a:lnTo>
                  <a:pt x="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4" name="Freeform 330"/>
          <p:cNvSpPr>
            <a:spLocks noChangeAspect="1"/>
          </p:cNvSpPr>
          <p:nvPr/>
        </p:nvSpPr>
        <p:spPr bwMode="auto">
          <a:xfrm>
            <a:off x="8805292" y="1329491"/>
            <a:ext cx="176212" cy="66675"/>
          </a:xfrm>
          <a:custGeom>
            <a:avLst/>
            <a:gdLst>
              <a:gd name="T0" fmla="*/ 2147483647 w 80"/>
              <a:gd name="T1" fmla="*/ 2147483647 h 32"/>
              <a:gd name="T2" fmla="*/ 2147483647 w 80"/>
              <a:gd name="T3" fmla="*/ 2147483647 h 32"/>
              <a:gd name="T4" fmla="*/ 0 w 80"/>
              <a:gd name="T5" fmla="*/ 2147483647 h 32"/>
              <a:gd name="T6" fmla="*/ 0 w 80"/>
              <a:gd name="T7" fmla="*/ 2147483647 h 32"/>
              <a:gd name="T8" fmla="*/ 2147483647 w 80"/>
              <a:gd name="T9" fmla="*/ 2147483647 h 32"/>
              <a:gd name="T10" fmla="*/ 2147483647 w 80"/>
              <a:gd name="T11" fmla="*/ 2147483647 h 32"/>
              <a:gd name="T12" fmla="*/ 2147483647 w 80"/>
              <a:gd name="T13" fmla="*/ 2147483647 h 32"/>
              <a:gd name="T14" fmla="*/ 2147483647 w 80"/>
              <a:gd name="T15" fmla="*/ 2147483647 h 32"/>
              <a:gd name="T16" fmla="*/ 2147483647 w 80"/>
              <a:gd name="T17" fmla="*/ 2147483647 h 32"/>
              <a:gd name="T18" fmla="*/ 2147483647 w 80"/>
              <a:gd name="T19" fmla="*/ 0 h 32"/>
              <a:gd name="T20" fmla="*/ 2147483647 w 80"/>
              <a:gd name="T21" fmla="*/ 0 h 32"/>
              <a:gd name="T22" fmla="*/ 2147483647 w 80"/>
              <a:gd name="T23" fmla="*/ 2147483647 h 3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80" h="32">
                <a:moveTo>
                  <a:pt x="8" y="8"/>
                </a:moveTo>
                <a:lnTo>
                  <a:pt x="8" y="16"/>
                </a:lnTo>
                <a:lnTo>
                  <a:pt x="0" y="24"/>
                </a:lnTo>
                <a:lnTo>
                  <a:pt x="0" y="32"/>
                </a:lnTo>
                <a:lnTo>
                  <a:pt x="24" y="32"/>
                </a:lnTo>
                <a:lnTo>
                  <a:pt x="80" y="16"/>
                </a:lnTo>
                <a:lnTo>
                  <a:pt x="64" y="16"/>
                </a:lnTo>
                <a:lnTo>
                  <a:pt x="72" y="8"/>
                </a:lnTo>
                <a:lnTo>
                  <a:pt x="56" y="8"/>
                </a:lnTo>
                <a:lnTo>
                  <a:pt x="48" y="0"/>
                </a:lnTo>
                <a:lnTo>
                  <a:pt x="32" y="0"/>
                </a:lnTo>
                <a:lnTo>
                  <a:pt x="8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5" name="Freeform 331"/>
          <p:cNvSpPr>
            <a:spLocks noChangeAspect="1"/>
          </p:cNvSpPr>
          <p:nvPr/>
        </p:nvSpPr>
        <p:spPr bwMode="auto">
          <a:xfrm>
            <a:off x="8805292" y="1292979"/>
            <a:ext cx="692150" cy="152400"/>
          </a:xfrm>
          <a:custGeom>
            <a:avLst/>
            <a:gdLst>
              <a:gd name="T0" fmla="*/ 2147483647 w 312"/>
              <a:gd name="T1" fmla="*/ 2147483647 h 72"/>
              <a:gd name="T2" fmla="*/ 2147483647 w 312"/>
              <a:gd name="T3" fmla="*/ 2147483647 h 72"/>
              <a:gd name="T4" fmla="*/ 2147483647 w 312"/>
              <a:gd name="T5" fmla="*/ 2147483647 h 72"/>
              <a:gd name="T6" fmla="*/ 2147483647 w 312"/>
              <a:gd name="T7" fmla="*/ 2147483647 h 72"/>
              <a:gd name="T8" fmla="*/ 2147483647 w 312"/>
              <a:gd name="T9" fmla="*/ 2147483647 h 72"/>
              <a:gd name="T10" fmla="*/ 2147483647 w 312"/>
              <a:gd name="T11" fmla="*/ 2147483647 h 72"/>
              <a:gd name="T12" fmla="*/ 2147483647 w 312"/>
              <a:gd name="T13" fmla="*/ 2147483647 h 72"/>
              <a:gd name="T14" fmla="*/ 2147483647 w 312"/>
              <a:gd name="T15" fmla="*/ 2147483647 h 72"/>
              <a:gd name="T16" fmla="*/ 2147483647 w 312"/>
              <a:gd name="T17" fmla="*/ 2147483647 h 72"/>
              <a:gd name="T18" fmla="*/ 2147483647 w 312"/>
              <a:gd name="T19" fmla="*/ 2147483647 h 72"/>
              <a:gd name="T20" fmla="*/ 2147483647 w 312"/>
              <a:gd name="T21" fmla="*/ 2147483647 h 72"/>
              <a:gd name="T22" fmla="*/ 2147483647 w 312"/>
              <a:gd name="T23" fmla="*/ 2147483647 h 72"/>
              <a:gd name="T24" fmla="*/ 0 w 312"/>
              <a:gd name="T25" fmla="*/ 2147483647 h 72"/>
              <a:gd name="T26" fmla="*/ 2147483647 w 312"/>
              <a:gd name="T27" fmla="*/ 2147483647 h 72"/>
              <a:gd name="T28" fmla="*/ 2147483647 w 312"/>
              <a:gd name="T29" fmla="*/ 2147483647 h 72"/>
              <a:gd name="T30" fmla="*/ 2147483647 w 312"/>
              <a:gd name="T31" fmla="*/ 2147483647 h 72"/>
              <a:gd name="T32" fmla="*/ 2147483647 w 312"/>
              <a:gd name="T33" fmla="*/ 2147483647 h 72"/>
              <a:gd name="T34" fmla="*/ 2147483647 w 312"/>
              <a:gd name="T35" fmla="*/ 2147483647 h 72"/>
              <a:gd name="T36" fmla="*/ 2147483647 w 312"/>
              <a:gd name="T37" fmla="*/ 2147483647 h 72"/>
              <a:gd name="T38" fmla="*/ 2147483647 w 312"/>
              <a:gd name="T39" fmla="*/ 2147483647 h 72"/>
              <a:gd name="T40" fmla="*/ 2147483647 w 312"/>
              <a:gd name="T41" fmla="*/ 2147483647 h 72"/>
              <a:gd name="T42" fmla="*/ 2147483647 w 312"/>
              <a:gd name="T43" fmla="*/ 2147483647 h 72"/>
              <a:gd name="T44" fmla="*/ 2147483647 w 312"/>
              <a:gd name="T45" fmla="*/ 0 h 72"/>
              <a:gd name="T46" fmla="*/ 2147483647 w 312"/>
              <a:gd name="T47" fmla="*/ 0 h 72"/>
              <a:gd name="T48" fmla="*/ 2147483647 w 312"/>
              <a:gd name="T49" fmla="*/ 2147483647 h 7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312" h="72">
                <a:moveTo>
                  <a:pt x="64" y="16"/>
                </a:moveTo>
                <a:lnTo>
                  <a:pt x="72" y="24"/>
                </a:lnTo>
                <a:lnTo>
                  <a:pt x="88" y="24"/>
                </a:lnTo>
                <a:lnTo>
                  <a:pt x="72" y="32"/>
                </a:lnTo>
                <a:lnTo>
                  <a:pt x="80" y="32"/>
                </a:lnTo>
                <a:lnTo>
                  <a:pt x="80" y="40"/>
                </a:lnTo>
                <a:lnTo>
                  <a:pt x="40" y="48"/>
                </a:lnTo>
                <a:lnTo>
                  <a:pt x="56" y="48"/>
                </a:lnTo>
                <a:lnTo>
                  <a:pt x="32" y="48"/>
                </a:lnTo>
                <a:lnTo>
                  <a:pt x="24" y="56"/>
                </a:lnTo>
                <a:lnTo>
                  <a:pt x="32" y="56"/>
                </a:lnTo>
                <a:lnTo>
                  <a:pt x="8" y="64"/>
                </a:lnTo>
                <a:lnTo>
                  <a:pt x="0" y="64"/>
                </a:lnTo>
                <a:lnTo>
                  <a:pt x="72" y="64"/>
                </a:lnTo>
                <a:lnTo>
                  <a:pt x="72" y="72"/>
                </a:lnTo>
                <a:lnTo>
                  <a:pt x="112" y="64"/>
                </a:lnTo>
                <a:lnTo>
                  <a:pt x="104" y="56"/>
                </a:lnTo>
                <a:lnTo>
                  <a:pt x="120" y="56"/>
                </a:lnTo>
                <a:lnTo>
                  <a:pt x="120" y="48"/>
                </a:lnTo>
                <a:lnTo>
                  <a:pt x="144" y="48"/>
                </a:lnTo>
                <a:lnTo>
                  <a:pt x="176" y="32"/>
                </a:lnTo>
                <a:lnTo>
                  <a:pt x="312" y="8"/>
                </a:lnTo>
                <a:lnTo>
                  <a:pt x="248" y="0"/>
                </a:lnTo>
                <a:lnTo>
                  <a:pt x="192" y="0"/>
                </a:lnTo>
                <a:lnTo>
                  <a:pt x="64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6" name="Freeform 332"/>
          <p:cNvSpPr>
            <a:spLocks noChangeAspect="1"/>
          </p:cNvSpPr>
          <p:nvPr/>
        </p:nvSpPr>
        <p:spPr bwMode="auto">
          <a:xfrm>
            <a:off x="8732267" y="1345366"/>
            <a:ext cx="17462" cy="15875"/>
          </a:xfrm>
          <a:custGeom>
            <a:avLst/>
            <a:gdLst>
              <a:gd name="T0" fmla="*/ 0 w 8"/>
              <a:gd name="T1" fmla="*/ 2147483647 h 8"/>
              <a:gd name="T2" fmla="*/ 2147483647 w 8"/>
              <a:gd name="T3" fmla="*/ 2147483647 h 8"/>
              <a:gd name="T4" fmla="*/ 2147483647 w 8"/>
              <a:gd name="T5" fmla="*/ 0 h 8"/>
              <a:gd name="T6" fmla="*/ 0 w 8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8"/>
                </a:moveTo>
                <a:lnTo>
                  <a:pt x="8" y="8"/>
                </a:lnTo>
                <a:lnTo>
                  <a:pt x="8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7" name="Freeform 333"/>
          <p:cNvSpPr>
            <a:spLocks noChangeAspect="1"/>
          </p:cNvSpPr>
          <p:nvPr/>
        </p:nvSpPr>
        <p:spPr bwMode="auto">
          <a:xfrm>
            <a:off x="8571929" y="1377116"/>
            <a:ext cx="177800" cy="34925"/>
          </a:xfrm>
          <a:custGeom>
            <a:avLst/>
            <a:gdLst>
              <a:gd name="T0" fmla="*/ 0 w 80"/>
              <a:gd name="T1" fmla="*/ 0 h 16"/>
              <a:gd name="T2" fmla="*/ 2147483647 w 80"/>
              <a:gd name="T3" fmla="*/ 0 h 16"/>
              <a:gd name="T4" fmla="*/ 0 w 80"/>
              <a:gd name="T5" fmla="*/ 0 h 16"/>
              <a:gd name="T6" fmla="*/ 2147483647 w 80"/>
              <a:gd name="T7" fmla="*/ 2147483647 h 16"/>
              <a:gd name="T8" fmla="*/ 2147483647 w 80"/>
              <a:gd name="T9" fmla="*/ 2147483647 h 16"/>
              <a:gd name="T10" fmla="*/ 2147483647 w 80"/>
              <a:gd name="T11" fmla="*/ 2147483647 h 16"/>
              <a:gd name="T12" fmla="*/ 2147483647 w 80"/>
              <a:gd name="T13" fmla="*/ 2147483647 h 16"/>
              <a:gd name="T14" fmla="*/ 2147483647 w 80"/>
              <a:gd name="T15" fmla="*/ 0 h 16"/>
              <a:gd name="T16" fmla="*/ 2147483647 w 80"/>
              <a:gd name="T17" fmla="*/ 2147483647 h 16"/>
              <a:gd name="T18" fmla="*/ 2147483647 w 80"/>
              <a:gd name="T19" fmla="*/ 2147483647 h 16"/>
              <a:gd name="T20" fmla="*/ 2147483647 w 80"/>
              <a:gd name="T21" fmla="*/ 0 h 16"/>
              <a:gd name="T22" fmla="*/ 2147483647 w 80"/>
              <a:gd name="T23" fmla="*/ 0 h 16"/>
              <a:gd name="T24" fmla="*/ 0 w 80"/>
              <a:gd name="T25" fmla="*/ 0 h 1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80" h="16">
                <a:moveTo>
                  <a:pt x="0" y="0"/>
                </a:moveTo>
                <a:lnTo>
                  <a:pt x="16" y="0"/>
                </a:lnTo>
                <a:lnTo>
                  <a:pt x="0" y="0"/>
                </a:lnTo>
                <a:lnTo>
                  <a:pt x="8" y="8"/>
                </a:lnTo>
                <a:lnTo>
                  <a:pt x="32" y="8"/>
                </a:lnTo>
                <a:lnTo>
                  <a:pt x="32" y="16"/>
                </a:lnTo>
                <a:lnTo>
                  <a:pt x="80" y="8"/>
                </a:lnTo>
                <a:lnTo>
                  <a:pt x="64" y="0"/>
                </a:lnTo>
                <a:lnTo>
                  <a:pt x="48" y="8"/>
                </a:lnTo>
                <a:lnTo>
                  <a:pt x="40" y="8"/>
                </a:lnTo>
                <a:lnTo>
                  <a:pt x="48" y="0"/>
                </a:lnTo>
                <a:lnTo>
                  <a:pt x="40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8" name="Freeform 334"/>
          <p:cNvSpPr>
            <a:spLocks noChangeAspect="1"/>
          </p:cNvSpPr>
          <p:nvPr/>
        </p:nvSpPr>
        <p:spPr bwMode="auto">
          <a:xfrm>
            <a:off x="8697342" y="1396166"/>
            <a:ext cx="87312" cy="15875"/>
          </a:xfrm>
          <a:custGeom>
            <a:avLst/>
            <a:gdLst>
              <a:gd name="T0" fmla="*/ 0 w 40"/>
              <a:gd name="T1" fmla="*/ 2147483647 h 8"/>
              <a:gd name="T2" fmla="*/ 2147483647 w 40"/>
              <a:gd name="T3" fmla="*/ 2147483647 h 8"/>
              <a:gd name="T4" fmla="*/ 2147483647 w 40"/>
              <a:gd name="T5" fmla="*/ 0 h 8"/>
              <a:gd name="T6" fmla="*/ 0 w 40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0" h="8">
                <a:moveTo>
                  <a:pt x="0" y="8"/>
                </a:moveTo>
                <a:lnTo>
                  <a:pt x="32" y="8"/>
                </a:lnTo>
                <a:lnTo>
                  <a:pt x="40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9" name="Freeform 335"/>
          <p:cNvSpPr>
            <a:spLocks noChangeAspect="1"/>
          </p:cNvSpPr>
          <p:nvPr/>
        </p:nvSpPr>
        <p:spPr bwMode="auto">
          <a:xfrm>
            <a:off x="8517954" y="1412041"/>
            <a:ext cx="36513" cy="1588"/>
          </a:xfrm>
          <a:custGeom>
            <a:avLst/>
            <a:gdLst>
              <a:gd name="T0" fmla="*/ 2147483647 w 16"/>
              <a:gd name="T1" fmla="*/ 0 h 1588"/>
              <a:gd name="T2" fmla="*/ 0 w 16"/>
              <a:gd name="T3" fmla="*/ 0 h 1588"/>
              <a:gd name="T4" fmla="*/ 2147483647 w 16"/>
              <a:gd name="T5" fmla="*/ 0 h 1588"/>
              <a:gd name="T6" fmla="*/ 2147483647 w 16"/>
              <a:gd name="T7" fmla="*/ 0 h 1588"/>
              <a:gd name="T8" fmla="*/ 2147483647 w 16"/>
              <a:gd name="T9" fmla="*/ 0 h 158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" h="1588">
                <a:moveTo>
                  <a:pt x="8" y="0"/>
                </a:moveTo>
                <a:lnTo>
                  <a:pt x="0" y="0"/>
                </a:lnTo>
                <a:lnTo>
                  <a:pt x="8" y="0"/>
                </a:lnTo>
                <a:lnTo>
                  <a:pt x="16" y="0"/>
                </a:lnTo>
                <a:lnTo>
                  <a:pt x="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0" name="Freeform 336"/>
          <p:cNvSpPr>
            <a:spLocks noChangeAspect="1"/>
          </p:cNvSpPr>
          <p:nvPr/>
        </p:nvSpPr>
        <p:spPr bwMode="auto">
          <a:xfrm>
            <a:off x="8500492" y="1429504"/>
            <a:ext cx="142875" cy="33337"/>
          </a:xfrm>
          <a:custGeom>
            <a:avLst/>
            <a:gdLst>
              <a:gd name="T0" fmla="*/ 0 w 64"/>
              <a:gd name="T1" fmla="*/ 0 h 16"/>
              <a:gd name="T2" fmla="*/ 0 w 64"/>
              <a:gd name="T3" fmla="*/ 2147483647 h 16"/>
              <a:gd name="T4" fmla="*/ 2147483647 w 64"/>
              <a:gd name="T5" fmla="*/ 2147483647 h 16"/>
              <a:gd name="T6" fmla="*/ 2147483647 w 64"/>
              <a:gd name="T7" fmla="*/ 2147483647 h 16"/>
              <a:gd name="T8" fmla="*/ 2147483647 w 64"/>
              <a:gd name="T9" fmla="*/ 0 h 16"/>
              <a:gd name="T10" fmla="*/ 2147483647 w 64"/>
              <a:gd name="T11" fmla="*/ 0 h 16"/>
              <a:gd name="T12" fmla="*/ 2147483647 w 64"/>
              <a:gd name="T13" fmla="*/ 2147483647 h 16"/>
              <a:gd name="T14" fmla="*/ 2147483647 w 64"/>
              <a:gd name="T15" fmla="*/ 0 h 16"/>
              <a:gd name="T16" fmla="*/ 0 w 64"/>
              <a:gd name="T17" fmla="*/ 0 h 1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4" h="16">
                <a:moveTo>
                  <a:pt x="0" y="0"/>
                </a:moveTo>
                <a:lnTo>
                  <a:pt x="0" y="16"/>
                </a:lnTo>
                <a:lnTo>
                  <a:pt x="16" y="16"/>
                </a:lnTo>
                <a:lnTo>
                  <a:pt x="40" y="16"/>
                </a:lnTo>
                <a:lnTo>
                  <a:pt x="64" y="0"/>
                </a:lnTo>
                <a:lnTo>
                  <a:pt x="40" y="0"/>
                </a:lnTo>
                <a:lnTo>
                  <a:pt x="24" y="8"/>
                </a:lnTo>
                <a:lnTo>
                  <a:pt x="16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1" name="Freeform 337"/>
          <p:cNvSpPr>
            <a:spLocks noChangeAspect="1"/>
          </p:cNvSpPr>
          <p:nvPr/>
        </p:nvSpPr>
        <p:spPr bwMode="auto">
          <a:xfrm>
            <a:off x="8429054" y="1497766"/>
            <a:ext cx="142875" cy="65088"/>
          </a:xfrm>
          <a:custGeom>
            <a:avLst/>
            <a:gdLst>
              <a:gd name="T0" fmla="*/ 0 w 64"/>
              <a:gd name="T1" fmla="*/ 2147483647 h 32"/>
              <a:gd name="T2" fmla="*/ 0 w 64"/>
              <a:gd name="T3" fmla="*/ 2147483647 h 32"/>
              <a:gd name="T4" fmla="*/ 2147483647 w 64"/>
              <a:gd name="T5" fmla="*/ 2147483647 h 32"/>
              <a:gd name="T6" fmla="*/ 2147483647 w 64"/>
              <a:gd name="T7" fmla="*/ 2147483647 h 32"/>
              <a:gd name="T8" fmla="*/ 2147483647 w 64"/>
              <a:gd name="T9" fmla="*/ 2147483647 h 32"/>
              <a:gd name="T10" fmla="*/ 2147483647 w 64"/>
              <a:gd name="T11" fmla="*/ 2147483647 h 32"/>
              <a:gd name="T12" fmla="*/ 2147483647 w 64"/>
              <a:gd name="T13" fmla="*/ 2147483647 h 32"/>
              <a:gd name="T14" fmla="*/ 2147483647 w 64"/>
              <a:gd name="T15" fmla="*/ 0 h 32"/>
              <a:gd name="T16" fmla="*/ 2147483647 w 64"/>
              <a:gd name="T17" fmla="*/ 0 h 32"/>
              <a:gd name="T18" fmla="*/ 2147483647 w 64"/>
              <a:gd name="T19" fmla="*/ 2147483647 h 32"/>
              <a:gd name="T20" fmla="*/ 0 w 64"/>
              <a:gd name="T21" fmla="*/ 2147483647 h 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64" h="32">
                <a:moveTo>
                  <a:pt x="0" y="16"/>
                </a:moveTo>
                <a:lnTo>
                  <a:pt x="0" y="24"/>
                </a:lnTo>
                <a:lnTo>
                  <a:pt x="8" y="24"/>
                </a:lnTo>
                <a:lnTo>
                  <a:pt x="16" y="32"/>
                </a:lnTo>
                <a:lnTo>
                  <a:pt x="48" y="24"/>
                </a:lnTo>
                <a:lnTo>
                  <a:pt x="56" y="8"/>
                </a:lnTo>
                <a:lnTo>
                  <a:pt x="48" y="8"/>
                </a:lnTo>
                <a:lnTo>
                  <a:pt x="64" y="0"/>
                </a:lnTo>
                <a:lnTo>
                  <a:pt x="24" y="0"/>
                </a:lnTo>
                <a:lnTo>
                  <a:pt x="24" y="8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2" name="Line 338"/>
          <p:cNvSpPr>
            <a:spLocks noChangeAspect="1" noChangeShapeType="1"/>
          </p:cNvSpPr>
          <p:nvPr/>
        </p:nvSpPr>
        <p:spPr bwMode="auto">
          <a:xfrm>
            <a:off x="8465567" y="1480304"/>
            <a:ext cx="17462" cy="1587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3" name="Line 339"/>
          <p:cNvSpPr>
            <a:spLocks noChangeAspect="1" noChangeShapeType="1"/>
          </p:cNvSpPr>
          <p:nvPr/>
        </p:nvSpPr>
        <p:spPr bwMode="auto">
          <a:xfrm>
            <a:off x="8395717" y="1412041"/>
            <a:ext cx="104775" cy="1588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4" name="Freeform 340"/>
          <p:cNvSpPr>
            <a:spLocks noChangeAspect="1"/>
          </p:cNvSpPr>
          <p:nvPr/>
        </p:nvSpPr>
        <p:spPr bwMode="auto">
          <a:xfrm>
            <a:off x="8360792" y="1396166"/>
            <a:ext cx="17462" cy="15875"/>
          </a:xfrm>
          <a:custGeom>
            <a:avLst/>
            <a:gdLst>
              <a:gd name="T0" fmla="*/ 0 w 8"/>
              <a:gd name="T1" fmla="*/ 0 h 8"/>
              <a:gd name="T2" fmla="*/ 2147483647 w 8"/>
              <a:gd name="T3" fmla="*/ 2147483647 h 8"/>
              <a:gd name="T4" fmla="*/ 2147483647 w 8"/>
              <a:gd name="T5" fmla="*/ 0 h 8"/>
              <a:gd name="T6" fmla="*/ 0 w 8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0"/>
                </a:moveTo>
                <a:lnTo>
                  <a:pt x="8" y="8"/>
                </a:lnTo>
                <a:lnTo>
                  <a:pt x="8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5" name="Freeform 341"/>
          <p:cNvSpPr>
            <a:spLocks noChangeAspect="1"/>
          </p:cNvSpPr>
          <p:nvPr/>
        </p:nvSpPr>
        <p:spPr bwMode="auto">
          <a:xfrm>
            <a:off x="8378254" y="1396166"/>
            <a:ext cx="87313" cy="15875"/>
          </a:xfrm>
          <a:custGeom>
            <a:avLst/>
            <a:gdLst>
              <a:gd name="T0" fmla="*/ 0 w 40"/>
              <a:gd name="T1" fmla="*/ 2147483647 h 8"/>
              <a:gd name="T2" fmla="*/ 2147483647 w 40"/>
              <a:gd name="T3" fmla="*/ 2147483647 h 8"/>
              <a:gd name="T4" fmla="*/ 2147483647 w 40"/>
              <a:gd name="T5" fmla="*/ 0 h 8"/>
              <a:gd name="T6" fmla="*/ 0 w 40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0" h="8">
                <a:moveTo>
                  <a:pt x="0" y="8"/>
                </a:moveTo>
                <a:lnTo>
                  <a:pt x="8" y="8"/>
                </a:lnTo>
                <a:lnTo>
                  <a:pt x="40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6" name="Freeform 342"/>
          <p:cNvSpPr>
            <a:spLocks noChangeAspect="1"/>
          </p:cNvSpPr>
          <p:nvPr/>
        </p:nvSpPr>
        <p:spPr bwMode="auto">
          <a:xfrm>
            <a:off x="8181404" y="1445379"/>
            <a:ext cx="50800" cy="17462"/>
          </a:xfrm>
          <a:custGeom>
            <a:avLst/>
            <a:gdLst>
              <a:gd name="T0" fmla="*/ 0 w 24"/>
              <a:gd name="T1" fmla="*/ 2147483647 h 8"/>
              <a:gd name="T2" fmla="*/ 2147483647 w 24"/>
              <a:gd name="T3" fmla="*/ 2147483647 h 8"/>
              <a:gd name="T4" fmla="*/ 2147483647 w 24"/>
              <a:gd name="T5" fmla="*/ 0 h 8"/>
              <a:gd name="T6" fmla="*/ 0 w 24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4" h="8">
                <a:moveTo>
                  <a:pt x="0" y="8"/>
                </a:moveTo>
                <a:lnTo>
                  <a:pt x="8" y="8"/>
                </a:lnTo>
                <a:lnTo>
                  <a:pt x="24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7" name="Freeform 343"/>
          <p:cNvSpPr>
            <a:spLocks noChangeAspect="1"/>
          </p:cNvSpPr>
          <p:nvPr/>
        </p:nvSpPr>
        <p:spPr bwMode="auto">
          <a:xfrm>
            <a:off x="8129017" y="1412041"/>
            <a:ext cx="192087" cy="33338"/>
          </a:xfrm>
          <a:custGeom>
            <a:avLst/>
            <a:gdLst>
              <a:gd name="T0" fmla="*/ 0 w 88"/>
              <a:gd name="T1" fmla="*/ 2147483647 h 16"/>
              <a:gd name="T2" fmla="*/ 2147483647 w 88"/>
              <a:gd name="T3" fmla="*/ 2147483647 h 16"/>
              <a:gd name="T4" fmla="*/ 2147483647 w 88"/>
              <a:gd name="T5" fmla="*/ 2147483647 h 16"/>
              <a:gd name="T6" fmla="*/ 2147483647 w 88"/>
              <a:gd name="T7" fmla="*/ 2147483647 h 16"/>
              <a:gd name="T8" fmla="*/ 2147483647 w 88"/>
              <a:gd name="T9" fmla="*/ 0 h 16"/>
              <a:gd name="T10" fmla="*/ 2147483647 w 88"/>
              <a:gd name="T11" fmla="*/ 0 h 16"/>
              <a:gd name="T12" fmla="*/ 0 w 88"/>
              <a:gd name="T13" fmla="*/ 2147483647 h 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88" h="16">
                <a:moveTo>
                  <a:pt x="0" y="16"/>
                </a:moveTo>
                <a:lnTo>
                  <a:pt x="24" y="16"/>
                </a:lnTo>
                <a:lnTo>
                  <a:pt x="48" y="8"/>
                </a:lnTo>
                <a:lnTo>
                  <a:pt x="56" y="16"/>
                </a:lnTo>
                <a:lnTo>
                  <a:pt x="88" y="0"/>
                </a:lnTo>
                <a:lnTo>
                  <a:pt x="56" y="0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8" name="Freeform 344"/>
          <p:cNvSpPr>
            <a:spLocks noChangeAspect="1"/>
          </p:cNvSpPr>
          <p:nvPr/>
        </p:nvSpPr>
        <p:spPr bwMode="auto">
          <a:xfrm>
            <a:off x="8198867" y="1429504"/>
            <a:ext cx="266700" cy="50800"/>
          </a:xfrm>
          <a:custGeom>
            <a:avLst/>
            <a:gdLst>
              <a:gd name="T0" fmla="*/ 0 w 120"/>
              <a:gd name="T1" fmla="*/ 2147483647 h 24"/>
              <a:gd name="T2" fmla="*/ 2147483647 w 120"/>
              <a:gd name="T3" fmla="*/ 2147483647 h 24"/>
              <a:gd name="T4" fmla="*/ 2147483647 w 120"/>
              <a:gd name="T5" fmla="*/ 2147483647 h 24"/>
              <a:gd name="T6" fmla="*/ 2147483647 w 120"/>
              <a:gd name="T7" fmla="*/ 2147483647 h 24"/>
              <a:gd name="T8" fmla="*/ 2147483647 w 120"/>
              <a:gd name="T9" fmla="*/ 2147483647 h 24"/>
              <a:gd name="T10" fmla="*/ 2147483647 w 120"/>
              <a:gd name="T11" fmla="*/ 2147483647 h 24"/>
              <a:gd name="T12" fmla="*/ 2147483647 w 120"/>
              <a:gd name="T13" fmla="*/ 2147483647 h 24"/>
              <a:gd name="T14" fmla="*/ 2147483647 w 120"/>
              <a:gd name="T15" fmla="*/ 2147483647 h 24"/>
              <a:gd name="T16" fmla="*/ 2147483647 w 120"/>
              <a:gd name="T17" fmla="*/ 2147483647 h 24"/>
              <a:gd name="T18" fmla="*/ 2147483647 w 120"/>
              <a:gd name="T19" fmla="*/ 0 h 24"/>
              <a:gd name="T20" fmla="*/ 2147483647 w 120"/>
              <a:gd name="T21" fmla="*/ 2147483647 h 24"/>
              <a:gd name="T22" fmla="*/ 2147483647 w 120"/>
              <a:gd name="T23" fmla="*/ 2147483647 h 24"/>
              <a:gd name="T24" fmla="*/ 2147483647 w 120"/>
              <a:gd name="T25" fmla="*/ 2147483647 h 24"/>
              <a:gd name="T26" fmla="*/ 2147483647 w 120"/>
              <a:gd name="T27" fmla="*/ 2147483647 h 24"/>
              <a:gd name="T28" fmla="*/ 2147483647 w 120"/>
              <a:gd name="T29" fmla="*/ 2147483647 h 24"/>
              <a:gd name="T30" fmla="*/ 2147483647 w 120"/>
              <a:gd name="T31" fmla="*/ 2147483647 h 24"/>
              <a:gd name="T32" fmla="*/ 2147483647 w 120"/>
              <a:gd name="T33" fmla="*/ 0 h 24"/>
              <a:gd name="T34" fmla="*/ 0 w 120"/>
              <a:gd name="T35" fmla="*/ 2147483647 h 2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120" h="24">
                <a:moveTo>
                  <a:pt x="0" y="16"/>
                </a:moveTo>
                <a:lnTo>
                  <a:pt x="24" y="16"/>
                </a:lnTo>
                <a:lnTo>
                  <a:pt x="32" y="16"/>
                </a:lnTo>
                <a:lnTo>
                  <a:pt x="40" y="24"/>
                </a:lnTo>
                <a:lnTo>
                  <a:pt x="24" y="24"/>
                </a:lnTo>
                <a:lnTo>
                  <a:pt x="32" y="24"/>
                </a:lnTo>
                <a:lnTo>
                  <a:pt x="104" y="16"/>
                </a:lnTo>
                <a:lnTo>
                  <a:pt x="120" y="8"/>
                </a:lnTo>
                <a:lnTo>
                  <a:pt x="104" y="8"/>
                </a:lnTo>
                <a:lnTo>
                  <a:pt x="104" y="0"/>
                </a:lnTo>
                <a:lnTo>
                  <a:pt x="80" y="8"/>
                </a:lnTo>
                <a:lnTo>
                  <a:pt x="88" y="8"/>
                </a:lnTo>
                <a:lnTo>
                  <a:pt x="80" y="8"/>
                </a:lnTo>
                <a:lnTo>
                  <a:pt x="80" y="16"/>
                </a:lnTo>
                <a:lnTo>
                  <a:pt x="64" y="16"/>
                </a:lnTo>
                <a:lnTo>
                  <a:pt x="64" y="8"/>
                </a:lnTo>
                <a:lnTo>
                  <a:pt x="40" y="0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9" name="Freeform 345"/>
          <p:cNvSpPr>
            <a:spLocks noChangeAspect="1"/>
          </p:cNvSpPr>
          <p:nvPr/>
        </p:nvSpPr>
        <p:spPr bwMode="auto">
          <a:xfrm>
            <a:off x="8040117" y="1497766"/>
            <a:ext cx="371475" cy="133350"/>
          </a:xfrm>
          <a:custGeom>
            <a:avLst/>
            <a:gdLst>
              <a:gd name="T0" fmla="*/ 2147483647 w 168"/>
              <a:gd name="T1" fmla="*/ 2147483647 h 64"/>
              <a:gd name="T2" fmla="*/ 2147483647 w 168"/>
              <a:gd name="T3" fmla="*/ 2147483647 h 64"/>
              <a:gd name="T4" fmla="*/ 2147483647 w 168"/>
              <a:gd name="T5" fmla="*/ 2147483647 h 64"/>
              <a:gd name="T6" fmla="*/ 2147483647 w 168"/>
              <a:gd name="T7" fmla="*/ 2147483647 h 64"/>
              <a:gd name="T8" fmla="*/ 2147483647 w 168"/>
              <a:gd name="T9" fmla="*/ 2147483647 h 64"/>
              <a:gd name="T10" fmla="*/ 2147483647 w 168"/>
              <a:gd name="T11" fmla="*/ 2147483647 h 64"/>
              <a:gd name="T12" fmla="*/ 0 w 168"/>
              <a:gd name="T13" fmla="*/ 2147483647 h 64"/>
              <a:gd name="T14" fmla="*/ 2147483647 w 168"/>
              <a:gd name="T15" fmla="*/ 2147483647 h 64"/>
              <a:gd name="T16" fmla="*/ 2147483647 w 168"/>
              <a:gd name="T17" fmla="*/ 2147483647 h 64"/>
              <a:gd name="T18" fmla="*/ 2147483647 w 168"/>
              <a:gd name="T19" fmla="*/ 2147483647 h 64"/>
              <a:gd name="T20" fmla="*/ 2147483647 w 168"/>
              <a:gd name="T21" fmla="*/ 2147483647 h 64"/>
              <a:gd name="T22" fmla="*/ 2147483647 w 168"/>
              <a:gd name="T23" fmla="*/ 2147483647 h 64"/>
              <a:gd name="T24" fmla="*/ 2147483647 w 168"/>
              <a:gd name="T25" fmla="*/ 2147483647 h 64"/>
              <a:gd name="T26" fmla="*/ 2147483647 w 168"/>
              <a:gd name="T27" fmla="*/ 2147483647 h 64"/>
              <a:gd name="T28" fmla="*/ 2147483647 w 168"/>
              <a:gd name="T29" fmla="*/ 2147483647 h 64"/>
              <a:gd name="T30" fmla="*/ 2147483647 w 168"/>
              <a:gd name="T31" fmla="*/ 2147483647 h 64"/>
              <a:gd name="T32" fmla="*/ 2147483647 w 168"/>
              <a:gd name="T33" fmla="*/ 2147483647 h 64"/>
              <a:gd name="T34" fmla="*/ 2147483647 w 168"/>
              <a:gd name="T35" fmla="*/ 2147483647 h 64"/>
              <a:gd name="T36" fmla="*/ 2147483647 w 168"/>
              <a:gd name="T37" fmla="*/ 0 h 64"/>
              <a:gd name="T38" fmla="*/ 2147483647 w 168"/>
              <a:gd name="T39" fmla="*/ 2147483647 h 64"/>
              <a:gd name="T40" fmla="*/ 2147483647 w 168"/>
              <a:gd name="T41" fmla="*/ 2147483647 h 64"/>
              <a:gd name="T42" fmla="*/ 2147483647 w 168"/>
              <a:gd name="T43" fmla="*/ 2147483647 h 64"/>
              <a:gd name="T44" fmla="*/ 2147483647 w 168"/>
              <a:gd name="T45" fmla="*/ 2147483647 h 64"/>
              <a:gd name="T46" fmla="*/ 2147483647 w 168"/>
              <a:gd name="T47" fmla="*/ 2147483647 h 64"/>
              <a:gd name="T48" fmla="*/ 2147483647 w 168"/>
              <a:gd name="T49" fmla="*/ 2147483647 h 64"/>
              <a:gd name="T50" fmla="*/ 2147483647 w 168"/>
              <a:gd name="T51" fmla="*/ 2147483647 h 6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68" h="64">
                <a:moveTo>
                  <a:pt x="8" y="32"/>
                </a:moveTo>
                <a:lnTo>
                  <a:pt x="16" y="32"/>
                </a:lnTo>
                <a:lnTo>
                  <a:pt x="8" y="32"/>
                </a:lnTo>
                <a:lnTo>
                  <a:pt x="8" y="40"/>
                </a:lnTo>
                <a:lnTo>
                  <a:pt x="48" y="40"/>
                </a:lnTo>
                <a:lnTo>
                  <a:pt x="8" y="48"/>
                </a:lnTo>
                <a:lnTo>
                  <a:pt x="0" y="56"/>
                </a:lnTo>
                <a:lnTo>
                  <a:pt x="24" y="56"/>
                </a:lnTo>
                <a:lnTo>
                  <a:pt x="16" y="64"/>
                </a:lnTo>
                <a:lnTo>
                  <a:pt x="96" y="56"/>
                </a:lnTo>
                <a:lnTo>
                  <a:pt x="112" y="64"/>
                </a:lnTo>
                <a:lnTo>
                  <a:pt x="128" y="64"/>
                </a:lnTo>
                <a:lnTo>
                  <a:pt x="160" y="48"/>
                </a:lnTo>
                <a:lnTo>
                  <a:pt x="136" y="40"/>
                </a:lnTo>
                <a:lnTo>
                  <a:pt x="136" y="32"/>
                </a:lnTo>
                <a:lnTo>
                  <a:pt x="144" y="32"/>
                </a:lnTo>
                <a:lnTo>
                  <a:pt x="144" y="16"/>
                </a:lnTo>
                <a:lnTo>
                  <a:pt x="168" y="8"/>
                </a:lnTo>
                <a:lnTo>
                  <a:pt x="152" y="0"/>
                </a:lnTo>
                <a:lnTo>
                  <a:pt x="128" y="16"/>
                </a:lnTo>
                <a:lnTo>
                  <a:pt x="96" y="8"/>
                </a:lnTo>
                <a:lnTo>
                  <a:pt x="80" y="16"/>
                </a:lnTo>
                <a:lnTo>
                  <a:pt x="80" y="8"/>
                </a:lnTo>
                <a:lnTo>
                  <a:pt x="72" y="8"/>
                </a:lnTo>
                <a:lnTo>
                  <a:pt x="32" y="16"/>
                </a:lnTo>
                <a:lnTo>
                  <a:pt x="8" y="3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0" name="Freeform 346"/>
          <p:cNvSpPr>
            <a:spLocks noChangeAspect="1"/>
          </p:cNvSpPr>
          <p:nvPr/>
        </p:nvSpPr>
        <p:spPr bwMode="auto">
          <a:xfrm>
            <a:off x="7932167" y="1480304"/>
            <a:ext cx="266700" cy="82550"/>
          </a:xfrm>
          <a:custGeom>
            <a:avLst/>
            <a:gdLst>
              <a:gd name="T0" fmla="*/ 0 w 120"/>
              <a:gd name="T1" fmla="*/ 2147483647 h 40"/>
              <a:gd name="T2" fmla="*/ 2147483647 w 120"/>
              <a:gd name="T3" fmla="*/ 2147483647 h 40"/>
              <a:gd name="T4" fmla="*/ 2147483647 w 120"/>
              <a:gd name="T5" fmla="*/ 2147483647 h 40"/>
              <a:gd name="T6" fmla="*/ 2147483647 w 120"/>
              <a:gd name="T7" fmla="*/ 2147483647 h 40"/>
              <a:gd name="T8" fmla="*/ 2147483647 w 120"/>
              <a:gd name="T9" fmla="*/ 2147483647 h 40"/>
              <a:gd name="T10" fmla="*/ 2147483647 w 120"/>
              <a:gd name="T11" fmla="*/ 2147483647 h 40"/>
              <a:gd name="T12" fmla="*/ 2147483647 w 120"/>
              <a:gd name="T13" fmla="*/ 2147483647 h 40"/>
              <a:gd name="T14" fmla="*/ 2147483647 w 120"/>
              <a:gd name="T15" fmla="*/ 0 h 40"/>
              <a:gd name="T16" fmla="*/ 2147483647 w 120"/>
              <a:gd name="T17" fmla="*/ 2147483647 h 40"/>
              <a:gd name="T18" fmla="*/ 2147483647 w 120"/>
              <a:gd name="T19" fmla="*/ 2147483647 h 40"/>
              <a:gd name="T20" fmla="*/ 0 w 120"/>
              <a:gd name="T21" fmla="*/ 2147483647 h 4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20" h="40">
                <a:moveTo>
                  <a:pt x="0" y="32"/>
                </a:moveTo>
                <a:lnTo>
                  <a:pt x="8" y="32"/>
                </a:lnTo>
                <a:lnTo>
                  <a:pt x="8" y="40"/>
                </a:lnTo>
                <a:lnTo>
                  <a:pt x="32" y="40"/>
                </a:lnTo>
                <a:lnTo>
                  <a:pt x="64" y="24"/>
                </a:lnTo>
                <a:lnTo>
                  <a:pt x="120" y="16"/>
                </a:lnTo>
                <a:lnTo>
                  <a:pt x="112" y="8"/>
                </a:lnTo>
                <a:lnTo>
                  <a:pt x="80" y="0"/>
                </a:lnTo>
                <a:lnTo>
                  <a:pt x="40" y="8"/>
                </a:lnTo>
                <a:lnTo>
                  <a:pt x="40" y="16"/>
                </a:lnTo>
                <a:lnTo>
                  <a:pt x="0" y="32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1" name="Freeform 347"/>
          <p:cNvSpPr>
            <a:spLocks noChangeAspect="1"/>
          </p:cNvSpPr>
          <p:nvPr/>
        </p:nvSpPr>
        <p:spPr bwMode="auto">
          <a:xfrm>
            <a:off x="6279579" y="2048629"/>
            <a:ext cx="52388" cy="31750"/>
          </a:xfrm>
          <a:custGeom>
            <a:avLst/>
            <a:gdLst>
              <a:gd name="T0" fmla="*/ 0 w 24"/>
              <a:gd name="T1" fmla="*/ 2147483647 h 16"/>
              <a:gd name="T2" fmla="*/ 2147483647 w 24"/>
              <a:gd name="T3" fmla="*/ 0 h 16"/>
              <a:gd name="T4" fmla="*/ 2147483647 w 24"/>
              <a:gd name="T5" fmla="*/ 0 h 16"/>
              <a:gd name="T6" fmla="*/ 0 w 24"/>
              <a:gd name="T7" fmla="*/ 2147483647 h 1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4" h="16">
                <a:moveTo>
                  <a:pt x="0" y="16"/>
                </a:moveTo>
                <a:lnTo>
                  <a:pt x="24" y="0"/>
                </a:lnTo>
                <a:lnTo>
                  <a:pt x="16" y="0"/>
                </a:lnTo>
                <a:lnTo>
                  <a:pt x="0" y="16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2" name="Line 348"/>
          <p:cNvSpPr>
            <a:spLocks noChangeAspect="1" noChangeShapeType="1"/>
          </p:cNvSpPr>
          <p:nvPr/>
        </p:nvSpPr>
        <p:spPr bwMode="auto">
          <a:xfrm flipV="1">
            <a:off x="6225604" y="2080379"/>
            <a:ext cx="53975" cy="20637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3" name="Freeform 349"/>
          <p:cNvSpPr>
            <a:spLocks noChangeAspect="1"/>
          </p:cNvSpPr>
          <p:nvPr/>
        </p:nvSpPr>
        <p:spPr bwMode="auto">
          <a:xfrm>
            <a:off x="6546279" y="1864479"/>
            <a:ext cx="52388" cy="15875"/>
          </a:xfrm>
          <a:custGeom>
            <a:avLst/>
            <a:gdLst>
              <a:gd name="T0" fmla="*/ 0 w 24"/>
              <a:gd name="T1" fmla="*/ 0 h 8"/>
              <a:gd name="T2" fmla="*/ 2147483647 w 24"/>
              <a:gd name="T3" fmla="*/ 2147483647 h 8"/>
              <a:gd name="T4" fmla="*/ 2147483647 w 24"/>
              <a:gd name="T5" fmla="*/ 0 h 8"/>
              <a:gd name="T6" fmla="*/ 0 w 24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4" h="8">
                <a:moveTo>
                  <a:pt x="0" y="0"/>
                </a:moveTo>
                <a:lnTo>
                  <a:pt x="8" y="8"/>
                </a:lnTo>
                <a:lnTo>
                  <a:pt x="24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4" name="Freeform 350"/>
          <p:cNvSpPr>
            <a:spLocks noChangeAspect="1"/>
          </p:cNvSpPr>
          <p:nvPr/>
        </p:nvSpPr>
        <p:spPr bwMode="auto">
          <a:xfrm>
            <a:off x="6739954" y="1913691"/>
            <a:ext cx="88900" cy="52388"/>
          </a:xfrm>
          <a:custGeom>
            <a:avLst/>
            <a:gdLst>
              <a:gd name="T0" fmla="*/ 0 w 40"/>
              <a:gd name="T1" fmla="*/ 2147483647 h 24"/>
              <a:gd name="T2" fmla="*/ 2147483647 w 40"/>
              <a:gd name="T3" fmla="*/ 2147483647 h 24"/>
              <a:gd name="T4" fmla="*/ 2147483647 w 40"/>
              <a:gd name="T5" fmla="*/ 2147483647 h 24"/>
              <a:gd name="T6" fmla="*/ 2147483647 w 40"/>
              <a:gd name="T7" fmla="*/ 2147483647 h 24"/>
              <a:gd name="T8" fmla="*/ 2147483647 w 40"/>
              <a:gd name="T9" fmla="*/ 0 h 24"/>
              <a:gd name="T10" fmla="*/ 0 w 40"/>
              <a:gd name="T11" fmla="*/ 2147483647 h 2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" h="24">
                <a:moveTo>
                  <a:pt x="0" y="24"/>
                </a:moveTo>
                <a:lnTo>
                  <a:pt x="32" y="16"/>
                </a:lnTo>
                <a:lnTo>
                  <a:pt x="32" y="8"/>
                </a:lnTo>
                <a:lnTo>
                  <a:pt x="40" y="8"/>
                </a:lnTo>
                <a:lnTo>
                  <a:pt x="40" y="0"/>
                </a:lnTo>
                <a:lnTo>
                  <a:pt x="0" y="24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5" name="Freeform 351"/>
          <p:cNvSpPr>
            <a:spLocks noChangeAspect="1"/>
          </p:cNvSpPr>
          <p:nvPr/>
        </p:nvSpPr>
        <p:spPr bwMode="auto">
          <a:xfrm>
            <a:off x="7149529" y="2048629"/>
            <a:ext cx="53975" cy="66675"/>
          </a:xfrm>
          <a:custGeom>
            <a:avLst/>
            <a:gdLst>
              <a:gd name="T0" fmla="*/ 2147483647 w 24"/>
              <a:gd name="T1" fmla="*/ 0 h 32"/>
              <a:gd name="T2" fmla="*/ 0 w 24"/>
              <a:gd name="T3" fmla="*/ 2147483647 h 32"/>
              <a:gd name="T4" fmla="*/ 0 w 24"/>
              <a:gd name="T5" fmla="*/ 2147483647 h 32"/>
              <a:gd name="T6" fmla="*/ 2147483647 w 24"/>
              <a:gd name="T7" fmla="*/ 2147483647 h 32"/>
              <a:gd name="T8" fmla="*/ 2147483647 w 24"/>
              <a:gd name="T9" fmla="*/ 2147483647 h 32"/>
              <a:gd name="T10" fmla="*/ 2147483647 w 24"/>
              <a:gd name="T11" fmla="*/ 0 h 32"/>
              <a:gd name="T12" fmla="*/ 2147483647 w 24"/>
              <a:gd name="T13" fmla="*/ 0 h 3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" h="32">
                <a:moveTo>
                  <a:pt x="8" y="0"/>
                </a:moveTo>
                <a:lnTo>
                  <a:pt x="0" y="8"/>
                </a:lnTo>
                <a:lnTo>
                  <a:pt x="0" y="24"/>
                </a:lnTo>
                <a:lnTo>
                  <a:pt x="8" y="32"/>
                </a:lnTo>
                <a:lnTo>
                  <a:pt x="8" y="24"/>
                </a:lnTo>
                <a:lnTo>
                  <a:pt x="24" y="0"/>
                </a:lnTo>
                <a:lnTo>
                  <a:pt x="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6" name="Freeform 352"/>
          <p:cNvSpPr>
            <a:spLocks noChangeAspect="1"/>
          </p:cNvSpPr>
          <p:nvPr/>
        </p:nvSpPr>
        <p:spPr bwMode="auto">
          <a:xfrm>
            <a:off x="7203504" y="2147054"/>
            <a:ext cx="69850" cy="85725"/>
          </a:xfrm>
          <a:custGeom>
            <a:avLst/>
            <a:gdLst>
              <a:gd name="T0" fmla="*/ 0 w 32"/>
              <a:gd name="T1" fmla="*/ 0 h 40"/>
              <a:gd name="T2" fmla="*/ 0 w 32"/>
              <a:gd name="T3" fmla="*/ 2147483647 h 40"/>
              <a:gd name="T4" fmla="*/ 2147483647 w 32"/>
              <a:gd name="T5" fmla="*/ 2147483647 h 40"/>
              <a:gd name="T6" fmla="*/ 2147483647 w 32"/>
              <a:gd name="T7" fmla="*/ 2147483647 h 40"/>
              <a:gd name="T8" fmla="*/ 2147483647 w 32"/>
              <a:gd name="T9" fmla="*/ 2147483647 h 40"/>
              <a:gd name="T10" fmla="*/ 2147483647 w 32"/>
              <a:gd name="T11" fmla="*/ 2147483647 h 40"/>
              <a:gd name="T12" fmla="*/ 2147483647 w 32"/>
              <a:gd name="T13" fmla="*/ 2147483647 h 40"/>
              <a:gd name="T14" fmla="*/ 2147483647 w 32"/>
              <a:gd name="T15" fmla="*/ 2147483647 h 40"/>
              <a:gd name="T16" fmla="*/ 2147483647 w 32"/>
              <a:gd name="T17" fmla="*/ 2147483647 h 40"/>
              <a:gd name="T18" fmla="*/ 0 w 32"/>
              <a:gd name="T19" fmla="*/ 0 h 4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2" h="40">
                <a:moveTo>
                  <a:pt x="0" y="0"/>
                </a:moveTo>
                <a:lnTo>
                  <a:pt x="0" y="8"/>
                </a:lnTo>
                <a:lnTo>
                  <a:pt x="8" y="16"/>
                </a:lnTo>
                <a:lnTo>
                  <a:pt x="8" y="24"/>
                </a:lnTo>
                <a:lnTo>
                  <a:pt x="16" y="24"/>
                </a:lnTo>
                <a:lnTo>
                  <a:pt x="16" y="32"/>
                </a:lnTo>
                <a:lnTo>
                  <a:pt x="24" y="40"/>
                </a:lnTo>
                <a:lnTo>
                  <a:pt x="32" y="32"/>
                </a:lnTo>
                <a:lnTo>
                  <a:pt x="24" y="8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7" name="Freeform 353"/>
          <p:cNvSpPr>
            <a:spLocks noChangeAspect="1"/>
          </p:cNvSpPr>
          <p:nvPr/>
        </p:nvSpPr>
        <p:spPr bwMode="auto">
          <a:xfrm>
            <a:off x="8537004" y="1980366"/>
            <a:ext cx="34925" cy="17463"/>
          </a:xfrm>
          <a:custGeom>
            <a:avLst/>
            <a:gdLst>
              <a:gd name="T0" fmla="*/ 0 w 16"/>
              <a:gd name="T1" fmla="*/ 0 h 8"/>
              <a:gd name="T2" fmla="*/ 2147483647 w 16"/>
              <a:gd name="T3" fmla="*/ 0 h 8"/>
              <a:gd name="T4" fmla="*/ 0 w 16"/>
              <a:gd name="T5" fmla="*/ 2147483647 h 8"/>
              <a:gd name="T6" fmla="*/ 2147483647 w 16"/>
              <a:gd name="T7" fmla="*/ 0 h 8"/>
              <a:gd name="T8" fmla="*/ 2147483647 w 16"/>
              <a:gd name="T9" fmla="*/ 2147483647 h 8"/>
              <a:gd name="T10" fmla="*/ 2147483647 w 16"/>
              <a:gd name="T11" fmla="*/ 0 h 8"/>
              <a:gd name="T12" fmla="*/ 0 w 16"/>
              <a:gd name="T13" fmla="*/ 0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6" h="8">
                <a:moveTo>
                  <a:pt x="0" y="0"/>
                </a:moveTo>
                <a:lnTo>
                  <a:pt x="8" y="0"/>
                </a:lnTo>
                <a:lnTo>
                  <a:pt x="0" y="8"/>
                </a:lnTo>
                <a:lnTo>
                  <a:pt x="8" y="0"/>
                </a:lnTo>
                <a:lnTo>
                  <a:pt x="8" y="8"/>
                </a:lnTo>
                <a:lnTo>
                  <a:pt x="16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8" name="Freeform 354"/>
          <p:cNvSpPr>
            <a:spLocks noChangeAspect="1"/>
          </p:cNvSpPr>
          <p:nvPr/>
        </p:nvSpPr>
        <p:spPr bwMode="auto">
          <a:xfrm>
            <a:off x="8429054" y="2080379"/>
            <a:ext cx="20638" cy="20637"/>
          </a:xfrm>
          <a:custGeom>
            <a:avLst/>
            <a:gdLst>
              <a:gd name="T0" fmla="*/ 0 w 8"/>
              <a:gd name="T1" fmla="*/ 0 h 8"/>
              <a:gd name="T2" fmla="*/ 2147483647 w 8"/>
              <a:gd name="T3" fmla="*/ 2147483647 h 8"/>
              <a:gd name="T4" fmla="*/ 2147483647 w 8"/>
              <a:gd name="T5" fmla="*/ 0 h 8"/>
              <a:gd name="T6" fmla="*/ 0 w 8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" h="8">
                <a:moveTo>
                  <a:pt x="0" y="0"/>
                </a:moveTo>
                <a:lnTo>
                  <a:pt x="8" y="8"/>
                </a:lnTo>
                <a:lnTo>
                  <a:pt x="8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9" name="Freeform 355"/>
          <p:cNvSpPr>
            <a:spLocks noChangeAspect="1"/>
          </p:cNvSpPr>
          <p:nvPr/>
        </p:nvSpPr>
        <p:spPr bwMode="auto">
          <a:xfrm>
            <a:off x="8289354" y="2299454"/>
            <a:ext cx="31750" cy="15875"/>
          </a:xfrm>
          <a:custGeom>
            <a:avLst/>
            <a:gdLst>
              <a:gd name="T0" fmla="*/ 0 w 16"/>
              <a:gd name="T1" fmla="*/ 0 h 8"/>
              <a:gd name="T2" fmla="*/ 2147483647 w 16"/>
              <a:gd name="T3" fmla="*/ 2147483647 h 8"/>
              <a:gd name="T4" fmla="*/ 2147483647 w 16"/>
              <a:gd name="T5" fmla="*/ 0 h 8"/>
              <a:gd name="T6" fmla="*/ 0 w 16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6" h="8">
                <a:moveTo>
                  <a:pt x="0" y="0"/>
                </a:moveTo>
                <a:lnTo>
                  <a:pt x="8" y="8"/>
                </a:lnTo>
                <a:lnTo>
                  <a:pt x="16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0" name="Line 356"/>
          <p:cNvSpPr>
            <a:spLocks noChangeAspect="1" noChangeShapeType="1"/>
          </p:cNvSpPr>
          <p:nvPr/>
        </p:nvSpPr>
        <p:spPr bwMode="auto">
          <a:xfrm flipV="1">
            <a:off x="8340154" y="2634416"/>
            <a:ext cx="20638" cy="19050"/>
          </a:xfrm>
          <a:prstGeom prst="line">
            <a:avLst/>
          </a:prstGeom>
          <a:noFill/>
          <a:ln w="6350">
            <a:solidFill>
              <a:srgbClr val="EEECE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371" name="Group 357"/>
          <p:cNvGrpSpPr>
            <a:grpSpLocks/>
          </p:cNvGrpSpPr>
          <p:nvPr/>
        </p:nvGrpSpPr>
        <p:grpSpPr bwMode="auto">
          <a:xfrm>
            <a:off x="1499617" y="2058154"/>
            <a:ext cx="6956425" cy="1987550"/>
            <a:chOff x="776" y="1500"/>
            <a:chExt cx="4668" cy="1383"/>
          </a:xfrm>
        </p:grpSpPr>
        <p:sp>
          <p:nvSpPr>
            <p:cNvPr id="372" name="Oval 18"/>
            <p:cNvSpPr>
              <a:spLocks noChangeArrowheads="1"/>
            </p:cNvSpPr>
            <p:nvPr/>
          </p:nvSpPr>
          <p:spPr bwMode="auto">
            <a:xfrm>
              <a:off x="5178" y="1660"/>
              <a:ext cx="91" cy="91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73" name="Oval 15"/>
            <p:cNvSpPr>
              <a:spLocks noChangeArrowheads="1"/>
            </p:cNvSpPr>
            <p:nvPr/>
          </p:nvSpPr>
          <p:spPr bwMode="auto">
            <a:xfrm>
              <a:off x="5084" y="1802"/>
              <a:ext cx="91" cy="91"/>
            </a:xfrm>
            <a:prstGeom prst="ellipse">
              <a:avLst/>
            </a:prstGeom>
            <a:solidFill>
              <a:srgbClr val="F67D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74" name="Oval 11"/>
            <p:cNvSpPr>
              <a:spLocks noChangeArrowheads="1"/>
            </p:cNvSpPr>
            <p:nvPr/>
          </p:nvSpPr>
          <p:spPr bwMode="auto">
            <a:xfrm>
              <a:off x="4895" y="1962"/>
              <a:ext cx="91" cy="91"/>
            </a:xfrm>
            <a:prstGeom prst="ellipse">
              <a:avLst/>
            </a:prstGeom>
            <a:solidFill>
              <a:srgbClr val="F67D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75" name="Oval 12"/>
            <p:cNvSpPr>
              <a:spLocks noChangeArrowheads="1"/>
            </p:cNvSpPr>
            <p:nvPr/>
          </p:nvSpPr>
          <p:spPr bwMode="auto">
            <a:xfrm>
              <a:off x="4549" y="1745"/>
              <a:ext cx="91" cy="91"/>
            </a:xfrm>
            <a:prstGeom prst="ellipse">
              <a:avLst/>
            </a:prstGeom>
            <a:solidFill>
              <a:srgbClr val="F67D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76" name="Oval 14"/>
            <p:cNvSpPr>
              <a:spLocks noChangeArrowheads="1"/>
            </p:cNvSpPr>
            <p:nvPr/>
          </p:nvSpPr>
          <p:spPr bwMode="auto">
            <a:xfrm>
              <a:off x="5177" y="1850"/>
              <a:ext cx="91" cy="91"/>
            </a:xfrm>
            <a:prstGeom prst="ellipse">
              <a:avLst/>
            </a:prstGeom>
            <a:solidFill>
              <a:srgbClr val="F67D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77" name="Oval 15"/>
            <p:cNvSpPr>
              <a:spLocks noChangeArrowheads="1"/>
            </p:cNvSpPr>
            <p:nvPr/>
          </p:nvSpPr>
          <p:spPr bwMode="auto">
            <a:xfrm>
              <a:off x="5080" y="1692"/>
              <a:ext cx="91" cy="91"/>
            </a:xfrm>
            <a:prstGeom prst="ellipse">
              <a:avLst/>
            </a:prstGeom>
            <a:solidFill>
              <a:srgbClr val="F67D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78" name="Oval 27"/>
            <p:cNvSpPr>
              <a:spLocks noChangeArrowheads="1"/>
            </p:cNvSpPr>
            <p:nvPr/>
          </p:nvSpPr>
          <p:spPr bwMode="auto">
            <a:xfrm>
              <a:off x="1113" y="1545"/>
              <a:ext cx="91" cy="91"/>
            </a:xfrm>
            <a:prstGeom prst="ellipse">
              <a:avLst/>
            </a:prstGeom>
            <a:solidFill>
              <a:srgbClr val="F67D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79" name="Oval 28"/>
            <p:cNvSpPr>
              <a:spLocks noChangeArrowheads="1"/>
            </p:cNvSpPr>
            <p:nvPr/>
          </p:nvSpPr>
          <p:spPr bwMode="auto">
            <a:xfrm>
              <a:off x="972" y="1528"/>
              <a:ext cx="91" cy="91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80" name="Oval 10"/>
            <p:cNvSpPr>
              <a:spLocks noChangeArrowheads="1"/>
            </p:cNvSpPr>
            <p:nvPr/>
          </p:nvSpPr>
          <p:spPr bwMode="auto">
            <a:xfrm>
              <a:off x="2924" y="1901"/>
              <a:ext cx="91" cy="91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81" name="Oval 16"/>
            <p:cNvSpPr>
              <a:spLocks noChangeArrowheads="1"/>
            </p:cNvSpPr>
            <p:nvPr/>
          </p:nvSpPr>
          <p:spPr bwMode="auto">
            <a:xfrm>
              <a:off x="2984" y="2127"/>
              <a:ext cx="91" cy="91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82" name="Oval 19"/>
            <p:cNvSpPr>
              <a:spLocks noChangeArrowheads="1"/>
            </p:cNvSpPr>
            <p:nvPr/>
          </p:nvSpPr>
          <p:spPr bwMode="auto">
            <a:xfrm>
              <a:off x="2719" y="2260"/>
              <a:ext cx="91" cy="91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83" name="Oval 23"/>
            <p:cNvSpPr>
              <a:spLocks noChangeArrowheads="1"/>
            </p:cNvSpPr>
            <p:nvPr/>
          </p:nvSpPr>
          <p:spPr bwMode="auto">
            <a:xfrm>
              <a:off x="2972" y="2792"/>
              <a:ext cx="91" cy="91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84" name="Oval 28"/>
            <p:cNvSpPr>
              <a:spLocks noChangeArrowheads="1"/>
            </p:cNvSpPr>
            <p:nvPr/>
          </p:nvSpPr>
          <p:spPr bwMode="auto">
            <a:xfrm>
              <a:off x="776" y="1500"/>
              <a:ext cx="91" cy="91"/>
            </a:xfrm>
            <a:prstGeom prst="ellipse">
              <a:avLst/>
            </a:prstGeom>
            <a:solidFill>
              <a:srgbClr val="F67D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85" name="Oval 32"/>
            <p:cNvSpPr>
              <a:spLocks noChangeArrowheads="1"/>
            </p:cNvSpPr>
            <p:nvPr/>
          </p:nvSpPr>
          <p:spPr bwMode="auto">
            <a:xfrm>
              <a:off x="2312" y="2307"/>
              <a:ext cx="91" cy="91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86" name="Oval 18"/>
            <p:cNvSpPr>
              <a:spLocks noChangeArrowheads="1"/>
            </p:cNvSpPr>
            <p:nvPr/>
          </p:nvSpPr>
          <p:spPr bwMode="auto">
            <a:xfrm>
              <a:off x="5353" y="1598"/>
              <a:ext cx="91" cy="91"/>
            </a:xfrm>
            <a:prstGeom prst="ellipse">
              <a:avLst/>
            </a:prstGeom>
            <a:solidFill>
              <a:srgbClr val="F67D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87" name="Oval 12"/>
            <p:cNvSpPr>
              <a:spLocks noChangeArrowheads="1"/>
            </p:cNvSpPr>
            <p:nvPr/>
          </p:nvSpPr>
          <p:spPr bwMode="auto">
            <a:xfrm>
              <a:off x="4541" y="1835"/>
              <a:ext cx="91" cy="91"/>
            </a:xfrm>
            <a:prstGeom prst="ellipse">
              <a:avLst/>
            </a:prstGeom>
            <a:solidFill>
              <a:srgbClr val="F67D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88" name="Oval 25"/>
            <p:cNvSpPr>
              <a:spLocks noChangeArrowheads="1"/>
            </p:cNvSpPr>
            <p:nvPr/>
          </p:nvSpPr>
          <p:spPr bwMode="auto">
            <a:xfrm>
              <a:off x="1382" y="1768"/>
              <a:ext cx="91" cy="91"/>
            </a:xfrm>
            <a:prstGeom prst="ellipse">
              <a:avLst/>
            </a:prstGeom>
            <a:solidFill>
              <a:srgbClr val="F67D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2479" tIns="41239" rIns="82479" bIns="41239" anchor="ctr"/>
            <a:lstStyle>
              <a:lvl1pPr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1pPr>
              <a:lvl2pPr marL="742950" indent="-28575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n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2pPr>
              <a:lvl3pPr marL="1143000" indent="-228600">
                <a:spcAft>
                  <a:spcPct val="30000"/>
                </a:spcAft>
                <a:buClr>
                  <a:srgbClr val="24246E"/>
                </a:buClr>
                <a:buFont typeface="Wingdings" pitchFamily="2" charset="2"/>
                <a:buChar char="p"/>
                <a:defRPr kumimoji="1" sz="15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3pPr>
              <a:lvl4pPr marL="1600200" indent="-228600">
                <a:spcAft>
                  <a:spcPct val="30000"/>
                </a:spcAft>
                <a:buClr>
                  <a:srgbClr val="24246E"/>
                </a:buClr>
                <a:buChar char="•"/>
                <a:defRPr kumimoji="1" sz="1300">
                  <a:solidFill>
                    <a:srgbClr val="24246E"/>
                  </a:solidFill>
                  <a:latin typeface="HG丸ｺﾞｼｯｸM-PRO" pitchFamily="50" charset="-128"/>
                  <a:ea typeface="HG丸ｺﾞｼｯｸM-PRO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D6CBC2"/>
                </a:buClr>
                <a:buFont typeface="Wingdings" pitchFamily="2" charset="2"/>
                <a:buChar char="n"/>
                <a:defRPr kumimoji="1" sz="13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>
                <a:spcAft>
                  <a:spcPct val="0"/>
                </a:spcAft>
                <a:buClrTx/>
                <a:buFontTx/>
                <a:buNone/>
              </a:pPr>
              <a:endParaRPr lang="ja-JP" altLang="ja-JP" sz="18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389" name="Line 399"/>
          <p:cNvSpPr>
            <a:spLocks noChangeShapeType="1"/>
          </p:cNvSpPr>
          <p:nvPr/>
        </p:nvSpPr>
        <p:spPr bwMode="auto">
          <a:xfrm>
            <a:off x="5430267" y="1607304"/>
            <a:ext cx="1520825" cy="0"/>
          </a:xfrm>
          <a:prstGeom prst="line">
            <a:avLst/>
          </a:prstGeom>
          <a:noFill/>
          <a:ln w="9525">
            <a:solidFill>
              <a:sysClr val="window" lastClr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336" tIns="45168" rIns="90336" bIns="45168">
            <a:spAutoFit/>
          </a:bodyPr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90" name="Line 400"/>
          <p:cNvSpPr>
            <a:spLocks noChangeShapeType="1"/>
          </p:cNvSpPr>
          <p:nvPr/>
        </p:nvSpPr>
        <p:spPr bwMode="auto">
          <a:xfrm>
            <a:off x="7119367" y="3366254"/>
            <a:ext cx="2109787" cy="0"/>
          </a:xfrm>
          <a:prstGeom prst="line">
            <a:avLst/>
          </a:prstGeom>
          <a:noFill/>
          <a:ln w="9525">
            <a:solidFill>
              <a:sysClr val="window" lastClr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336" tIns="45168" rIns="90336" bIns="45168">
            <a:spAutoFit/>
          </a:bodyPr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91" name="Oval 11"/>
          <p:cNvSpPr>
            <a:spLocks noChangeArrowheads="1"/>
          </p:cNvSpPr>
          <p:nvPr/>
        </p:nvSpPr>
        <p:spPr bwMode="auto">
          <a:xfrm>
            <a:off x="8948167" y="4464804"/>
            <a:ext cx="136525" cy="130175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4076" tIns="47037" rIns="94076" bIns="47037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92" name="Oval 15"/>
          <p:cNvSpPr>
            <a:spLocks noChangeArrowheads="1"/>
          </p:cNvSpPr>
          <p:nvPr/>
        </p:nvSpPr>
        <p:spPr bwMode="auto">
          <a:xfrm>
            <a:off x="8106792" y="2440741"/>
            <a:ext cx="134937" cy="130175"/>
          </a:xfrm>
          <a:prstGeom prst="ellipse">
            <a:avLst/>
          </a:prstGeom>
          <a:solidFill>
            <a:srgbClr val="F67D0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4076" tIns="47037" rIns="94076" bIns="47037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93" name="Oval 25"/>
          <p:cNvSpPr>
            <a:spLocks noChangeArrowheads="1"/>
          </p:cNvSpPr>
          <p:nvPr/>
        </p:nvSpPr>
        <p:spPr bwMode="auto">
          <a:xfrm>
            <a:off x="4988942" y="2805866"/>
            <a:ext cx="136525" cy="130175"/>
          </a:xfrm>
          <a:prstGeom prst="ellipse">
            <a:avLst/>
          </a:prstGeom>
          <a:solidFill>
            <a:srgbClr val="F67D0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4076" tIns="47037" rIns="94076" bIns="47037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94" name="Freeform 147"/>
          <p:cNvSpPr>
            <a:spLocks noChangeAspect="1"/>
          </p:cNvSpPr>
          <p:nvPr/>
        </p:nvSpPr>
        <p:spPr bwMode="auto">
          <a:xfrm>
            <a:off x="2261617" y="4783891"/>
            <a:ext cx="36512" cy="36513"/>
          </a:xfrm>
          <a:custGeom>
            <a:avLst/>
            <a:gdLst>
              <a:gd name="T0" fmla="*/ 2147483647 w 16"/>
              <a:gd name="T1" fmla="*/ 2147483647 h 16"/>
              <a:gd name="T2" fmla="*/ 2147483647 w 16"/>
              <a:gd name="T3" fmla="*/ 0 h 16"/>
              <a:gd name="T4" fmla="*/ 2147483647 w 16"/>
              <a:gd name="T5" fmla="*/ 0 h 16"/>
              <a:gd name="T6" fmla="*/ 0 w 16"/>
              <a:gd name="T7" fmla="*/ 2147483647 h 16"/>
              <a:gd name="T8" fmla="*/ 2147483647 w 16"/>
              <a:gd name="T9" fmla="*/ 2147483647 h 16"/>
              <a:gd name="T10" fmla="*/ 2147483647 w 16"/>
              <a:gd name="T11" fmla="*/ 2147483647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6" h="16">
                <a:moveTo>
                  <a:pt x="16" y="8"/>
                </a:moveTo>
                <a:lnTo>
                  <a:pt x="16" y="0"/>
                </a:lnTo>
                <a:lnTo>
                  <a:pt x="8" y="0"/>
                </a:lnTo>
                <a:lnTo>
                  <a:pt x="0" y="16"/>
                </a:lnTo>
                <a:lnTo>
                  <a:pt x="8" y="16"/>
                </a:lnTo>
                <a:lnTo>
                  <a:pt x="16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95" name="Freeform 72"/>
          <p:cNvSpPr>
            <a:spLocks noChangeAspect="1"/>
          </p:cNvSpPr>
          <p:nvPr/>
        </p:nvSpPr>
        <p:spPr bwMode="auto">
          <a:xfrm>
            <a:off x="2107629" y="4490204"/>
            <a:ext cx="452438" cy="396875"/>
          </a:xfrm>
          <a:custGeom>
            <a:avLst/>
            <a:gdLst>
              <a:gd name="T0" fmla="*/ 2147483647 w 208"/>
              <a:gd name="T1" fmla="*/ 0 h 192"/>
              <a:gd name="T2" fmla="*/ 2147483647 w 208"/>
              <a:gd name="T3" fmla="*/ 0 h 192"/>
              <a:gd name="T4" fmla="*/ 2147483647 w 208"/>
              <a:gd name="T5" fmla="*/ 2147483647 h 192"/>
              <a:gd name="T6" fmla="*/ 2147483647 w 208"/>
              <a:gd name="T7" fmla="*/ 2147483647 h 192"/>
              <a:gd name="T8" fmla="*/ 2147483647 w 208"/>
              <a:gd name="T9" fmla="*/ 2147483647 h 192"/>
              <a:gd name="T10" fmla="*/ 2147483647 w 208"/>
              <a:gd name="T11" fmla="*/ 2147483647 h 192"/>
              <a:gd name="T12" fmla="*/ 2147483647 w 208"/>
              <a:gd name="T13" fmla="*/ 2147483647 h 192"/>
              <a:gd name="T14" fmla="*/ 2147483647 w 208"/>
              <a:gd name="T15" fmla="*/ 2147483647 h 192"/>
              <a:gd name="T16" fmla="*/ 2147483647 w 208"/>
              <a:gd name="T17" fmla="*/ 2147483647 h 192"/>
              <a:gd name="T18" fmla="*/ 2147483647 w 208"/>
              <a:gd name="T19" fmla="*/ 2147483647 h 192"/>
              <a:gd name="T20" fmla="*/ 2147483647 w 208"/>
              <a:gd name="T21" fmla="*/ 2147483647 h 192"/>
              <a:gd name="T22" fmla="*/ 2147483647 w 208"/>
              <a:gd name="T23" fmla="*/ 2147483647 h 192"/>
              <a:gd name="T24" fmla="*/ 2147483647 w 208"/>
              <a:gd name="T25" fmla="*/ 2147483647 h 192"/>
              <a:gd name="T26" fmla="*/ 2147483647 w 208"/>
              <a:gd name="T27" fmla="*/ 2147483647 h 192"/>
              <a:gd name="T28" fmla="*/ 2147483647 w 208"/>
              <a:gd name="T29" fmla="*/ 2147483647 h 192"/>
              <a:gd name="T30" fmla="*/ 2147483647 w 208"/>
              <a:gd name="T31" fmla="*/ 2147483647 h 192"/>
              <a:gd name="T32" fmla="*/ 2147483647 w 208"/>
              <a:gd name="T33" fmla="*/ 2147483647 h 192"/>
              <a:gd name="T34" fmla="*/ 2147483647 w 208"/>
              <a:gd name="T35" fmla="*/ 2147483647 h 192"/>
              <a:gd name="T36" fmla="*/ 2147483647 w 208"/>
              <a:gd name="T37" fmla="*/ 2147483647 h 192"/>
              <a:gd name="T38" fmla="*/ 2147483647 w 208"/>
              <a:gd name="T39" fmla="*/ 2147483647 h 192"/>
              <a:gd name="T40" fmla="*/ 2147483647 w 208"/>
              <a:gd name="T41" fmla="*/ 2147483647 h 192"/>
              <a:gd name="T42" fmla="*/ 2147483647 w 208"/>
              <a:gd name="T43" fmla="*/ 2147483647 h 192"/>
              <a:gd name="T44" fmla="*/ 2147483647 w 208"/>
              <a:gd name="T45" fmla="*/ 2147483647 h 192"/>
              <a:gd name="T46" fmla="*/ 2147483647 w 208"/>
              <a:gd name="T47" fmla="*/ 2147483647 h 192"/>
              <a:gd name="T48" fmla="*/ 0 w 208"/>
              <a:gd name="T49" fmla="*/ 2147483647 h 192"/>
              <a:gd name="T50" fmla="*/ 0 w 208"/>
              <a:gd name="T51" fmla="*/ 2147483647 h 192"/>
              <a:gd name="T52" fmla="*/ 0 w 208"/>
              <a:gd name="T53" fmla="*/ 2147483647 h 192"/>
              <a:gd name="T54" fmla="*/ 2147483647 w 208"/>
              <a:gd name="T55" fmla="*/ 2147483647 h 192"/>
              <a:gd name="T56" fmla="*/ 2147483647 w 208"/>
              <a:gd name="T57" fmla="*/ 2147483647 h 192"/>
              <a:gd name="T58" fmla="*/ 2147483647 w 208"/>
              <a:gd name="T59" fmla="*/ 2147483647 h 192"/>
              <a:gd name="T60" fmla="*/ 2147483647 w 208"/>
              <a:gd name="T61" fmla="*/ 2147483647 h 192"/>
              <a:gd name="T62" fmla="*/ 2147483647 w 208"/>
              <a:gd name="T63" fmla="*/ 2147483647 h 192"/>
              <a:gd name="T64" fmla="*/ 2147483647 w 208"/>
              <a:gd name="T65" fmla="*/ 2147483647 h 192"/>
              <a:gd name="T66" fmla="*/ 2147483647 w 208"/>
              <a:gd name="T67" fmla="*/ 2147483647 h 192"/>
              <a:gd name="T68" fmla="*/ 2147483647 w 208"/>
              <a:gd name="T69" fmla="*/ 2147483647 h 192"/>
              <a:gd name="T70" fmla="*/ 2147483647 w 208"/>
              <a:gd name="T71" fmla="*/ 2147483647 h 192"/>
              <a:gd name="T72" fmla="*/ 2147483647 w 208"/>
              <a:gd name="T73" fmla="*/ 2147483647 h 192"/>
              <a:gd name="T74" fmla="*/ 2147483647 w 208"/>
              <a:gd name="T75" fmla="*/ 2147483647 h 192"/>
              <a:gd name="T76" fmla="*/ 2147483647 w 208"/>
              <a:gd name="T77" fmla="*/ 2147483647 h 192"/>
              <a:gd name="T78" fmla="*/ 2147483647 w 208"/>
              <a:gd name="T79" fmla="*/ 2147483647 h 192"/>
              <a:gd name="T80" fmla="*/ 2147483647 w 208"/>
              <a:gd name="T81" fmla="*/ 0 h 19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8" h="192">
                <a:moveTo>
                  <a:pt x="168" y="0"/>
                </a:moveTo>
                <a:lnTo>
                  <a:pt x="184" y="0"/>
                </a:lnTo>
                <a:lnTo>
                  <a:pt x="192" y="8"/>
                </a:lnTo>
                <a:lnTo>
                  <a:pt x="200" y="56"/>
                </a:lnTo>
                <a:lnTo>
                  <a:pt x="192" y="56"/>
                </a:lnTo>
                <a:lnTo>
                  <a:pt x="184" y="72"/>
                </a:lnTo>
                <a:lnTo>
                  <a:pt x="192" y="72"/>
                </a:lnTo>
                <a:lnTo>
                  <a:pt x="200" y="64"/>
                </a:lnTo>
                <a:lnTo>
                  <a:pt x="208" y="64"/>
                </a:lnTo>
                <a:lnTo>
                  <a:pt x="208" y="72"/>
                </a:lnTo>
                <a:lnTo>
                  <a:pt x="200" y="96"/>
                </a:lnTo>
                <a:lnTo>
                  <a:pt x="192" y="104"/>
                </a:lnTo>
                <a:lnTo>
                  <a:pt x="176" y="128"/>
                </a:lnTo>
                <a:lnTo>
                  <a:pt x="152" y="160"/>
                </a:lnTo>
                <a:lnTo>
                  <a:pt x="128" y="176"/>
                </a:lnTo>
                <a:lnTo>
                  <a:pt x="104" y="184"/>
                </a:lnTo>
                <a:lnTo>
                  <a:pt x="72" y="176"/>
                </a:lnTo>
                <a:lnTo>
                  <a:pt x="40" y="192"/>
                </a:lnTo>
                <a:lnTo>
                  <a:pt x="32" y="192"/>
                </a:lnTo>
                <a:lnTo>
                  <a:pt x="24" y="176"/>
                </a:lnTo>
                <a:lnTo>
                  <a:pt x="24" y="184"/>
                </a:lnTo>
                <a:lnTo>
                  <a:pt x="16" y="160"/>
                </a:lnTo>
                <a:lnTo>
                  <a:pt x="24" y="160"/>
                </a:lnTo>
                <a:lnTo>
                  <a:pt x="16" y="144"/>
                </a:lnTo>
                <a:lnTo>
                  <a:pt x="0" y="104"/>
                </a:lnTo>
                <a:lnTo>
                  <a:pt x="0" y="96"/>
                </a:lnTo>
                <a:lnTo>
                  <a:pt x="0" y="88"/>
                </a:lnTo>
                <a:lnTo>
                  <a:pt x="8" y="96"/>
                </a:lnTo>
                <a:lnTo>
                  <a:pt x="16" y="104"/>
                </a:lnTo>
                <a:lnTo>
                  <a:pt x="32" y="104"/>
                </a:lnTo>
                <a:lnTo>
                  <a:pt x="40" y="96"/>
                </a:lnTo>
                <a:lnTo>
                  <a:pt x="40" y="40"/>
                </a:lnTo>
                <a:lnTo>
                  <a:pt x="56" y="48"/>
                </a:lnTo>
                <a:lnTo>
                  <a:pt x="48" y="64"/>
                </a:lnTo>
                <a:lnTo>
                  <a:pt x="56" y="72"/>
                </a:lnTo>
                <a:lnTo>
                  <a:pt x="72" y="64"/>
                </a:lnTo>
                <a:lnTo>
                  <a:pt x="88" y="48"/>
                </a:lnTo>
                <a:lnTo>
                  <a:pt x="104" y="48"/>
                </a:lnTo>
                <a:lnTo>
                  <a:pt x="112" y="48"/>
                </a:lnTo>
                <a:lnTo>
                  <a:pt x="144" y="16"/>
                </a:lnTo>
                <a:lnTo>
                  <a:pt x="16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104296" tIns="52148" rIns="104296" bIns="52148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96" name="Oval 23"/>
          <p:cNvSpPr>
            <a:spLocks noChangeArrowheads="1"/>
          </p:cNvSpPr>
          <p:nvPr/>
        </p:nvSpPr>
        <p:spPr bwMode="auto">
          <a:xfrm>
            <a:off x="2163192" y="4688641"/>
            <a:ext cx="134937" cy="131763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4076" tIns="47037" rIns="94076" bIns="47037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97" name="Freeform 207"/>
          <p:cNvSpPr>
            <a:spLocks noChangeAspect="1"/>
          </p:cNvSpPr>
          <p:nvPr/>
        </p:nvSpPr>
        <p:spPr bwMode="auto">
          <a:xfrm>
            <a:off x="5966842" y="5639554"/>
            <a:ext cx="39687" cy="17462"/>
          </a:xfrm>
          <a:custGeom>
            <a:avLst/>
            <a:gdLst>
              <a:gd name="T0" fmla="*/ 0 w 16"/>
              <a:gd name="T1" fmla="*/ 2147483647 h 8"/>
              <a:gd name="T2" fmla="*/ 2147483647 w 16"/>
              <a:gd name="T3" fmla="*/ 2147483647 h 8"/>
              <a:gd name="T4" fmla="*/ 2147483647 w 16"/>
              <a:gd name="T5" fmla="*/ 2147483647 h 8"/>
              <a:gd name="T6" fmla="*/ 2147483647 w 16"/>
              <a:gd name="T7" fmla="*/ 0 h 8"/>
              <a:gd name="T8" fmla="*/ 0 w 16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" h="8">
                <a:moveTo>
                  <a:pt x="0" y="8"/>
                </a:moveTo>
                <a:lnTo>
                  <a:pt x="8" y="8"/>
                </a:lnTo>
                <a:lnTo>
                  <a:pt x="16" y="8"/>
                </a:lnTo>
                <a:lnTo>
                  <a:pt x="16" y="0"/>
                </a:lnTo>
                <a:lnTo>
                  <a:pt x="0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91385" tIns="45692" rIns="91385" bIns="45692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98" name="Freeform 248"/>
          <p:cNvSpPr>
            <a:spLocks noChangeAspect="1"/>
          </p:cNvSpPr>
          <p:nvPr/>
        </p:nvSpPr>
        <p:spPr bwMode="auto">
          <a:xfrm>
            <a:off x="2142554" y="5884029"/>
            <a:ext cx="58738" cy="74612"/>
          </a:xfrm>
          <a:custGeom>
            <a:avLst/>
            <a:gdLst>
              <a:gd name="T0" fmla="*/ 2147483647 w 24"/>
              <a:gd name="T1" fmla="*/ 2147483647 h 32"/>
              <a:gd name="T2" fmla="*/ 2147483647 w 24"/>
              <a:gd name="T3" fmla="*/ 2147483647 h 32"/>
              <a:gd name="T4" fmla="*/ 2147483647 w 24"/>
              <a:gd name="T5" fmla="*/ 2147483647 h 32"/>
              <a:gd name="T6" fmla="*/ 0 w 24"/>
              <a:gd name="T7" fmla="*/ 2147483647 h 32"/>
              <a:gd name="T8" fmla="*/ 2147483647 w 24"/>
              <a:gd name="T9" fmla="*/ 0 h 32"/>
              <a:gd name="T10" fmla="*/ 2147483647 w 24"/>
              <a:gd name="T11" fmla="*/ 0 h 32"/>
              <a:gd name="T12" fmla="*/ 2147483647 w 24"/>
              <a:gd name="T13" fmla="*/ 2147483647 h 3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" h="32">
                <a:moveTo>
                  <a:pt x="24" y="8"/>
                </a:moveTo>
                <a:lnTo>
                  <a:pt x="24" y="16"/>
                </a:lnTo>
                <a:lnTo>
                  <a:pt x="8" y="32"/>
                </a:lnTo>
                <a:lnTo>
                  <a:pt x="0" y="16"/>
                </a:lnTo>
                <a:lnTo>
                  <a:pt x="16" y="0"/>
                </a:lnTo>
                <a:lnTo>
                  <a:pt x="24" y="0"/>
                </a:lnTo>
                <a:lnTo>
                  <a:pt x="24" y="8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91385" tIns="45692" rIns="91385" bIns="45692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99" name="Freeform 284"/>
          <p:cNvSpPr>
            <a:spLocks noChangeAspect="1"/>
          </p:cNvSpPr>
          <p:nvPr/>
        </p:nvSpPr>
        <p:spPr bwMode="auto">
          <a:xfrm>
            <a:off x="8889429" y="5458579"/>
            <a:ext cx="133350" cy="93662"/>
          </a:xfrm>
          <a:custGeom>
            <a:avLst/>
            <a:gdLst>
              <a:gd name="T0" fmla="*/ 0 w 56"/>
              <a:gd name="T1" fmla="*/ 0 h 40"/>
              <a:gd name="T2" fmla="*/ 2147483647 w 56"/>
              <a:gd name="T3" fmla="*/ 2147483647 h 40"/>
              <a:gd name="T4" fmla="*/ 2147483647 w 56"/>
              <a:gd name="T5" fmla="*/ 2147483647 h 40"/>
              <a:gd name="T6" fmla="*/ 2147483647 w 56"/>
              <a:gd name="T7" fmla="*/ 2147483647 h 40"/>
              <a:gd name="T8" fmla="*/ 2147483647 w 56"/>
              <a:gd name="T9" fmla="*/ 2147483647 h 40"/>
              <a:gd name="T10" fmla="*/ 0 w 56"/>
              <a:gd name="T11" fmla="*/ 0 h 4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6" h="40">
                <a:moveTo>
                  <a:pt x="0" y="0"/>
                </a:moveTo>
                <a:lnTo>
                  <a:pt x="16" y="16"/>
                </a:lnTo>
                <a:lnTo>
                  <a:pt x="56" y="32"/>
                </a:lnTo>
                <a:lnTo>
                  <a:pt x="32" y="40"/>
                </a:lnTo>
                <a:lnTo>
                  <a:pt x="24" y="40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91385" tIns="45692" rIns="91385" bIns="45692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00" name="Freeform 285"/>
          <p:cNvSpPr>
            <a:spLocks noChangeAspect="1"/>
          </p:cNvSpPr>
          <p:nvPr/>
        </p:nvSpPr>
        <p:spPr bwMode="auto">
          <a:xfrm>
            <a:off x="8776717" y="5458579"/>
            <a:ext cx="171450" cy="93662"/>
          </a:xfrm>
          <a:custGeom>
            <a:avLst/>
            <a:gdLst>
              <a:gd name="T0" fmla="*/ 2147483647 w 72"/>
              <a:gd name="T1" fmla="*/ 0 h 40"/>
              <a:gd name="T2" fmla="*/ 2147483647 w 72"/>
              <a:gd name="T3" fmla="*/ 0 h 40"/>
              <a:gd name="T4" fmla="*/ 2147483647 w 72"/>
              <a:gd name="T5" fmla="*/ 2147483647 h 40"/>
              <a:gd name="T6" fmla="*/ 2147483647 w 72"/>
              <a:gd name="T7" fmla="*/ 2147483647 h 40"/>
              <a:gd name="T8" fmla="*/ 2147483647 w 72"/>
              <a:gd name="T9" fmla="*/ 2147483647 h 40"/>
              <a:gd name="T10" fmla="*/ 2147483647 w 72"/>
              <a:gd name="T11" fmla="*/ 2147483647 h 40"/>
              <a:gd name="T12" fmla="*/ 0 w 72"/>
              <a:gd name="T13" fmla="*/ 2147483647 h 40"/>
              <a:gd name="T14" fmla="*/ 0 w 72"/>
              <a:gd name="T15" fmla="*/ 2147483647 h 40"/>
              <a:gd name="T16" fmla="*/ 2147483647 w 72"/>
              <a:gd name="T17" fmla="*/ 2147483647 h 40"/>
              <a:gd name="T18" fmla="*/ 2147483647 w 72"/>
              <a:gd name="T19" fmla="*/ 2147483647 h 40"/>
              <a:gd name="T20" fmla="*/ 2147483647 w 72"/>
              <a:gd name="T21" fmla="*/ 2147483647 h 40"/>
              <a:gd name="T22" fmla="*/ 2147483647 w 72"/>
              <a:gd name="T23" fmla="*/ 2147483647 h 40"/>
              <a:gd name="T24" fmla="*/ 2147483647 w 72"/>
              <a:gd name="T25" fmla="*/ 2147483647 h 40"/>
              <a:gd name="T26" fmla="*/ 2147483647 w 72"/>
              <a:gd name="T27" fmla="*/ 2147483647 h 40"/>
              <a:gd name="T28" fmla="*/ 2147483647 w 72"/>
              <a:gd name="T29" fmla="*/ 0 h 4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72" h="40">
                <a:moveTo>
                  <a:pt x="48" y="0"/>
                </a:moveTo>
                <a:lnTo>
                  <a:pt x="32" y="0"/>
                </a:lnTo>
                <a:lnTo>
                  <a:pt x="40" y="8"/>
                </a:lnTo>
                <a:lnTo>
                  <a:pt x="48" y="8"/>
                </a:lnTo>
                <a:lnTo>
                  <a:pt x="40" y="16"/>
                </a:lnTo>
                <a:lnTo>
                  <a:pt x="40" y="24"/>
                </a:lnTo>
                <a:lnTo>
                  <a:pt x="0" y="8"/>
                </a:lnTo>
                <a:lnTo>
                  <a:pt x="0" y="16"/>
                </a:lnTo>
                <a:lnTo>
                  <a:pt x="8" y="24"/>
                </a:lnTo>
                <a:lnTo>
                  <a:pt x="16" y="24"/>
                </a:lnTo>
                <a:lnTo>
                  <a:pt x="40" y="32"/>
                </a:lnTo>
                <a:lnTo>
                  <a:pt x="56" y="32"/>
                </a:lnTo>
                <a:lnTo>
                  <a:pt x="56" y="40"/>
                </a:lnTo>
                <a:lnTo>
                  <a:pt x="72" y="40"/>
                </a:lnTo>
                <a:lnTo>
                  <a:pt x="48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91385" tIns="45692" rIns="91385" bIns="45692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01" name="Freeform 297"/>
          <p:cNvSpPr>
            <a:spLocks noChangeAspect="1"/>
          </p:cNvSpPr>
          <p:nvPr/>
        </p:nvSpPr>
        <p:spPr bwMode="auto">
          <a:xfrm>
            <a:off x="8586217" y="5310941"/>
            <a:ext cx="38100" cy="55563"/>
          </a:xfrm>
          <a:custGeom>
            <a:avLst/>
            <a:gdLst>
              <a:gd name="T0" fmla="*/ 0 w 16"/>
              <a:gd name="T1" fmla="*/ 0 h 24"/>
              <a:gd name="T2" fmla="*/ 2147483647 w 16"/>
              <a:gd name="T3" fmla="*/ 2147483647 h 24"/>
              <a:gd name="T4" fmla="*/ 2147483647 w 16"/>
              <a:gd name="T5" fmla="*/ 2147483647 h 24"/>
              <a:gd name="T6" fmla="*/ 2147483647 w 16"/>
              <a:gd name="T7" fmla="*/ 2147483647 h 24"/>
              <a:gd name="T8" fmla="*/ 0 w 1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" h="24">
                <a:moveTo>
                  <a:pt x="0" y="0"/>
                </a:moveTo>
                <a:lnTo>
                  <a:pt x="8" y="24"/>
                </a:lnTo>
                <a:lnTo>
                  <a:pt x="16" y="24"/>
                </a:lnTo>
                <a:lnTo>
                  <a:pt x="16" y="8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91385" tIns="45692" rIns="91385" bIns="45692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02" name="Freeform 298"/>
          <p:cNvSpPr>
            <a:spLocks noChangeAspect="1"/>
          </p:cNvSpPr>
          <p:nvPr/>
        </p:nvSpPr>
        <p:spPr bwMode="auto">
          <a:xfrm>
            <a:off x="9097392" y="5422066"/>
            <a:ext cx="76200" cy="19050"/>
          </a:xfrm>
          <a:custGeom>
            <a:avLst/>
            <a:gdLst>
              <a:gd name="T0" fmla="*/ 0 w 32"/>
              <a:gd name="T1" fmla="*/ 0 h 8"/>
              <a:gd name="T2" fmla="*/ 2147483647 w 32"/>
              <a:gd name="T3" fmla="*/ 2147483647 h 8"/>
              <a:gd name="T4" fmla="*/ 2147483647 w 32"/>
              <a:gd name="T5" fmla="*/ 0 h 8"/>
              <a:gd name="T6" fmla="*/ 2147483647 w 32"/>
              <a:gd name="T7" fmla="*/ 0 h 8"/>
              <a:gd name="T8" fmla="*/ 2147483647 w 32"/>
              <a:gd name="T9" fmla="*/ 0 h 8"/>
              <a:gd name="T10" fmla="*/ 0 w 32"/>
              <a:gd name="T11" fmla="*/ 0 h 8"/>
              <a:gd name="T12" fmla="*/ 2147483647 w 32"/>
              <a:gd name="T13" fmla="*/ 0 h 8"/>
              <a:gd name="T14" fmla="*/ 2147483647 w 32"/>
              <a:gd name="T15" fmla="*/ 2147483647 h 8"/>
              <a:gd name="T16" fmla="*/ 0 w 32"/>
              <a:gd name="T17" fmla="*/ 0 h 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2" h="8">
                <a:moveTo>
                  <a:pt x="0" y="0"/>
                </a:moveTo>
                <a:lnTo>
                  <a:pt x="16" y="8"/>
                </a:lnTo>
                <a:lnTo>
                  <a:pt x="32" y="0"/>
                </a:lnTo>
                <a:lnTo>
                  <a:pt x="24" y="0"/>
                </a:lnTo>
                <a:lnTo>
                  <a:pt x="8" y="0"/>
                </a:lnTo>
                <a:lnTo>
                  <a:pt x="0" y="0"/>
                </a:lnTo>
                <a:lnTo>
                  <a:pt x="8" y="0"/>
                </a:lnTo>
                <a:lnTo>
                  <a:pt x="8" y="8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6350" cmpd="sng">
            <a:solidFill>
              <a:srgbClr val="EEECE1"/>
            </a:solidFill>
            <a:prstDash val="solid"/>
            <a:round/>
            <a:headEnd/>
            <a:tailEnd/>
          </a:ln>
        </p:spPr>
        <p:txBody>
          <a:bodyPr lIns="91385" tIns="45692" rIns="91385" bIns="45692"/>
          <a:lstStyle/>
          <a:p>
            <a:pPr eaLnBrk="0" fontAlgn="auto" hangingPunct="0">
              <a:spcBef>
                <a:spcPts val="0"/>
              </a:spcBef>
              <a:defRPr/>
            </a:pPr>
            <a:endParaRPr kumimoji="0" lang="ja-JP" altLang="en-US" sz="1800" kern="0">
              <a:solidFill>
                <a:srgbClr val="1F497D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03" name="テキスト ボックス 74"/>
          <p:cNvSpPr txBox="1"/>
          <p:nvPr/>
        </p:nvSpPr>
        <p:spPr bwMode="auto">
          <a:xfrm>
            <a:off x="978917" y="5087104"/>
            <a:ext cx="1122362" cy="239712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lIns="91385" tIns="45692" rIns="91385" bIns="45692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MSE EUROPE S.A.                   </a:t>
            </a:r>
            <a:endParaRPr kumimoji="0" lang="ja-JP" altLang="en-US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04" name="Picture 2"/>
          <p:cNvPicPr>
            <a:picLocks noGrp="1"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12" r="1421" b="32949"/>
          <a:stretch/>
        </p:blipFill>
        <p:spPr bwMode="auto">
          <a:xfrm>
            <a:off x="1005549" y="5417997"/>
            <a:ext cx="1137912" cy="51798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pic>
        <p:nvPicPr>
          <p:cNvPr id="405" name="Picture 117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9287" y="5388654"/>
            <a:ext cx="1119639" cy="5080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6" name="テキスト ボックス 80"/>
          <p:cNvSpPr txBox="1"/>
          <p:nvPr/>
        </p:nvSpPr>
        <p:spPr bwMode="auto">
          <a:xfrm>
            <a:off x="2282254" y="5069641"/>
            <a:ext cx="1184275" cy="274638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lIns="91385" tIns="45692" rIns="91385" bIns="45692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MS EXPRESSS SOUTH AFRICA</a:t>
            </a:r>
            <a:endParaRPr kumimoji="0" lang="ja-JP" altLang="en-US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07" name="テキスト ボックス 47"/>
          <p:cNvSpPr txBox="1"/>
          <p:nvPr/>
        </p:nvSpPr>
        <p:spPr bwMode="auto">
          <a:xfrm>
            <a:off x="4731767" y="5082341"/>
            <a:ext cx="1187450" cy="247650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lIns="91385" tIns="45692" rIns="91385" bIns="45692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MSE</a:t>
            </a:r>
            <a:r>
              <a:rPr kumimoji="0" lang="ja-JP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 </a:t>
            </a: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EXPRESS (THAILAND)</a:t>
            </a:r>
            <a:endParaRPr kumimoji="0" lang="ja-JP" altLang="en-US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08" name="Picture 45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8903" y="5401101"/>
            <a:ext cx="1122625" cy="5054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" name="テキスト ボックス 83"/>
          <p:cNvSpPr txBox="1"/>
          <p:nvPr/>
        </p:nvSpPr>
        <p:spPr bwMode="auto">
          <a:xfrm>
            <a:off x="3428429" y="5053766"/>
            <a:ext cx="1266825" cy="306388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lIns="91385" tIns="45692" rIns="91385" bIns="45692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MSE FORWARDERS</a:t>
            </a:r>
            <a:b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INDIA</a:t>
            </a:r>
            <a:endParaRPr kumimoji="0" lang="ja-JP" altLang="en-US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10" name="図 409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118" b="15999"/>
          <a:stretch/>
        </p:blipFill>
        <p:spPr bwMode="auto">
          <a:xfrm>
            <a:off x="4794315" y="5401100"/>
            <a:ext cx="1119817" cy="48575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1" name="正方形/長方形 410"/>
          <p:cNvSpPr/>
          <p:nvPr/>
        </p:nvSpPr>
        <p:spPr bwMode="auto">
          <a:xfrm>
            <a:off x="7441629" y="5310941"/>
            <a:ext cx="2578100" cy="595313"/>
          </a:xfrm>
          <a:prstGeom prst="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1385" tIns="45692" rIns="91385" bIns="45692"/>
          <a:lstStyle>
            <a:lvl1pPr eaLnBrk="0" hangingPunct="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 eaLnBrk="0" hangingPunct="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 eaLnBrk="0" hangingPunct="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 eaLnBrk="0" hangingPunct="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ja-JP" altLang="en-US" sz="1100" ker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12" name="テキスト ボックス 60"/>
          <p:cNvSpPr txBox="1"/>
          <p:nvPr/>
        </p:nvSpPr>
        <p:spPr bwMode="auto">
          <a:xfrm>
            <a:off x="7727379" y="5380791"/>
            <a:ext cx="2665413" cy="163513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lIns="91385" tIns="45692" rIns="91385" bIns="45692" anchor="ctr"/>
          <a:lstStyle>
            <a:lvl1pPr eaLnBrk="0" hangingPunct="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 eaLnBrk="0" hangingPunct="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 eaLnBrk="0" hangingPunct="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 eaLnBrk="0" hangingPunct="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eaLnBrk="1" fontAlgn="auto" hangingPunct="1">
              <a:lnSpc>
                <a:spcPts val="17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900" kern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     : Overseas Subsidiary</a:t>
            </a:r>
            <a:r>
              <a:rPr lang="ja-JP" altLang="en-US" sz="900" kern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　</a:t>
            </a:r>
            <a:r>
              <a:rPr lang="en-US" altLang="ja-JP" sz="900" kern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Head Office</a:t>
            </a:r>
            <a:endParaRPr lang="ja-JP" altLang="en-US" sz="900" kern="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413" name="正方形/長方形 412"/>
          <p:cNvSpPr/>
          <p:nvPr/>
        </p:nvSpPr>
        <p:spPr bwMode="auto">
          <a:xfrm>
            <a:off x="7414642" y="5671304"/>
            <a:ext cx="2708275" cy="1492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385" tIns="45692" rIns="91385" bIns="45692" anchor="ctr"/>
          <a:lstStyle>
            <a:lvl1pPr eaLnBrk="0" hangingPunct="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 eaLnBrk="0" hangingPunct="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 eaLnBrk="0" hangingPunct="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 eaLnBrk="0" hangingPunct="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900" kern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    </a:t>
            </a:r>
            <a:r>
              <a:rPr lang="ja-JP" altLang="en-US" sz="900" kern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　　　 </a:t>
            </a:r>
            <a:r>
              <a:rPr lang="en-US" altLang="ja-JP" sz="900" kern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  : Subsidiaries' Branch</a:t>
            </a:r>
            <a:endParaRPr lang="ja-JP" altLang="en-US" sz="900" kern="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414" name="Oval 11"/>
          <p:cNvSpPr>
            <a:spLocks noChangeArrowheads="1"/>
          </p:cNvSpPr>
          <p:nvPr/>
        </p:nvSpPr>
        <p:spPr bwMode="auto">
          <a:xfrm>
            <a:off x="7722617" y="5701466"/>
            <a:ext cx="144462" cy="144463"/>
          </a:xfrm>
          <a:prstGeom prst="ellipse">
            <a:avLst/>
          </a:prstGeom>
          <a:solidFill>
            <a:srgbClr val="F67D0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431" tIns="41214" rIns="82431" bIns="41214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15" name="Oval 10"/>
          <p:cNvSpPr>
            <a:spLocks noChangeArrowheads="1"/>
          </p:cNvSpPr>
          <p:nvPr/>
        </p:nvSpPr>
        <p:spPr bwMode="auto">
          <a:xfrm>
            <a:off x="7722617" y="5401429"/>
            <a:ext cx="144462" cy="144462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431" tIns="41214" rIns="82431" bIns="41214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16" name="Oval 28"/>
          <p:cNvSpPr>
            <a:spLocks noChangeArrowheads="1"/>
          </p:cNvSpPr>
          <p:nvPr/>
        </p:nvSpPr>
        <p:spPr bwMode="auto">
          <a:xfrm>
            <a:off x="937642" y="5163304"/>
            <a:ext cx="134937" cy="130175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431" tIns="41214" rIns="82431" bIns="41214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17" name="テキスト ボックス 1"/>
          <p:cNvSpPr txBox="1">
            <a:spLocks noChangeArrowheads="1"/>
          </p:cNvSpPr>
          <p:nvPr/>
        </p:nvSpPr>
        <p:spPr bwMode="auto">
          <a:xfrm>
            <a:off x="870967" y="5120441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endParaRPr lang="ja-JP" altLang="en-US" sz="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18" name="テキスト ボックス 412"/>
          <p:cNvSpPr txBox="1">
            <a:spLocks noChangeArrowheads="1"/>
          </p:cNvSpPr>
          <p:nvPr/>
        </p:nvSpPr>
        <p:spPr bwMode="auto">
          <a:xfrm>
            <a:off x="1736154" y="2042279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endParaRPr lang="ja-JP" altLang="en-US" sz="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19" name="Oval 32"/>
          <p:cNvSpPr>
            <a:spLocks noChangeArrowheads="1"/>
          </p:cNvSpPr>
          <p:nvPr/>
        </p:nvSpPr>
        <p:spPr bwMode="auto">
          <a:xfrm>
            <a:off x="2209229" y="5163304"/>
            <a:ext cx="134938" cy="130175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431" tIns="41214" rIns="82431" bIns="41214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20" name="テキスト ボックス 415"/>
          <p:cNvSpPr txBox="1">
            <a:spLocks noChangeArrowheads="1"/>
          </p:cNvSpPr>
          <p:nvPr/>
        </p:nvSpPr>
        <p:spPr bwMode="auto">
          <a:xfrm>
            <a:off x="2142554" y="5120441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endParaRPr lang="ja-JP" altLang="en-US" sz="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21" name="テキスト ボックス 416"/>
          <p:cNvSpPr txBox="1">
            <a:spLocks noChangeArrowheads="1"/>
          </p:cNvSpPr>
          <p:nvPr/>
        </p:nvSpPr>
        <p:spPr bwMode="auto">
          <a:xfrm>
            <a:off x="2102867" y="4647366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endParaRPr lang="ja-JP" altLang="en-US" sz="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22" name="Oval 32"/>
          <p:cNvSpPr>
            <a:spLocks noChangeArrowheads="1"/>
          </p:cNvSpPr>
          <p:nvPr/>
        </p:nvSpPr>
        <p:spPr bwMode="auto">
          <a:xfrm>
            <a:off x="3450654" y="5163304"/>
            <a:ext cx="134938" cy="130175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431" tIns="41214" rIns="82431" bIns="41214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23" name="テキスト ボックス 418"/>
          <p:cNvSpPr txBox="1">
            <a:spLocks noChangeArrowheads="1"/>
          </p:cNvSpPr>
          <p:nvPr/>
        </p:nvSpPr>
        <p:spPr bwMode="auto">
          <a:xfrm>
            <a:off x="3388742" y="5120441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</a:t>
            </a:r>
            <a:endParaRPr lang="ja-JP" altLang="en-US" sz="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24" name="テキスト ボックス 419"/>
          <p:cNvSpPr txBox="1">
            <a:spLocks noChangeArrowheads="1"/>
          </p:cNvSpPr>
          <p:nvPr/>
        </p:nvSpPr>
        <p:spPr bwMode="auto">
          <a:xfrm>
            <a:off x="3723704" y="3159879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</a:t>
            </a:r>
            <a:endParaRPr lang="ja-JP" altLang="en-US" sz="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25" name="Oval 21"/>
          <p:cNvSpPr>
            <a:spLocks noChangeArrowheads="1"/>
          </p:cNvSpPr>
          <p:nvPr/>
        </p:nvSpPr>
        <p:spPr bwMode="auto">
          <a:xfrm>
            <a:off x="4674617" y="5163304"/>
            <a:ext cx="134937" cy="130175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431" tIns="41214" rIns="82431" bIns="41214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26" name="テキスト ボックス 421"/>
          <p:cNvSpPr txBox="1">
            <a:spLocks noChangeArrowheads="1"/>
          </p:cNvSpPr>
          <p:nvPr/>
        </p:nvSpPr>
        <p:spPr bwMode="auto">
          <a:xfrm>
            <a:off x="4615879" y="5120441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</a:t>
            </a:r>
            <a:endParaRPr lang="ja-JP" altLang="en-US" sz="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27" name="テキスト ボックス 422"/>
          <p:cNvSpPr txBox="1">
            <a:spLocks noChangeArrowheads="1"/>
          </p:cNvSpPr>
          <p:nvPr/>
        </p:nvSpPr>
        <p:spPr bwMode="auto">
          <a:xfrm>
            <a:off x="4331717" y="3093204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</a:t>
            </a:r>
            <a:endParaRPr lang="ja-JP" altLang="en-US" sz="800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28" name="Oval 21"/>
          <p:cNvSpPr>
            <a:spLocks noChangeArrowheads="1"/>
          </p:cNvSpPr>
          <p:nvPr/>
        </p:nvSpPr>
        <p:spPr bwMode="auto">
          <a:xfrm>
            <a:off x="5987479" y="5163304"/>
            <a:ext cx="136525" cy="130175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431" tIns="41214" rIns="82431" bIns="41214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29" name="テキスト ボックス 424"/>
          <p:cNvSpPr txBox="1">
            <a:spLocks noChangeArrowheads="1"/>
          </p:cNvSpPr>
          <p:nvPr/>
        </p:nvSpPr>
        <p:spPr bwMode="auto">
          <a:xfrm>
            <a:off x="5920804" y="5120441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5</a:t>
            </a:r>
            <a:endParaRPr lang="ja-JP" altLang="en-US" sz="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30" name="Oval 23"/>
          <p:cNvSpPr>
            <a:spLocks noChangeArrowheads="1"/>
          </p:cNvSpPr>
          <p:nvPr/>
        </p:nvSpPr>
        <p:spPr bwMode="auto">
          <a:xfrm>
            <a:off x="942404" y="6018966"/>
            <a:ext cx="134938" cy="131763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431" tIns="41214" rIns="82431" bIns="41214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31" name="テキスト ボックス 427"/>
          <p:cNvSpPr txBox="1">
            <a:spLocks noChangeArrowheads="1"/>
          </p:cNvSpPr>
          <p:nvPr/>
        </p:nvSpPr>
        <p:spPr bwMode="auto">
          <a:xfrm>
            <a:off x="885254" y="5977691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6</a:t>
            </a:r>
            <a:endParaRPr lang="ja-JP" altLang="en-US" sz="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32" name="テキスト ボックス 428"/>
          <p:cNvSpPr txBox="1">
            <a:spLocks noChangeArrowheads="1"/>
          </p:cNvSpPr>
          <p:nvPr/>
        </p:nvSpPr>
        <p:spPr bwMode="auto">
          <a:xfrm>
            <a:off x="4704779" y="3874254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5</a:t>
            </a:r>
            <a:endParaRPr lang="ja-JP" altLang="en-US" sz="800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33" name="Oval 16"/>
          <p:cNvSpPr>
            <a:spLocks noChangeArrowheads="1"/>
          </p:cNvSpPr>
          <p:nvPr/>
        </p:nvSpPr>
        <p:spPr bwMode="auto">
          <a:xfrm>
            <a:off x="2198117" y="6018966"/>
            <a:ext cx="136525" cy="131763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431" tIns="41214" rIns="82431" bIns="41214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34" name="Oval 16"/>
          <p:cNvSpPr>
            <a:spLocks noChangeArrowheads="1"/>
          </p:cNvSpPr>
          <p:nvPr/>
        </p:nvSpPr>
        <p:spPr bwMode="auto">
          <a:xfrm>
            <a:off x="3522092" y="6018966"/>
            <a:ext cx="134937" cy="131763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431" tIns="41214" rIns="82431" bIns="41214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35" name="Oval 16"/>
          <p:cNvSpPr>
            <a:spLocks noChangeArrowheads="1"/>
          </p:cNvSpPr>
          <p:nvPr/>
        </p:nvSpPr>
        <p:spPr bwMode="auto">
          <a:xfrm>
            <a:off x="4704779" y="6018966"/>
            <a:ext cx="134938" cy="131763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431" tIns="41214" rIns="82431" bIns="41214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36" name="テキスト ボックス 433"/>
          <p:cNvSpPr txBox="1">
            <a:spLocks noChangeArrowheads="1"/>
          </p:cNvSpPr>
          <p:nvPr/>
        </p:nvSpPr>
        <p:spPr bwMode="auto">
          <a:xfrm>
            <a:off x="2121917" y="5977691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7</a:t>
            </a:r>
            <a:endParaRPr lang="ja-JP" altLang="en-US" sz="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37" name="テキスト ボックス 434"/>
          <p:cNvSpPr txBox="1">
            <a:spLocks noChangeArrowheads="1"/>
          </p:cNvSpPr>
          <p:nvPr/>
        </p:nvSpPr>
        <p:spPr bwMode="auto">
          <a:xfrm>
            <a:off x="4730179" y="2910641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6</a:t>
            </a:r>
            <a:endParaRPr lang="ja-JP" altLang="en-US" sz="800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38" name="テキスト ボックス 436"/>
          <p:cNvSpPr txBox="1">
            <a:spLocks noChangeArrowheads="1"/>
          </p:cNvSpPr>
          <p:nvPr/>
        </p:nvSpPr>
        <p:spPr bwMode="auto">
          <a:xfrm>
            <a:off x="4630167" y="2585204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7</a:t>
            </a:r>
            <a:endParaRPr lang="ja-JP" altLang="en-US" sz="800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39" name="テキスト ボックス 437"/>
          <p:cNvSpPr txBox="1">
            <a:spLocks noChangeArrowheads="1"/>
          </p:cNvSpPr>
          <p:nvPr/>
        </p:nvSpPr>
        <p:spPr bwMode="auto">
          <a:xfrm>
            <a:off x="3453829" y="5977691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8</a:t>
            </a:r>
            <a:endParaRPr lang="ja-JP" altLang="en-US" sz="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40" name="テキスト ボックス 438"/>
          <p:cNvSpPr txBox="1">
            <a:spLocks noChangeArrowheads="1"/>
          </p:cNvSpPr>
          <p:nvPr/>
        </p:nvSpPr>
        <p:spPr bwMode="auto">
          <a:xfrm>
            <a:off x="4650804" y="5977691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9</a:t>
            </a:r>
            <a:endParaRPr lang="ja-JP" altLang="en-US" sz="8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41" name="テキスト ボックス 441"/>
          <p:cNvSpPr txBox="1">
            <a:spLocks noChangeArrowheads="1"/>
          </p:cNvSpPr>
          <p:nvPr/>
        </p:nvSpPr>
        <p:spPr bwMode="auto">
          <a:xfrm>
            <a:off x="7995064" y="2235954"/>
            <a:ext cx="248675" cy="21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8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8</a:t>
            </a:r>
            <a:endParaRPr lang="ja-JP" altLang="en-US" sz="800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42" name="テキスト ボックス 443"/>
          <p:cNvSpPr txBox="1">
            <a:spLocks noChangeArrowheads="1"/>
          </p:cNvSpPr>
          <p:nvPr/>
        </p:nvSpPr>
        <p:spPr bwMode="auto">
          <a:xfrm>
            <a:off x="8896544" y="4434641"/>
            <a:ext cx="232645" cy="184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6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9</a:t>
            </a:r>
            <a:endParaRPr lang="ja-JP" altLang="en-US" sz="600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43" name="Oval 10"/>
          <p:cNvSpPr>
            <a:spLocks noChangeArrowheads="1"/>
          </p:cNvSpPr>
          <p:nvPr/>
        </p:nvSpPr>
        <p:spPr bwMode="auto">
          <a:xfrm>
            <a:off x="7490842" y="3034466"/>
            <a:ext cx="144462" cy="144463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431" tIns="41214" rIns="82431" bIns="41214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44" name="テキスト ボックス 450"/>
          <p:cNvSpPr txBox="1">
            <a:spLocks noChangeArrowheads="1"/>
          </p:cNvSpPr>
          <p:nvPr/>
        </p:nvSpPr>
        <p:spPr bwMode="auto">
          <a:xfrm>
            <a:off x="7401339" y="3020179"/>
            <a:ext cx="280735" cy="184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6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0</a:t>
            </a:r>
            <a:endParaRPr lang="ja-JP" altLang="en-US" sz="600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45" name="テキスト ボックス 453"/>
          <p:cNvSpPr txBox="1">
            <a:spLocks noChangeArrowheads="1"/>
          </p:cNvSpPr>
          <p:nvPr/>
        </p:nvSpPr>
        <p:spPr bwMode="auto">
          <a:xfrm>
            <a:off x="7343204" y="3883779"/>
            <a:ext cx="280735" cy="184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ja-JP" sz="600" ker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1</a:t>
            </a:r>
            <a:endParaRPr lang="ja-JP" altLang="en-US" sz="600" kern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46" name="角丸四角形 2"/>
          <p:cNvSpPr>
            <a:spLocks noChangeArrowheads="1"/>
          </p:cNvSpPr>
          <p:nvPr/>
        </p:nvSpPr>
        <p:spPr bwMode="auto">
          <a:xfrm>
            <a:off x="7405117" y="6295191"/>
            <a:ext cx="1084262" cy="449263"/>
          </a:xfrm>
          <a:prstGeom prst="roundRect">
            <a:avLst>
              <a:gd name="adj" fmla="val 16667"/>
            </a:avLst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9152" tIns="39577" rIns="79152" bIns="39577" anchor="ctr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algn="ctr" fontAlgn="auto">
              <a:spcBef>
                <a:spcPct val="50000"/>
              </a:spcBef>
              <a:buClr>
                <a:srgbClr val="DDDDDD"/>
              </a:buClr>
              <a:buFont typeface="Wingdings" pitchFamily="2" charset="2"/>
              <a:buNone/>
              <a:defRPr/>
            </a:pPr>
            <a:endParaRPr lang="ja-JP" altLang="en-US" sz="900" ker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47" name="Oval 25"/>
          <p:cNvSpPr>
            <a:spLocks noChangeArrowheads="1"/>
          </p:cNvSpPr>
          <p:nvPr/>
        </p:nvSpPr>
        <p:spPr bwMode="auto">
          <a:xfrm>
            <a:off x="4923854" y="2501066"/>
            <a:ext cx="136525" cy="130175"/>
          </a:xfrm>
          <a:prstGeom prst="ellipse">
            <a:avLst/>
          </a:prstGeom>
          <a:solidFill>
            <a:srgbClr val="F67D0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4076" tIns="47037" rIns="94076" bIns="47037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48" name="Oval 25"/>
          <p:cNvSpPr>
            <a:spLocks noChangeArrowheads="1"/>
          </p:cNvSpPr>
          <p:nvPr/>
        </p:nvSpPr>
        <p:spPr bwMode="auto">
          <a:xfrm>
            <a:off x="4409504" y="2678866"/>
            <a:ext cx="136525" cy="130175"/>
          </a:xfrm>
          <a:prstGeom prst="ellipse">
            <a:avLst/>
          </a:prstGeom>
          <a:solidFill>
            <a:srgbClr val="F67D0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4076" tIns="47037" rIns="94076" bIns="47037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49" name="Oval 25"/>
          <p:cNvSpPr>
            <a:spLocks noChangeArrowheads="1"/>
          </p:cNvSpPr>
          <p:nvPr/>
        </p:nvSpPr>
        <p:spPr bwMode="auto">
          <a:xfrm>
            <a:off x="4501579" y="2542341"/>
            <a:ext cx="134938" cy="131763"/>
          </a:xfrm>
          <a:prstGeom prst="ellipse">
            <a:avLst/>
          </a:prstGeom>
          <a:solidFill>
            <a:srgbClr val="F67D0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4076" tIns="47037" rIns="94076" bIns="47037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50" name="Oval 25"/>
          <p:cNvSpPr>
            <a:spLocks noChangeArrowheads="1"/>
          </p:cNvSpPr>
          <p:nvPr/>
        </p:nvSpPr>
        <p:spPr bwMode="auto">
          <a:xfrm>
            <a:off x="4539679" y="2774116"/>
            <a:ext cx="134938" cy="130175"/>
          </a:xfrm>
          <a:prstGeom prst="ellipse">
            <a:avLst/>
          </a:prstGeom>
          <a:solidFill>
            <a:srgbClr val="F67D0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4076" tIns="47037" rIns="94076" bIns="47037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51" name="Oval 25"/>
          <p:cNvSpPr>
            <a:spLocks noChangeArrowheads="1"/>
          </p:cNvSpPr>
          <p:nvPr/>
        </p:nvSpPr>
        <p:spPr bwMode="auto">
          <a:xfrm>
            <a:off x="4933379" y="2364541"/>
            <a:ext cx="134938" cy="131763"/>
          </a:xfrm>
          <a:prstGeom prst="ellipse">
            <a:avLst/>
          </a:prstGeom>
          <a:solidFill>
            <a:srgbClr val="F67D0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4076" tIns="47037" rIns="94076" bIns="47037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52" name="Oval 25"/>
          <p:cNvSpPr>
            <a:spLocks noChangeArrowheads="1"/>
          </p:cNvSpPr>
          <p:nvPr/>
        </p:nvSpPr>
        <p:spPr bwMode="auto">
          <a:xfrm>
            <a:off x="4890517" y="2659816"/>
            <a:ext cx="134937" cy="130175"/>
          </a:xfrm>
          <a:prstGeom prst="ellipse">
            <a:avLst/>
          </a:prstGeom>
          <a:solidFill>
            <a:srgbClr val="F67D0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4076" tIns="47037" rIns="94076" bIns="47037" anchor="ctr"/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endParaRPr lang="ja-JP" altLang="ja-JP" sz="18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53" name="正方形/長方形 491"/>
          <p:cNvSpPr>
            <a:spLocks noChangeArrowheads="1"/>
          </p:cNvSpPr>
          <p:nvPr/>
        </p:nvSpPr>
        <p:spPr bwMode="auto">
          <a:xfrm>
            <a:off x="4795488" y="5961784"/>
            <a:ext cx="148113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r>
              <a:rPr lang="pt-BR" altLang="ja-JP" sz="900" b="1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E DO BRASIL</a:t>
            </a:r>
            <a:r>
              <a:rPr lang="ja-JP" altLang="en-US" sz="900" b="1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　</a:t>
            </a:r>
            <a:r>
              <a:rPr lang="pt-BR" altLang="ja-JP" sz="900" b="1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LOGISTICA</a:t>
            </a:r>
            <a:endParaRPr lang="ja-JP" altLang="en-US" sz="900" b="1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54" name="図 45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8197" y="6295443"/>
            <a:ext cx="1119159" cy="50585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55" name="テキスト ボックス 45"/>
          <p:cNvSpPr txBox="1"/>
          <p:nvPr/>
        </p:nvSpPr>
        <p:spPr bwMode="auto">
          <a:xfrm>
            <a:off x="950367" y="6028776"/>
            <a:ext cx="1149350" cy="255588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lIns="91385" tIns="45692" rIns="91385" bIns="45692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MSE</a:t>
            </a:r>
            <a:r>
              <a:rPr kumimoji="0" lang="ja-JP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 </a:t>
            </a: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CHINA (GUANGZHOU)</a:t>
            </a:r>
            <a:endParaRPr kumimoji="0" lang="ja-JP" altLang="en-US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56" name="Picture 51"/>
          <p:cNvPicPr>
            <a:picLocks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801"/>
          <a:stretch>
            <a:fillRect/>
          </a:stretch>
        </p:blipFill>
        <p:spPr bwMode="auto">
          <a:xfrm>
            <a:off x="1002520" y="6299447"/>
            <a:ext cx="1119397" cy="5066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7" name="テキスト ボックス 91"/>
          <p:cNvSpPr txBox="1"/>
          <p:nvPr/>
        </p:nvSpPr>
        <p:spPr bwMode="auto">
          <a:xfrm>
            <a:off x="2261642" y="6017664"/>
            <a:ext cx="1119187" cy="277812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lIns="91385" tIns="45692" rIns="91385" bIns="45692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MSE</a:t>
            </a:r>
            <a:r>
              <a:rPr kumimoji="0" lang="ja-JP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 </a:t>
            </a: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CHINA (BEIJING)</a:t>
            </a:r>
            <a:endParaRPr kumimoji="0" lang="ja-JP" altLang="ja-JP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58" name="Picture 120"/>
          <p:cNvPicPr>
            <a:picLocks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4815" y="6303189"/>
            <a:ext cx="1119817" cy="5066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9" name="テキスト ボックス 128"/>
          <p:cNvSpPr txBox="1"/>
          <p:nvPr/>
        </p:nvSpPr>
        <p:spPr bwMode="auto">
          <a:xfrm>
            <a:off x="3520529" y="6025601"/>
            <a:ext cx="1120775" cy="263525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lIns="91385" tIns="45692" rIns="91385" bIns="45692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MSE EXPRESS AMERICA</a:t>
            </a:r>
            <a:endParaRPr kumimoji="0" lang="ja-JP" altLang="en-US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60" name="正方形/長方形 449"/>
          <p:cNvSpPr>
            <a:spLocks noChangeArrowheads="1"/>
          </p:cNvSpPr>
          <p:nvPr/>
        </p:nvSpPr>
        <p:spPr bwMode="auto">
          <a:xfrm>
            <a:off x="6128336" y="5967780"/>
            <a:ext cx="14811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5" tIns="45692" rIns="91385" bIns="45692">
            <a:spAutoFit/>
          </a:bodyPr>
          <a:lstStyle>
            <a:lvl1pPr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>
              <a:spcAft>
                <a:spcPct val="0"/>
              </a:spcAft>
              <a:buClrTx/>
              <a:buFontTx/>
              <a:buNone/>
            </a:pPr>
            <a:r>
              <a:rPr lang="pt-BR" altLang="ja-JP" sz="900" b="1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E EXPRESS MEXICO,S.A.DE C.V.</a:t>
            </a:r>
            <a:endParaRPr lang="ja-JP" altLang="en-US" sz="900" b="1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61" name="Picture 1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7652"/>
          <a:stretch/>
        </p:blipFill>
        <p:spPr bwMode="auto">
          <a:xfrm>
            <a:off x="6172361" y="6309737"/>
            <a:ext cx="1119600" cy="49156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62" name="Picture 28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82" b="11282"/>
          <a:stretch/>
        </p:blipFill>
        <p:spPr bwMode="auto">
          <a:xfrm>
            <a:off x="6177805" y="5402210"/>
            <a:ext cx="1109126" cy="4936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3" name="テキスト ボックス 49"/>
          <p:cNvSpPr txBox="1"/>
          <p:nvPr/>
        </p:nvSpPr>
        <p:spPr bwMode="auto">
          <a:xfrm>
            <a:off x="6063679" y="5094630"/>
            <a:ext cx="1268413" cy="246062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lIns="91385" tIns="45692" rIns="91385" bIns="45692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PUNINAR  MSE INDONESIA</a:t>
            </a:r>
            <a:endParaRPr kumimoji="0" lang="ja-JP" altLang="en-US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64" name="Picture 50"/>
          <p:cNvPicPr>
            <a:picLocks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6912" y="6305230"/>
            <a:ext cx="1119894" cy="4939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5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66" name="タイトル 34"/>
          <p:cNvSpPr>
            <a:spLocks noGrp="1"/>
          </p:cNvSpPr>
          <p:nvPr>
            <p:ph type="title"/>
          </p:nvPr>
        </p:nvSpPr>
        <p:spPr>
          <a:xfrm>
            <a:off x="603709" y="106465"/>
            <a:ext cx="9810194" cy="813805"/>
          </a:xfrm>
        </p:spPr>
        <p:txBody>
          <a:bodyPr/>
          <a:lstStyle/>
          <a:p>
            <a:r>
              <a:rPr lang="en-US" altLang="ja-JP" sz="1731" dirty="0">
                <a:solidFill>
                  <a:srgbClr val="002060"/>
                </a:solidFill>
              </a:rPr>
              <a:t>Ⅱ. Introduction of MITSUI-SOKO EXPRESS</a:t>
            </a:r>
            <a:br>
              <a:rPr lang="ja-JP" altLang="en-US" dirty="0">
                <a:solidFill>
                  <a:srgbClr val="002060"/>
                </a:solidFill>
              </a:rPr>
            </a:br>
            <a:r>
              <a:rPr lang="ja-JP" altLang="en-US" sz="2400" dirty="0">
                <a:solidFill>
                  <a:srgbClr val="002060"/>
                </a:solidFill>
              </a:rPr>
              <a:t>  </a:t>
            </a:r>
            <a:r>
              <a:rPr lang="en-US" altLang="ja-JP" sz="2400" dirty="0">
                <a:solidFill>
                  <a:srgbClr val="002060"/>
                </a:solidFill>
              </a:rPr>
              <a:t>3. Network: Overseas</a:t>
            </a:r>
            <a:endParaRPr kumimoji="1" lang="ja-JP" alt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5121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テキスト ボックス 9"/>
          <p:cNvSpPr txBox="1"/>
          <p:nvPr/>
        </p:nvSpPr>
        <p:spPr>
          <a:xfrm>
            <a:off x="583200" y="3379733"/>
            <a:ext cx="9820800" cy="661481"/>
          </a:xfrm>
          <a:prstGeom prst="rect">
            <a:avLst/>
          </a:prstGeom>
          <a:solidFill>
            <a:srgbClr val="5EA8DD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altLang="ja-JP" sz="24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Ⅲ</a:t>
            </a:r>
            <a:r>
              <a:rPr kumimoji="1" lang="en-US" altLang="ja-JP" sz="24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. OUR SERVICE</a:t>
            </a:r>
          </a:p>
        </p:txBody>
      </p:sp>
      <p:sp>
        <p:nvSpPr>
          <p:cNvPr id="3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405815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6" name="タイトル 34"/>
          <p:cNvSpPr txBox="1">
            <a:spLocks/>
          </p:cNvSpPr>
          <p:nvPr/>
        </p:nvSpPr>
        <p:spPr bwMode="auto">
          <a:xfrm>
            <a:off x="603709" y="106465"/>
            <a:ext cx="7118808" cy="81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0" rIns="0" bIns="0" numCol="1" anchor="b" anchorCtr="0" compatLnSpc="1">
            <a:prstTxWarp prst="textNoShape">
              <a:avLst/>
            </a:prstTxWarp>
          </a:bodyPr>
          <a:lstStyle>
            <a:lvl1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501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43973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87947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131920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175894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pPr marL="0" marR="0" lvl="0" indent="0" algn="l" defTabSz="87336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731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Ⅲ. Our service</a:t>
            </a:r>
            <a:br>
              <a:rPr kumimoji="1" lang="ja-JP" altLang="en-US" sz="2501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</a:br>
            <a:r>
              <a:rPr kumimoji="1" lang="ja-JP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  </a:t>
            </a:r>
            <a:r>
              <a:rPr kumimoji="1" lang="en-US" altLang="ja-JP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1. Global logistics service for auto parts</a:t>
            </a:r>
            <a:endParaRPr kumimoji="1" lang="ja-JP" altLang="en-US" sz="2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j-cs"/>
            </a:endParaRPr>
          </a:p>
        </p:txBody>
      </p:sp>
      <p:cxnSp>
        <p:nvCxnSpPr>
          <p:cNvPr id="131" name="カギ線コネクタ 130"/>
          <p:cNvCxnSpPr>
            <a:stCxn id="146" idx="2"/>
            <a:endCxn id="179" idx="0"/>
          </p:cNvCxnSpPr>
          <p:nvPr/>
        </p:nvCxnSpPr>
        <p:spPr bwMode="auto">
          <a:xfrm rot="16200000" flipH="1">
            <a:off x="7500102" y="1662707"/>
            <a:ext cx="917679" cy="2878937"/>
          </a:xfrm>
          <a:prstGeom prst="bentConnector3">
            <a:avLst>
              <a:gd name="adj1" fmla="val 19111"/>
            </a:avLst>
          </a:prstGeom>
          <a:solidFill>
            <a:srgbClr val="0000FF"/>
          </a:solidFill>
          <a:ln w="28575" cap="flat" cmpd="sng" algn="ctr">
            <a:solidFill>
              <a:srgbClr val="F79646">
                <a:lumMod val="75000"/>
              </a:srgbClr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2" name="テキスト ボックス 116"/>
          <p:cNvSpPr txBox="1">
            <a:spLocks noChangeArrowheads="1"/>
          </p:cNvSpPr>
          <p:nvPr/>
        </p:nvSpPr>
        <p:spPr bwMode="auto">
          <a:xfrm>
            <a:off x="603709" y="1031188"/>
            <a:ext cx="9740490" cy="730800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</p:spPr>
        <p:txBody>
          <a:bodyPr wrap="square" lIns="104296" tIns="52148" rIns="104296" bIns="52148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Full supports for auto parts pick-up / delivery supply</a:t>
            </a:r>
            <a:r>
              <a:rPr kumimoji="0" lang="en-US" altLang="ja-JP" sz="16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chain in world-</a:t>
            </a:r>
            <a:r>
              <a:rPr kumimoji="0" lang="en-US" altLang="ja-JP" sz="1600" kern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wide</a:t>
            </a:r>
            <a:endParaRPr kumimoji="0" lang="ja-JP" alt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graphicFrame>
        <p:nvGraphicFramePr>
          <p:cNvPr id="134" name="表 1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5492782"/>
              </p:ext>
            </p:extLst>
          </p:nvPr>
        </p:nvGraphicFramePr>
        <p:xfrm>
          <a:off x="5715747" y="4585699"/>
          <a:ext cx="4572500" cy="2416310"/>
        </p:xfrm>
        <a:graphic>
          <a:graphicData uri="http://schemas.openxmlformats.org/drawingml/2006/table">
            <a:tbl>
              <a:tblPr firstRow="1" bandRow="1"/>
              <a:tblGrid>
                <a:gridCol w="5210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56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78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78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5303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1000" dirty="0">
                        <a:solidFill>
                          <a:srgbClr val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000" dirty="0">
                          <a:solidFill>
                            <a:srgbClr val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000" dirty="0">
                          <a:solidFill>
                            <a:srgbClr val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Competitor</a:t>
                      </a: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dirty="0">
                          <a:solidFill>
                            <a:srgbClr val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ＭＳＥ</a:t>
                      </a:r>
                      <a:endParaRPr lang="en-US" altLang="ja-JP" sz="1000" dirty="0">
                        <a:solidFill>
                          <a:srgbClr val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EA8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dirty="0">
                          <a:solidFill>
                            <a:srgbClr val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Ａ</a:t>
                      </a:r>
                      <a:endParaRPr lang="en-US" altLang="ja-JP" sz="1000" dirty="0">
                        <a:solidFill>
                          <a:srgbClr val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000" dirty="0">
                          <a:solidFill>
                            <a:srgbClr val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Traceability</a:t>
                      </a: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000" dirty="0">
                          <a:solidFill>
                            <a:srgbClr val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per</a:t>
                      </a:r>
                      <a:r>
                        <a:rPr lang="en-US" altLang="ja-JP" sz="1000" baseline="0" dirty="0">
                          <a:solidFill>
                            <a:srgbClr val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 BL</a:t>
                      </a:r>
                      <a:endParaRPr lang="en-US" altLang="ja-JP" sz="1000" dirty="0">
                        <a:solidFill>
                          <a:srgbClr val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900" dirty="0">
                          <a:solidFill>
                            <a:srgbClr val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per unit customer needed</a:t>
                      </a: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5746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ja-JP" altLang="en-US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Ｂ</a:t>
                      </a:r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-ⅰ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Warning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Customer</a:t>
                      </a:r>
                      <a:r>
                        <a:rPr kumimoji="1" lang="en-US" altLang="ja-JP" sz="1000" baseline="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 responsibility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000" dirty="0">
                          <a:solidFill>
                            <a:srgbClr val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Warn</a:t>
                      </a:r>
                      <a:r>
                        <a:rPr lang="en-US" altLang="ja-JP" sz="1000" baseline="0" dirty="0">
                          <a:solidFill>
                            <a:srgbClr val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 on be half of customer</a:t>
                      </a:r>
                      <a:endParaRPr lang="ja-JP" altLang="en-US" sz="1000" dirty="0">
                        <a:solidFill>
                          <a:srgbClr val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5746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ja-JP" altLang="en-US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Ｂ</a:t>
                      </a:r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-ⅱ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I/V</a:t>
                      </a:r>
                      <a:r>
                        <a:rPr kumimoji="1" lang="en-US" altLang="ja-JP" sz="1000" baseline="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 Creation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Customer</a:t>
                      </a:r>
                      <a:r>
                        <a:rPr kumimoji="1" lang="en-US" altLang="ja-JP" sz="1000" baseline="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 responsibility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000" dirty="0">
                          <a:solidFill>
                            <a:srgbClr val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Create with price validation</a:t>
                      </a:r>
                      <a:endParaRPr lang="ja-JP" altLang="en-US" sz="1000" dirty="0">
                        <a:solidFill>
                          <a:srgbClr val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5746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ja-JP" altLang="en-US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Ｃ</a:t>
                      </a:r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-ⅰ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Cargo check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Contents unknown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Guarantee quantity in inner package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8009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ja-JP" altLang="en-US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Ｃ</a:t>
                      </a:r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-ⅱ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Packing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for mass production parts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for individual parts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5" name="ホームベース 134"/>
          <p:cNvSpPr>
            <a:spLocks/>
          </p:cNvSpPr>
          <p:nvPr/>
        </p:nvSpPr>
        <p:spPr bwMode="auto">
          <a:xfrm>
            <a:off x="1424468" y="1934751"/>
            <a:ext cx="5108494" cy="301320"/>
          </a:xfrm>
          <a:prstGeom prst="homePlate">
            <a:avLst/>
          </a:prstGeom>
          <a:solidFill>
            <a:sysClr val="window" lastClr="FFFFFF">
              <a:lumMod val="65000"/>
            </a:sys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Development</a:t>
            </a:r>
          </a:p>
        </p:txBody>
      </p:sp>
      <p:sp>
        <p:nvSpPr>
          <p:cNvPr id="136" name="山形 135"/>
          <p:cNvSpPr>
            <a:spLocks/>
          </p:cNvSpPr>
          <p:nvPr/>
        </p:nvSpPr>
        <p:spPr bwMode="auto">
          <a:xfrm>
            <a:off x="6418898" y="1934751"/>
            <a:ext cx="2206334" cy="301320"/>
          </a:xfrm>
          <a:prstGeom prst="chevron">
            <a:avLst/>
          </a:prstGeom>
          <a:solidFill>
            <a:sysClr val="window" lastClr="FFFFFF">
              <a:lumMod val="65000"/>
            </a:sys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Ready to mass production</a:t>
            </a:r>
            <a:endParaRPr kumimoji="0" lang="ja-JP" altLang="en-US" sz="9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37" name="山形 136"/>
          <p:cNvSpPr>
            <a:spLocks/>
          </p:cNvSpPr>
          <p:nvPr/>
        </p:nvSpPr>
        <p:spPr bwMode="auto">
          <a:xfrm>
            <a:off x="8527736" y="1934751"/>
            <a:ext cx="951502" cy="301320"/>
          </a:xfrm>
          <a:prstGeom prst="chevron">
            <a:avLst/>
          </a:prstGeom>
          <a:solidFill>
            <a:sysClr val="window" lastClr="FFFFFF">
              <a:lumMod val="65000"/>
            </a:sys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endParaRPr kumimoji="0" lang="ja-JP" altLang="en-US" sz="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38" name="山形 137"/>
          <p:cNvSpPr>
            <a:spLocks/>
          </p:cNvSpPr>
          <p:nvPr/>
        </p:nvSpPr>
        <p:spPr bwMode="auto">
          <a:xfrm>
            <a:off x="9382831" y="1934751"/>
            <a:ext cx="951502" cy="301320"/>
          </a:xfrm>
          <a:prstGeom prst="chevron">
            <a:avLst/>
          </a:prstGeom>
          <a:solidFill>
            <a:sysClr val="window" lastClr="FFFFFF">
              <a:lumMod val="65000"/>
            </a:sys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Sales</a:t>
            </a:r>
            <a:endParaRPr kumimoji="0" lang="ja-JP" altLang="en-US" sz="9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39" name="ホームベース 138"/>
          <p:cNvSpPr>
            <a:spLocks/>
          </p:cNvSpPr>
          <p:nvPr/>
        </p:nvSpPr>
        <p:spPr bwMode="auto">
          <a:xfrm>
            <a:off x="1424468" y="2271619"/>
            <a:ext cx="962597" cy="324000"/>
          </a:xfrm>
          <a:prstGeom prst="homePlate">
            <a:avLst>
              <a:gd name="adj" fmla="val 0"/>
            </a:avLst>
          </a:prstGeom>
          <a:solidFill>
            <a:sysClr val="window" lastClr="FFFFFF">
              <a:lumMod val="65000"/>
            </a:sys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Product</a:t>
            </a:r>
          </a:p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planning</a:t>
            </a:r>
          </a:p>
        </p:txBody>
      </p:sp>
      <p:sp>
        <p:nvSpPr>
          <p:cNvPr id="140" name="ホームベース 139"/>
          <p:cNvSpPr>
            <a:spLocks/>
          </p:cNvSpPr>
          <p:nvPr/>
        </p:nvSpPr>
        <p:spPr bwMode="auto">
          <a:xfrm>
            <a:off x="2455470" y="2271619"/>
            <a:ext cx="962597" cy="324000"/>
          </a:xfrm>
          <a:prstGeom prst="homePlate">
            <a:avLst>
              <a:gd name="adj" fmla="val 0"/>
            </a:avLst>
          </a:prstGeom>
          <a:solidFill>
            <a:sysClr val="window" lastClr="FFFFFF">
              <a:lumMod val="65000"/>
            </a:sys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Supplier</a:t>
            </a:r>
          </a:p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selection</a:t>
            </a:r>
          </a:p>
        </p:txBody>
      </p:sp>
      <p:sp>
        <p:nvSpPr>
          <p:cNvPr id="141" name="ホームベース 140"/>
          <p:cNvSpPr>
            <a:spLocks/>
          </p:cNvSpPr>
          <p:nvPr/>
        </p:nvSpPr>
        <p:spPr bwMode="auto">
          <a:xfrm>
            <a:off x="3486472" y="2271619"/>
            <a:ext cx="962597" cy="324000"/>
          </a:xfrm>
          <a:prstGeom prst="homePlate">
            <a:avLst>
              <a:gd name="adj" fmla="val 0"/>
            </a:avLst>
          </a:prstGeom>
          <a:solidFill>
            <a:sysClr val="window" lastClr="FFFFFF">
              <a:lumMod val="65000"/>
            </a:sys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Manufacture</a:t>
            </a:r>
          </a:p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selection</a:t>
            </a:r>
          </a:p>
        </p:txBody>
      </p:sp>
      <p:sp>
        <p:nvSpPr>
          <p:cNvPr id="142" name="ホームベース 141"/>
          <p:cNvSpPr>
            <a:spLocks/>
          </p:cNvSpPr>
          <p:nvPr/>
        </p:nvSpPr>
        <p:spPr bwMode="auto">
          <a:xfrm>
            <a:off x="4472484" y="2271619"/>
            <a:ext cx="962597" cy="324000"/>
          </a:xfrm>
          <a:prstGeom prst="homePlate">
            <a:avLst>
              <a:gd name="adj" fmla="val 0"/>
            </a:avLst>
          </a:prstGeom>
          <a:solidFill>
            <a:sysClr val="window" lastClr="FFFFFF">
              <a:lumMod val="65000"/>
            </a:sys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Auto parts</a:t>
            </a:r>
          </a:p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evaluation</a:t>
            </a:r>
          </a:p>
        </p:txBody>
      </p:sp>
      <p:sp>
        <p:nvSpPr>
          <p:cNvPr id="143" name="ホームベース 142"/>
          <p:cNvSpPr>
            <a:spLocks/>
          </p:cNvSpPr>
          <p:nvPr/>
        </p:nvSpPr>
        <p:spPr bwMode="auto">
          <a:xfrm>
            <a:off x="5503486" y="2271619"/>
            <a:ext cx="962597" cy="324000"/>
          </a:xfrm>
          <a:prstGeom prst="homePlate">
            <a:avLst>
              <a:gd name="adj" fmla="val 0"/>
            </a:avLst>
          </a:prstGeom>
          <a:solidFill>
            <a:sysClr val="window" lastClr="FFFFFF">
              <a:lumMod val="65000"/>
            </a:sys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Vehicle</a:t>
            </a:r>
          </a:p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evaluation</a:t>
            </a:r>
          </a:p>
        </p:txBody>
      </p:sp>
      <p:sp>
        <p:nvSpPr>
          <p:cNvPr id="144" name="ホームベース 143"/>
          <p:cNvSpPr>
            <a:spLocks/>
          </p:cNvSpPr>
          <p:nvPr/>
        </p:nvSpPr>
        <p:spPr bwMode="auto">
          <a:xfrm>
            <a:off x="7565491" y="2271619"/>
            <a:ext cx="962597" cy="324000"/>
          </a:xfrm>
          <a:prstGeom prst="homePlate">
            <a:avLst>
              <a:gd name="adj" fmla="val 0"/>
            </a:avLst>
          </a:prstGeom>
          <a:solidFill>
            <a:sysClr val="window" lastClr="FFFFFF">
              <a:lumMod val="65000"/>
            </a:sys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Ready  to production</a:t>
            </a:r>
          </a:p>
        </p:txBody>
      </p:sp>
      <p:sp>
        <p:nvSpPr>
          <p:cNvPr id="145" name="ホームベース 144"/>
          <p:cNvSpPr>
            <a:spLocks/>
          </p:cNvSpPr>
          <p:nvPr/>
        </p:nvSpPr>
        <p:spPr bwMode="auto">
          <a:xfrm>
            <a:off x="6534488" y="2271619"/>
            <a:ext cx="962597" cy="324000"/>
          </a:xfrm>
          <a:prstGeom prst="homePlate">
            <a:avLst>
              <a:gd name="adj" fmla="val 0"/>
            </a:avLst>
          </a:prstGeom>
          <a:solidFill>
            <a:sysClr val="window" lastClr="FFFFFF">
              <a:lumMod val="65000"/>
            </a:sys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Factory line</a:t>
            </a:r>
          </a:p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evaluation</a:t>
            </a:r>
          </a:p>
        </p:txBody>
      </p:sp>
      <p:sp>
        <p:nvSpPr>
          <p:cNvPr id="146" name="正方形/長方形 54"/>
          <p:cNvSpPr>
            <a:spLocks noChangeArrowheads="1"/>
          </p:cNvSpPr>
          <p:nvPr/>
        </p:nvSpPr>
        <p:spPr bwMode="auto">
          <a:xfrm>
            <a:off x="4433863" y="2226241"/>
            <a:ext cx="4171219" cy="417096"/>
          </a:xfrm>
          <a:prstGeom prst="rect">
            <a:avLst/>
          </a:prstGeom>
          <a:noFill/>
          <a:ln w="25400">
            <a:solidFill>
              <a:srgbClr val="F79646">
                <a:lumMod val="75000"/>
              </a:srgbClr>
            </a:solidFill>
            <a:miter lim="800000"/>
            <a:headEnd/>
            <a:tailEnd/>
          </a:ln>
        </p:spPr>
        <p:txBody>
          <a:bodyPr wrap="none" lIns="79200" tIns="39600" rIns="79200" bIns="39600" anchor="ctr"/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endParaRPr kumimoji="0" lang="ja-JP" altLang="en-US" sz="1050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47" name="ホームベース 146"/>
          <p:cNvSpPr/>
          <p:nvPr/>
        </p:nvSpPr>
        <p:spPr>
          <a:xfrm>
            <a:off x="1423769" y="4235148"/>
            <a:ext cx="2196000" cy="288000"/>
          </a:xfrm>
          <a:prstGeom prst="homePlat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Production/Ship</a:t>
            </a:r>
            <a:endParaRPr kumimoji="0" lang="ja-JP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48" name="山形 147"/>
          <p:cNvSpPr/>
          <p:nvPr/>
        </p:nvSpPr>
        <p:spPr>
          <a:xfrm>
            <a:off x="3589423" y="4235148"/>
            <a:ext cx="1736365" cy="288000"/>
          </a:xfrm>
          <a:prstGeom prst="chevron">
            <a:avLst/>
          </a:prstGeom>
          <a:solidFill>
            <a:srgbClr val="4BACC6">
              <a:lumMod val="20000"/>
              <a:lumOff val="80000"/>
            </a:srgbClr>
          </a:solidFill>
          <a:ln w="28575" cap="flat" cmpd="sng" algn="ctr">
            <a:solidFill>
              <a:srgbClr val="5EA8DD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Check/Pack/Ship</a:t>
            </a:r>
            <a:endParaRPr kumimoji="0" lang="ja-JP" alt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49" name="山形 148"/>
          <p:cNvSpPr/>
          <p:nvPr/>
        </p:nvSpPr>
        <p:spPr>
          <a:xfrm>
            <a:off x="5248768" y="4243727"/>
            <a:ext cx="1736365" cy="288000"/>
          </a:xfrm>
          <a:prstGeom prst="chevron">
            <a:avLst/>
          </a:prstGeom>
          <a:solidFill>
            <a:srgbClr val="4BACC6">
              <a:lumMod val="20000"/>
              <a:lumOff val="80000"/>
            </a:srgbClr>
          </a:solidFill>
          <a:ln w="28575" cap="flat" cmpd="sng" algn="ctr">
            <a:solidFill>
              <a:srgbClr val="5EA8DD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Check/Ship </a:t>
            </a:r>
            <a:endParaRPr kumimoji="0" lang="ja-JP" alt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50" name="山形 149"/>
          <p:cNvSpPr/>
          <p:nvPr/>
        </p:nvSpPr>
        <p:spPr>
          <a:xfrm>
            <a:off x="6913953" y="4243727"/>
            <a:ext cx="1736365" cy="288000"/>
          </a:xfrm>
          <a:prstGeom prst="chevron">
            <a:avLst/>
          </a:prstGeom>
          <a:solidFill>
            <a:srgbClr val="4BACC6">
              <a:lumMod val="20000"/>
              <a:lumOff val="80000"/>
            </a:srgbClr>
          </a:solidFill>
          <a:ln w="28575" cap="flat" cmpd="sng" algn="ctr">
            <a:solidFill>
              <a:srgbClr val="5EA8DD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Check/Assort/Ship</a:t>
            </a:r>
            <a:endParaRPr kumimoji="0" lang="ja-JP" alt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51" name="山形 150"/>
          <p:cNvSpPr/>
          <p:nvPr/>
        </p:nvSpPr>
        <p:spPr>
          <a:xfrm>
            <a:off x="8579138" y="4241098"/>
            <a:ext cx="1735200" cy="288000"/>
          </a:xfrm>
          <a:prstGeom prst="chevron">
            <a:avLst/>
          </a:prstGeom>
          <a:noFill/>
          <a:ln w="19050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Receive</a:t>
            </a:r>
            <a:endParaRPr kumimoji="0" lang="ja-JP" alt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52" name="正方形/長方形 151"/>
          <p:cNvSpPr/>
          <p:nvPr/>
        </p:nvSpPr>
        <p:spPr>
          <a:xfrm>
            <a:off x="3582230" y="2907558"/>
            <a:ext cx="4967414" cy="1280694"/>
          </a:xfrm>
          <a:prstGeom prst="rect">
            <a:avLst/>
          </a:prstGeom>
          <a:solidFill>
            <a:srgbClr val="4BACC6">
              <a:lumMod val="20000"/>
              <a:lumOff val="80000"/>
              <a:alpha val="50000"/>
            </a:srgbClr>
          </a:solidFill>
          <a:ln w="28575" cap="flat" cmpd="sng" algn="ctr">
            <a:solidFill>
              <a:srgbClr val="5EA8DD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endParaRPr kumimoji="0" lang="ja-JP" altLang="en-US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53" name="正方形/長方形 152"/>
          <p:cNvSpPr/>
          <p:nvPr/>
        </p:nvSpPr>
        <p:spPr>
          <a:xfrm>
            <a:off x="5460179" y="2970460"/>
            <a:ext cx="1164861" cy="45527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JAP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kern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(Airport)</a:t>
            </a:r>
            <a:endParaRPr kumimoji="0" lang="en-US" altLang="ja-JP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54" name="正方形/長方形 153"/>
          <p:cNvSpPr/>
          <p:nvPr/>
        </p:nvSpPr>
        <p:spPr>
          <a:xfrm>
            <a:off x="3783016" y="2970460"/>
            <a:ext cx="1164861" cy="45527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Country 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MSE warehouse</a:t>
            </a:r>
          </a:p>
        </p:txBody>
      </p:sp>
      <p:sp>
        <p:nvSpPr>
          <p:cNvPr id="155" name="正方形/長方形 154"/>
          <p:cNvSpPr/>
          <p:nvPr/>
        </p:nvSpPr>
        <p:spPr>
          <a:xfrm>
            <a:off x="2287448" y="2938993"/>
            <a:ext cx="1169289" cy="17352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Supplier</a:t>
            </a:r>
            <a:r>
              <a:rPr kumimoji="0" lang="ja-JP" altLang="en-US" sz="1050" kern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</a:t>
            </a: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a</a:t>
            </a:r>
            <a:endParaRPr kumimoji="0" lang="ja-JP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56" name="正方形/長方形 155"/>
          <p:cNvSpPr/>
          <p:nvPr/>
        </p:nvSpPr>
        <p:spPr>
          <a:xfrm>
            <a:off x="2287448" y="3130248"/>
            <a:ext cx="1169289" cy="17352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Supplier</a:t>
            </a:r>
            <a:r>
              <a:rPr kumimoji="0" lang="en-US" altLang="ja-JP" sz="105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</a:t>
            </a: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b</a:t>
            </a:r>
            <a:endParaRPr kumimoji="0" lang="ja-JP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57" name="正方形/長方形 156"/>
          <p:cNvSpPr/>
          <p:nvPr/>
        </p:nvSpPr>
        <p:spPr>
          <a:xfrm>
            <a:off x="2287448" y="3321501"/>
            <a:ext cx="1169289" cy="17166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Supplier c</a:t>
            </a:r>
            <a:endParaRPr kumimoji="0" lang="ja-JP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158" name="直線コネクタ 157"/>
          <p:cNvCxnSpPr>
            <a:stCxn id="153" idx="1"/>
            <a:endCxn id="154" idx="3"/>
          </p:cNvCxnSpPr>
          <p:nvPr/>
        </p:nvCxnSpPr>
        <p:spPr>
          <a:xfrm flipH="1">
            <a:off x="4947877" y="3198099"/>
            <a:ext cx="512302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59" name="直線コネクタ 158"/>
          <p:cNvCxnSpPr>
            <a:stCxn id="154" idx="1"/>
            <a:endCxn id="155" idx="3"/>
          </p:cNvCxnSpPr>
          <p:nvPr/>
        </p:nvCxnSpPr>
        <p:spPr>
          <a:xfrm flipH="1" flipV="1">
            <a:off x="3456737" y="3025757"/>
            <a:ext cx="326279" cy="172342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0" name="直線コネクタ 159"/>
          <p:cNvCxnSpPr>
            <a:stCxn id="154" idx="1"/>
            <a:endCxn id="156" idx="3"/>
          </p:cNvCxnSpPr>
          <p:nvPr/>
        </p:nvCxnSpPr>
        <p:spPr>
          <a:xfrm flipH="1">
            <a:off x="3456737" y="3198099"/>
            <a:ext cx="326279" cy="18913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1" name="直線コネクタ 160"/>
          <p:cNvCxnSpPr>
            <a:stCxn id="154" idx="1"/>
            <a:endCxn id="157" idx="3"/>
          </p:cNvCxnSpPr>
          <p:nvPr/>
        </p:nvCxnSpPr>
        <p:spPr>
          <a:xfrm flipH="1">
            <a:off x="3456737" y="3198099"/>
            <a:ext cx="326279" cy="209233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2" name="直線コネクタ 161"/>
          <p:cNvCxnSpPr>
            <a:stCxn id="153" idx="1"/>
            <a:endCxn id="170" idx="3"/>
          </p:cNvCxnSpPr>
          <p:nvPr/>
        </p:nvCxnSpPr>
        <p:spPr>
          <a:xfrm flipH="1">
            <a:off x="4947877" y="3198099"/>
            <a:ext cx="512302" cy="591385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163" name="正方形/長方形 162"/>
          <p:cNvSpPr/>
          <p:nvPr/>
        </p:nvSpPr>
        <p:spPr>
          <a:xfrm>
            <a:off x="1413434" y="2938993"/>
            <a:ext cx="844487" cy="554169"/>
          </a:xfrm>
          <a:prstGeom prst="rect">
            <a:avLst/>
          </a:prstGeom>
          <a:noFill/>
          <a:ln w="6350" cap="flat" cmpd="sng" algn="ctr">
            <a:solidFill>
              <a:sysClr val="windowText" lastClr="000000"/>
            </a:solidFill>
            <a:prstDash val="sys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Export sid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Country </a:t>
            </a:r>
            <a:r>
              <a:rPr kumimoji="0" lang="ja-JP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Ａ</a:t>
            </a:r>
          </a:p>
        </p:txBody>
      </p:sp>
      <p:cxnSp>
        <p:nvCxnSpPr>
          <p:cNvPr id="164" name="直線コネクタ 163"/>
          <p:cNvCxnSpPr>
            <a:stCxn id="174" idx="1"/>
            <a:endCxn id="153" idx="3"/>
          </p:cNvCxnSpPr>
          <p:nvPr/>
        </p:nvCxnSpPr>
        <p:spPr>
          <a:xfrm flipH="1">
            <a:off x="6625040" y="3198099"/>
            <a:ext cx="496061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5" name="直線コネクタ 164"/>
          <p:cNvCxnSpPr>
            <a:stCxn id="175" idx="1"/>
            <a:endCxn id="174" idx="3"/>
          </p:cNvCxnSpPr>
          <p:nvPr/>
        </p:nvCxnSpPr>
        <p:spPr>
          <a:xfrm flipH="1">
            <a:off x="8287438" y="3198099"/>
            <a:ext cx="528542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166" name="正方形/長方形 165"/>
          <p:cNvSpPr/>
          <p:nvPr/>
        </p:nvSpPr>
        <p:spPr>
          <a:xfrm>
            <a:off x="2287448" y="3537944"/>
            <a:ext cx="1169289" cy="17352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Supplier a</a:t>
            </a:r>
            <a:endParaRPr kumimoji="0" lang="ja-JP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67" name="正方形/長方形 166"/>
          <p:cNvSpPr/>
          <p:nvPr/>
        </p:nvSpPr>
        <p:spPr>
          <a:xfrm>
            <a:off x="2287448" y="3729198"/>
            <a:ext cx="1169289" cy="17352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Supplier</a:t>
            </a:r>
            <a:r>
              <a:rPr kumimoji="0" lang="en-US" altLang="ja-JP" sz="105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</a:t>
            </a: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b</a:t>
            </a:r>
            <a:endParaRPr kumimoji="0" lang="ja-JP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68" name="正方形/長方形 167"/>
          <p:cNvSpPr/>
          <p:nvPr/>
        </p:nvSpPr>
        <p:spPr>
          <a:xfrm>
            <a:off x="2287448" y="3920451"/>
            <a:ext cx="1169289" cy="17166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Supplier c</a:t>
            </a:r>
            <a:endParaRPr kumimoji="0" lang="ja-JP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69" name="正方形/長方形 168"/>
          <p:cNvSpPr/>
          <p:nvPr/>
        </p:nvSpPr>
        <p:spPr>
          <a:xfrm>
            <a:off x="1413434" y="3537944"/>
            <a:ext cx="844487" cy="554169"/>
          </a:xfrm>
          <a:prstGeom prst="rect">
            <a:avLst/>
          </a:prstGeom>
          <a:noFill/>
          <a:ln w="6350" cap="flat" cmpd="sng" algn="ctr">
            <a:solidFill>
              <a:sysClr val="windowText" lastClr="000000"/>
            </a:solidFill>
            <a:prstDash val="sys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Export sid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Country </a:t>
            </a:r>
            <a:r>
              <a:rPr kumimoji="0" lang="ja-JP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Ｂ</a:t>
            </a:r>
          </a:p>
        </p:txBody>
      </p:sp>
      <p:sp>
        <p:nvSpPr>
          <p:cNvPr id="170" name="正方形/長方形 169"/>
          <p:cNvSpPr/>
          <p:nvPr/>
        </p:nvSpPr>
        <p:spPr>
          <a:xfrm>
            <a:off x="3783016" y="3556350"/>
            <a:ext cx="1164861" cy="46626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Country B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MSE warehouse</a:t>
            </a:r>
          </a:p>
        </p:txBody>
      </p:sp>
      <p:cxnSp>
        <p:nvCxnSpPr>
          <p:cNvPr id="171" name="直線コネクタ 170"/>
          <p:cNvCxnSpPr>
            <a:stCxn id="170" idx="1"/>
            <a:endCxn id="166" idx="3"/>
          </p:cNvCxnSpPr>
          <p:nvPr/>
        </p:nvCxnSpPr>
        <p:spPr>
          <a:xfrm flipH="1" flipV="1">
            <a:off x="3456737" y="3624708"/>
            <a:ext cx="326279" cy="164776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72" name="直線コネクタ 171"/>
          <p:cNvCxnSpPr>
            <a:stCxn id="170" idx="1"/>
            <a:endCxn id="167" idx="3"/>
          </p:cNvCxnSpPr>
          <p:nvPr/>
        </p:nvCxnSpPr>
        <p:spPr>
          <a:xfrm flipH="1">
            <a:off x="3456737" y="3789484"/>
            <a:ext cx="326279" cy="26478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73" name="直線コネクタ 172"/>
          <p:cNvCxnSpPr>
            <a:stCxn id="170" idx="1"/>
            <a:endCxn id="168" idx="3"/>
          </p:cNvCxnSpPr>
          <p:nvPr/>
        </p:nvCxnSpPr>
        <p:spPr>
          <a:xfrm flipH="1">
            <a:off x="3456737" y="3789484"/>
            <a:ext cx="326279" cy="216798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174" name="正方形/長方形 173"/>
          <p:cNvSpPr/>
          <p:nvPr/>
        </p:nvSpPr>
        <p:spPr>
          <a:xfrm>
            <a:off x="7121101" y="2970460"/>
            <a:ext cx="1166337" cy="45527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JAP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MSE warehouse</a:t>
            </a:r>
          </a:p>
        </p:txBody>
      </p:sp>
      <p:sp>
        <p:nvSpPr>
          <p:cNvPr id="175" name="正方形/長方形 174"/>
          <p:cNvSpPr/>
          <p:nvPr/>
        </p:nvSpPr>
        <p:spPr>
          <a:xfrm>
            <a:off x="8815980" y="2970460"/>
            <a:ext cx="1164860" cy="455278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JAP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kern="0" noProof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(</a:t>
            </a: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Assemble Man.</a:t>
            </a:r>
            <a:r>
              <a:rPr kumimoji="0" lang="en-US" altLang="ja-JP" sz="900" kern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)</a:t>
            </a:r>
            <a:endParaRPr kumimoji="0" lang="en-US" altLang="ja-JP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76" name="正方形/長方形 175"/>
          <p:cNvSpPr/>
          <p:nvPr/>
        </p:nvSpPr>
        <p:spPr>
          <a:xfrm>
            <a:off x="5458703" y="3555418"/>
            <a:ext cx="1166337" cy="46705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Country X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kern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(Airport)</a:t>
            </a:r>
            <a:endParaRPr kumimoji="0" lang="en-US" altLang="ja-JP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177" name="直線コネクタ 176"/>
          <p:cNvCxnSpPr>
            <a:stCxn id="176" idx="1"/>
            <a:endCxn id="170" idx="3"/>
          </p:cNvCxnSpPr>
          <p:nvPr/>
        </p:nvCxnSpPr>
        <p:spPr>
          <a:xfrm flipH="1">
            <a:off x="4947877" y="3788944"/>
            <a:ext cx="510826" cy="54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178" name="正方形/長方形 177"/>
          <p:cNvSpPr/>
          <p:nvPr/>
        </p:nvSpPr>
        <p:spPr>
          <a:xfrm>
            <a:off x="7121101" y="3555418"/>
            <a:ext cx="1166337" cy="46705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Country X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MSE warehouse</a:t>
            </a:r>
          </a:p>
        </p:txBody>
      </p:sp>
      <p:sp>
        <p:nvSpPr>
          <p:cNvPr id="179" name="正方形/長方形 178"/>
          <p:cNvSpPr/>
          <p:nvPr/>
        </p:nvSpPr>
        <p:spPr>
          <a:xfrm>
            <a:off x="8815980" y="3561016"/>
            <a:ext cx="1164860" cy="462343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Country X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kern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(</a:t>
            </a: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Assemble Man.</a:t>
            </a:r>
            <a:r>
              <a:rPr kumimoji="0" lang="en-US" altLang="ja-JP" sz="900" kern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)</a:t>
            </a:r>
            <a:endParaRPr kumimoji="0" lang="en-US" altLang="ja-JP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180" name="直線コネクタ 179"/>
          <p:cNvCxnSpPr>
            <a:stCxn id="178" idx="1"/>
            <a:endCxn id="176" idx="3"/>
          </p:cNvCxnSpPr>
          <p:nvPr/>
        </p:nvCxnSpPr>
        <p:spPr>
          <a:xfrm flipH="1">
            <a:off x="6625040" y="3788944"/>
            <a:ext cx="496061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81" name="直線コネクタ 180"/>
          <p:cNvCxnSpPr>
            <a:stCxn id="179" idx="1"/>
            <a:endCxn id="178" idx="3"/>
          </p:cNvCxnSpPr>
          <p:nvPr/>
        </p:nvCxnSpPr>
        <p:spPr>
          <a:xfrm flipH="1" flipV="1">
            <a:off x="8287438" y="3788944"/>
            <a:ext cx="528542" cy="3244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182" name="正方形/長方形 75"/>
          <p:cNvSpPr>
            <a:spLocks noChangeArrowheads="1"/>
          </p:cNvSpPr>
          <p:nvPr/>
        </p:nvSpPr>
        <p:spPr bwMode="auto">
          <a:xfrm>
            <a:off x="605235" y="1941185"/>
            <a:ext cx="774693" cy="660868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lIns="79200" tIns="39600" rIns="79200" bIns="39600" anchor="ctr"/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Development</a:t>
            </a:r>
          </a:p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schedule</a:t>
            </a:r>
          </a:p>
        </p:txBody>
      </p:sp>
      <p:sp>
        <p:nvSpPr>
          <p:cNvPr id="183" name="正方形/長方形 75"/>
          <p:cNvSpPr>
            <a:spLocks noChangeArrowheads="1"/>
          </p:cNvSpPr>
          <p:nvPr/>
        </p:nvSpPr>
        <p:spPr bwMode="auto">
          <a:xfrm>
            <a:off x="605235" y="2933949"/>
            <a:ext cx="774693" cy="1153196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lIns="79200" tIns="39600" rIns="79200" bIns="39600" anchor="ctr"/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Logistics</a:t>
            </a:r>
          </a:p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flow</a:t>
            </a:r>
          </a:p>
        </p:txBody>
      </p:sp>
      <p:sp>
        <p:nvSpPr>
          <p:cNvPr id="184" name="正方形/長方形 183"/>
          <p:cNvSpPr/>
          <p:nvPr/>
        </p:nvSpPr>
        <p:spPr>
          <a:xfrm>
            <a:off x="3582229" y="2704051"/>
            <a:ext cx="2448000" cy="203507"/>
          </a:xfrm>
          <a:prstGeom prst="rect">
            <a:avLst/>
          </a:prstGeom>
          <a:solidFill>
            <a:srgbClr val="4BACC6">
              <a:lumMod val="20000"/>
              <a:lumOff val="80000"/>
              <a:alpha val="50000"/>
            </a:srgbClr>
          </a:solidFill>
          <a:ln w="28575" cap="flat" cmpd="sng" algn="ctr">
            <a:solidFill>
              <a:srgbClr val="5EA8DD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MSE JOB SCOPE</a:t>
            </a:r>
            <a:endParaRPr kumimoji="0" lang="ja-JP" altLang="en-US" sz="105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185" name="直線コネクタ 184"/>
          <p:cNvCxnSpPr>
            <a:stCxn id="176" idx="1"/>
            <a:endCxn id="154" idx="3"/>
          </p:cNvCxnSpPr>
          <p:nvPr/>
        </p:nvCxnSpPr>
        <p:spPr>
          <a:xfrm flipH="1" flipV="1">
            <a:off x="4947877" y="3198099"/>
            <a:ext cx="510826" cy="590845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61" name="コンテンツ プレースホルダー 1"/>
          <p:cNvSpPr txBox="1">
            <a:spLocks/>
          </p:cNvSpPr>
          <p:nvPr/>
        </p:nvSpPr>
        <p:spPr>
          <a:xfrm>
            <a:off x="605235" y="4577570"/>
            <a:ext cx="5021261" cy="2411559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</p:spPr>
        <p:txBody>
          <a:bodyPr anchor="ctr" anchorCtr="0"/>
          <a:lstStyle>
            <a:lvl1pPr algn="l" defTabSz="908050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>
                <a:solidFill>
                  <a:srgbClr val="24246E"/>
                </a:solidFill>
                <a:latin typeface="+mn-lt"/>
                <a:ea typeface="+mn-ea"/>
                <a:cs typeface="+mn-cs"/>
              </a:defRPr>
            </a:lvl1pPr>
            <a:lvl2pPr marL="292100" indent="-290513" algn="l" defTabSz="908050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n"/>
              <a:defRPr kumimoji="1" sz="1500">
                <a:solidFill>
                  <a:srgbClr val="24246E"/>
                </a:solidFill>
                <a:latin typeface="+mn-lt"/>
                <a:ea typeface="+mn-ea"/>
              </a:defRPr>
            </a:lvl2pPr>
            <a:lvl3pPr marL="573088" indent="-279400" algn="l" defTabSz="908050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24246E"/>
              </a:buClr>
              <a:buFont typeface="Wingdings" pitchFamily="2" charset="2"/>
              <a:buChar char="p"/>
              <a:defRPr kumimoji="1" sz="1500">
                <a:solidFill>
                  <a:srgbClr val="24246E"/>
                </a:solidFill>
                <a:latin typeface="+mn-lt"/>
                <a:ea typeface="+mn-ea"/>
              </a:defRPr>
            </a:lvl3pPr>
            <a:lvl4pPr marL="865188" indent="-288925" algn="l" defTabSz="908050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+mn-lt"/>
                <a:ea typeface="+mn-ea"/>
              </a:defRPr>
            </a:lvl4pPr>
            <a:lvl5pPr marL="2041525" indent="-227013" algn="l" defTabSz="90805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498725" indent="-227013" algn="l" defTabSz="908050" rtl="0" fontAlgn="base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55925" indent="-227013" algn="l" defTabSz="908050" rtl="0" fontAlgn="base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13125" indent="-227013" algn="l" defTabSz="908050" rtl="0" fontAlgn="base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70325" indent="-227013" algn="l" defTabSz="908050" rtl="0" fontAlgn="base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itchFamily="2" charset="2"/>
              <a:buChar char="n"/>
              <a:defRPr kumimoji="1" sz="13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marL="0" marR="0" lvl="0" indent="0" algn="l" defTabSz="9080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F81BD">
                  <a:shade val="75000"/>
                </a:srgbClr>
              </a:buClr>
              <a:buSzTx/>
              <a:buFont typeface="Arial" charset="0"/>
              <a:buNone/>
              <a:tabLst/>
              <a:defRPr/>
            </a:pPr>
            <a:r>
              <a:rPr kumimoji="1" lang="en-US" altLang="ja-JP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Competitive Advantages</a:t>
            </a:r>
          </a:p>
          <a:p>
            <a:pPr marL="0" marR="0" lvl="0" indent="0" algn="l" defTabSz="9080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F81BD">
                  <a:shade val="75000"/>
                </a:srgbClr>
              </a:buClr>
              <a:buSzTx/>
              <a:buFont typeface="Arial" charset="0"/>
              <a:buNone/>
              <a:tabLst/>
              <a:defRPr/>
            </a:pPr>
            <a:r>
              <a:rPr kumimoji="1" lang="ja-JP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　</a:t>
            </a:r>
            <a:r>
              <a:rPr kumimoji="1" lang="ja-JP" altLang="en-US" sz="12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Ａ</a:t>
            </a:r>
            <a:r>
              <a:rPr kumimoji="1" lang="en-US" altLang="ja-JP" sz="12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. Traceability</a:t>
            </a:r>
          </a:p>
          <a:p>
            <a:pPr marL="0" marR="0" lvl="0" indent="0" algn="l" defTabSz="9080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F81BD">
                  <a:shade val="75000"/>
                </a:srgbClr>
              </a:buClr>
              <a:buSzTx/>
              <a:buFont typeface="Arial" charset="0"/>
              <a:buNone/>
              <a:tabLst/>
              <a:defRPr/>
            </a:pPr>
            <a:r>
              <a:rPr kumimoji="1" lang="ja-JP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　 </a:t>
            </a: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Help to trace cargo status easily as per management unit. </a:t>
            </a:r>
          </a:p>
          <a:p>
            <a:pPr marL="0" marR="0" lvl="0" indent="0" algn="l" defTabSz="9080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F81BD">
                  <a:shade val="75000"/>
                </a:srgbClr>
              </a:buClr>
              <a:buSzTx/>
              <a:buFont typeface="Arial" charset="0"/>
              <a:buNone/>
              <a:tabLst/>
              <a:defRPr/>
            </a:pP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   Easy to change due date flexibly by unexpected event(s) during</a:t>
            </a:r>
          </a:p>
          <a:p>
            <a:pPr marL="0" marR="0" lvl="0" indent="0" algn="l" defTabSz="9080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F81BD">
                  <a:shade val="75000"/>
                </a:srgbClr>
              </a:buClr>
              <a:buSzTx/>
              <a:buFont typeface="Arial" charset="0"/>
              <a:buNone/>
              <a:tabLst/>
              <a:defRPr/>
            </a:pP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   development schedule.</a:t>
            </a:r>
          </a:p>
          <a:p>
            <a:pPr marL="0" marR="0" lvl="0" indent="0" algn="l" defTabSz="9080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F81BD">
                  <a:shade val="75000"/>
                </a:srgbClr>
              </a:buClr>
              <a:buSzTx/>
              <a:buFont typeface="Arial" charset="0"/>
              <a:buNone/>
              <a:tabLst/>
              <a:defRPr/>
            </a:pPr>
            <a:r>
              <a:rPr kumimoji="1" lang="ja-JP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　</a:t>
            </a:r>
            <a:r>
              <a:rPr kumimoji="1" lang="ja-JP" altLang="en-US" sz="12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Ｂ</a:t>
            </a:r>
            <a:r>
              <a:rPr kumimoji="1" lang="en-US" altLang="ja-JP" sz="12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. Purchase order Management</a:t>
            </a:r>
          </a:p>
          <a:p>
            <a:pPr marL="0" marR="0" lvl="0" indent="0" algn="l" defTabSz="9080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F81BD">
                  <a:shade val="75000"/>
                </a:srgbClr>
              </a:buClr>
              <a:buSzTx/>
              <a:buFont typeface="Arial" charset="0"/>
              <a:buNone/>
              <a:tabLst/>
              <a:defRPr/>
            </a:pPr>
            <a:r>
              <a:rPr kumimoji="1" lang="ja-JP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　</a:t>
            </a: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 </a:t>
            </a:r>
            <a:r>
              <a:rPr kumimoji="1" lang="en-US" altLang="ja-JP" sz="11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)</a:t>
            </a: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 </a:t>
            </a: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Notice of late delivery on be half of customer</a:t>
            </a:r>
          </a:p>
          <a:p>
            <a:pPr marL="0" marR="0" lvl="0" indent="0" algn="l" defTabSz="9080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F81BD">
                  <a:shade val="75000"/>
                </a:srgbClr>
              </a:buClr>
              <a:buSzTx/>
              <a:buFont typeface="Arial" charset="0"/>
              <a:buNone/>
              <a:tabLst/>
              <a:defRPr/>
            </a:pP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　  </a:t>
            </a: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ii)</a:t>
            </a: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</a:t>
            </a: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Invoice creation including price accuracy validation	</a:t>
            </a:r>
            <a:r>
              <a:rPr kumimoji="1" lang="ja-JP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　　　　　　</a:t>
            </a:r>
            <a:endParaRPr kumimoji="1" lang="en-US" altLang="ja-JP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0" marR="0" lvl="0" indent="0" algn="l" defTabSz="9080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F81BD">
                  <a:shade val="75000"/>
                </a:srgbClr>
              </a:buClr>
              <a:buSzTx/>
              <a:buFont typeface="Arial" charset="0"/>
              <a:buNone/>
              <a:tabLst/>
              <a:defRPr/>
            </a:pPr>
            <a:r>
              <a:rPr kumimoji="1" lang="ja-JP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　</a:t>
            </a:r>
            <a:r>
              <a:rPr kumimoji="1" lang="ja-JP" altLang="en-US" sz="12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Ｃ</a:t>
            </a:r>
            <a:r>
              <a:rPr kumimoji="1" lang="en-US" altLang="ja-JP" sz="12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.</a:t>
            </a:r>
            <a:r>
              <a:rPr kumimoji="1" lang="en-US" altLang="ja-JP" sz="1200" b="1" i="0" u="sng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</a:t>
            </a:r>
            <a:r>
              <a:rPr kumimoji="1" lang="en-US" altLang="ja-JP" sz="12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High quality logistics</a:t>
            </a:r>
          </a:p>
          <a:p>
            <a:pPr marL="0" marR="0" lvl="0" indent="0" algn="l" defTabSz="9080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F81BD">
                  <a:shade val="75000"/>
                </a:srgbClr>
              </a:buClr>
              <a:buSzTx/>
              <a:buFont typeface="Arial" charset="0"/>
              <a:buNone/>
              <a:tabLst/>
              <a:defRPr/>
            </a:pPr>
            <a:r>
              <a:rPr kumimoji="1" lang="ja-JP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　</a:t>
            </a: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 </a:t>
            </a:r>
            <a:r>
              <a:rPr kumimoji="1" lang="en-US" altLang="ja-JP" sz="11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)</a:t>
            </a: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 </a:t>
            </a: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Verification with piece counting for precise quantity</a:t>
            </a:r>
          </a:p>
          <a:p>
            <a:pPr marL="0" marR="0" lvl="0" indent="0" algn="l" defTabSz="9080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F81BD">
                  <a:shade val="75000"/>
                </a:srgbClr>
              </a:buClr>
              <a:buSzTx/>
              <a:buFont typeface="Arial" charset="0"/>
              <a:buNone/>
              <a:tabLst/>
              <a:defRPr/>
            </a:pP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　 </a:t>
            </a: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ii)</a:t>
            </a: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 </a:t>
            </a: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Proper packaging proposal according to the parts</a:t>
            </a:r>
          </a:p>
        </p:txBody>
      </p:sp>
      <p:sp>
        <p:nvSpPr>
          <p:cNvPr id="63" name="正方形/長方形 75"/>
          <p:cNvSpPr>
            <a:spLocks noChangeArrowheads="1"/>
          </p:cNvSpPr>
          <p:nvPr/>
        </p:nvSpPr>
        <p:spPr bwMode="auto">
          <a:xfrm>
            <a:off x="8649160" y="2529586"/>
            <a:ext cx="1639087" cy="374939"/>
          </a:xfrm>
          <a:prstGeom prst="rect">
            <a:avLst/>
          </a:prstGeom>
          <a:solidFill>
            <a:srgbClr val="F79646">
              <a:lumMod val="75000"/>
            </a:srgbClr>
          </a:solidFill>
          <a:ln w="19050">
            <a:solidFill>
              <a:srgbClr val="24246E"/>
            </a:solidFill>
            <a:miter lim="800000"/>
            <a:headEnd/>
            <a:tailEnd/>
          </a:ln>
        </p:spPr>
        <p:txBody>
          <a:bodyPr wrap="none" lIns="79200" tIns="39600" rIns="79200" bIns="39600" anchor="ctr"/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On time delivery for</a:t>
            </a:r>
          </a:p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production schedule</a:t>
            </a:r>
          </a:p>
        </p:txBody>
      </p:sp>
      <p:sp>
        <p:nvSpPr>
          <p:cNvPr id="186" name="テキスト ボックス 185"/>
          <p:cNvSpPr txBox="1"/>
          <p:nvPr/>
        </p:nvSpPr>
        <p:spPr bwMode="auto">
          <a:xfrm>
            <a:off x="8549643" y="1873371"/>
            <a:ext cx="874272" cy="382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4296" tIns="52148" rIns="104296" bIns="52148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altLang="ja-JP" sz="900" b="1" dirty="0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Mass</a:t>
            </a:r>
          </a:p>
          <a:p>
            <a:pPr algn="ctr">
              <a:spcBef>
                <a:spcPts val="0"/>
              </a:spcBef>
            </a:pPr>
            <a:r>
              <a:rPr lang="en-US" altLang="ja-JP" sz="900" b="1" dirty="0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production</a:t>
            </a:r>
            <a:endParaRPr lang="ja-JP" altLang="en-US" sz="900" b="1" dirty="0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03482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テキスト ボックス 41"/>
          <p:cNvSpPr txBox="1"/>
          <p:nvPr/>
        </p:nvSpPr>
        <p:spPr>
          <a:xfrm>
            <a:off x="752722" y="1012566"/>
            <a:ext cx="93550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800" b="1" dirty="0">
                <a:solidFill>
                  <a:srgbClr val="00206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st reduction and high-quality packing for vehicle shipping </a:t>
            </a:r>
          </a:p>
          <a:p>
            <a:r>
              <a:rPr lang="en-US" altLang="ja-JP" sz="1800" b="1" dirty="0">
                <a:solidFill>
                  <a:srgbClr val="00206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Registration of a design by Japan Patent Office)</a:t>
            </a:r>
          </a:p>
        </p:txBody>
      </p:sp>
      <p:pic>
        <p:nvPicPr>
          <p:cNvPr id="47" name="図 46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97" t="20595" r="12152" b="16359"/>
          <a:stretch/>
        </p:blipFill>
        <p:spPr>
          <a:xfrm>
            <a:off x="5574187" y="2214189"/>
            <a:ext cx="1938966" cy="1281103"/>
          </a:xfrm>
          <a:prstGeom prst="rect">
            <a:avLst/>
          </a:prstGeom>
        </p:spPr>
      </p:pic>
      <p:pic>
        <p:nvPicPr>
          <p:cNvPr id="49" name="図 48"/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508" y="2214189"/>
            <a:ext cx="1938966" cy="1281103"/>
          </a:xfrm>
          <a:prstGeom prst="rect">
            <a:avLst/>
          </a:prstGeom>
        </p:spPr>
      </p:pic>
      <p:sp>
        <p:nvSpPr>
          <p:cNvPr id="53" name="コンテンツ プレースホルダ 752"/>
          <p:cNvSpPr txBox="1">
            <a:spLocks/>
          </p:cNvSpPr>
          <p:nvPr/>
        </p:nvSpPr>
        <p:spPr bwMode="auto">
          <a:xfrm>
            <a:off x="814282" y="1939009"/>
            <a:ext cx="2348780" cy="192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347" u="sng" dirty="0">
                <a:solidFill>
                  <a:srgbClr val="00206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</a:t>
            </a:r>
            <a:r>
              <a:rPr lang="en-US" altLang="ja-JP" sz="1347" u="sng" dirty="0">
                <a:solidFill>
                  <a:srgbClr val="00206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Hybrid packaging</a:t>
            </a:r>
          </a:p>
        </p:txBody>
      </p:sp>
      <p:pic>
        <p:nvPicPr>
          <p:cNvPr id="54" name="図 53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687" y="2214189"/>
            <a:ext cx="1938966" cy="1281103"/>
          </a:xfrm>
          <a:prstGeom prst="rect">
            <a:avLst/>
          </a:prstGeom>
        </p:spPr>
      </p:pic>
      <p:pic>
        <p:nvPicPr>
          <p:cNvPr id="62" name="図 61"/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09" t="16436" r="14418" b="3633"/>
          <a:stretch/>
        </p:blipFill>
        <p:spPr>
          <a:xfrm>
            <a:off x="822767" y="2214189"/>
            <a:ext cx="2077464" cy="1281103"/>
          </a:xfrm>
          <a:prstGeom prst="rect">
            <a:avLst/>
          </a:prstGeom>
        </p:spPr>
      </p:pic>
      <p:sp>
        <p:nvSpPr>
          <p:cNvPr id="64" name="右矢印 63"/>
          <p:cNvSpPr/>
          <p:nvPr/>
        </p:nvSpPr>
        <p:spPr bwMode="auto">
          <a:xfrm>
            <a:off x="2968456" y="2747085"/>
            <a:ext cx="253007" cy="223369"/>
          </a:xfrm>
          <a:prstGeom prst="rightArrow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txBody>
          <a:bodyPr vert="horz" wrap="none" lIns="76174" tIns="38087" rIns="76174" bIns="38087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873362">
              <a:spcBef>
                <a:spcPts val="0"/>
              </a:spcBef>
              <a:spcAft>
                <a:spcPts val="0"/>
              </a:spcAft>
              <a:buClr>
                <a:srgbClr val="DDDDDD"/>
              </a:buClr>
            </a:pPr>
            <a:endParaRPr lang="ja-JP" altLang="en-US" sz="1154" dirty="0">
              <a:solidFill>
                <a:schemeClr val="tx2"/>
              </a:solidFill>
              <a:latin typeface="+mn-ea"/>
              <a:ea typeface="+mn-ea"/>
            </a:endParaRPr>
          </a:p>
        </p:txBody>
      </p:sp>
      <p:sp>
        <p:nvSpPr>
          <p:cNvPr id="65" name="コンテンツ プレースホルダ 752"/>
          <p:cNvSpPr txBox="1">
            <a:spLocks/>
          </p:cNvSpPr>
          <p:nvPr/>
        </p:nvSpPr>
        <p:spPr bwMode="auto">
          <a:xfrm>
            <a:off x="8043373" y="3510581"/>
            <a:ext cx="1559369" cy="14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010" dirty="0">
                <a:solidFill>
                  <a:srgbClr val="000000"/>
                </a:solidFill>
              </a:rPr>
              <a:t>Top: Reinforced cardboard</a:t>
            </a:r>
          </a:p>
        </p:txBody>
      </p:sp>
      <p:sp>
        <p:nvSpPr>
          <p:cNvPr id="66" name="コンテンツ プレースホルダ 752"/>
          <p:cNvSpPr txBox="1">
            <a:spLocks/>
          </p:cNvSpPr>
          <p:nvPr/>
        </p:nvSpPr>
        <p:spPr bwMode="auto">
          <a:xfrm>
            <a:off x="5762279" y="3510581"/>
            <a:ext cx="1633020" cy="14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010" dirty="0">
                <a:solidFill>
                  <a:srgbClr val="000000"/>
                </a:solidFill>
              </a:rPr>
              <a:t>Sides: Reinforced cardboard</a:t>
            </a:r>
          </a:p>
        </p:txBody>
      </p:sp>
      <p:sp>
        <p:nvSpPr>
          <p:cNvPr id="67" name="コンテンツ プレースホルダ 752"/>
          <p:cNvSpPr txBox="1">
            <a:spLocks/>
          </p:cNvSpPr>
          <p:nvPr/>
        </p:nvSpPr>
        <p:spPr bwMode="auto">
          <a:xfrm>
            <a:off x="3451549" y="3510581"/>
            <a:ext cx="1665794" cy="14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010" dirty="0">
                <a:solidFill>
                  <a:srgbClr val="000000"/>
                </a:solidFill>
              </a:rPr>
              <a:t>Base: Steel</a:t>
            </a:r>
          </a:p>
        </p:txBody>
      </p:sp>
      <p:sp>
        <p:nvSpPr>
          <p:cNvPr id="4" name="十字形 3"/>
          <p:cNvSpPr>
            <a:spLocks/>
          </p:cNvSpPr>
          <p:nvPr/>
        </p:nvSpPr>
        <p:spPr bwMode="auto">
          <a:xfrm>
            <a:off x="5314309" y="2768179"/>
            <a:ext cx="173122" cy="173122"/>
          </a:xfrm>
          <a:prstGeom prst="plus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txBody>
          <a:bodyPr vert="horz" wrap="none" lIns="76174" tIns="38087" rIns="76174" bIns="38087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873362">
              <a:spcBef>
                <a:spcPts val="0"/>
              </a:spcBef>
              <a:spcAft>
                <a:spcPts val="0"/>
              </a:spcAft>
              <a:buClr>
                <a:srgbClr val="DDDDDD"/>
              </a:buClr>
            </a:pPr>
            <a:endParaRPr lang="ja-JP" altLang="en-US" sz="1154" dirty="0">
              <a:solidFill>
                <a:schemeClr val="tx2"/>
              </a:solidFill>
              <a:latin typeface="+mn-ea"/>
              <a:ea typeface="+mn-ea"/>
            </a:endParaRPr>
          </a:p>
        </p:txBody>
      </p:sp>
      <p:sp>
        <p:nvSpPr>
          <p:cNvPr id="68" name="十字形 67"/>
          <p:cNvSpPr>
            <a:spLocks/>
          </p:cNvSpPr>
          <p:nvPr/>
        </p:nvSpPr>
        <p:spPr bwMode="auto">
          <a:xfrm>
            <a:off x="7577421" y="2768179"/>
            <a:ext cx="173122" cy="173122"/>
          </a:xfrm>
          <a:prstGeom prst="plus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txBody>
          <a:bodyPr vert="horz" wrap="none" lIns="76174" tIns="38087" rIns="76174" bIns="38087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873362">
              <a:spcBef>
                <a:spcPts val="0"/>
              </a:spcBef>
              <a:spcAft>
                <a:spcPts val="0"/>
              </a:spcAft>
              <a:buClr>
                <a:srgbClr val="DDDDDD"/>
              </a:buClr>
            </a:pPr>
            <a:endParaRPr lang="ja-JP" altLang="en-US" sz="1154" dirty="0">
              <a:solidFill>
                <a:schemeClr val="tx2"/>
              </a:solidFill>
              <a:latin typeface="+mn-ea"/>
              <a:ea typeface="+mn-ea"/>
            </a:endParaRPr>
          </a:p>
        </p:txBody>
      </p:sp>
      <p:sp>
        <p:nvSpPr>
          <p:cNvPr id="69" name="コンテンツ プレースホルダ 752"/>
          <p:cNvSpPr txBox="1">
            <a:spLocks/>
          </p:cNvSpPr>
          <p:nvPr/>
        </p:nvSpPr>
        <p:spPr bwMode="auto">
          <a:xfrm>
            <a:off x="814281" y="3999830"/>
            <a:ext cx="6554634" cy="192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347" u="sng" dirty="0">
                <a:solidFill>
                  <a:srgbClr val="00206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</a:t>
            </a:r>
            <a:r>
              <a:rPr lang="en-US" altLang="ja-JP" sz="1347" u="sng" dirty="0">
                <a:solidFill>
                  <a:srgbClr val="00206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QCS Matrix</a:t>
            </a:r>
          </a:p>
        </p:txBody>
      </p:sp>
      <p:graphicFrame>
        <p:nvGraphicFramePr>
          <p:cNvPr id="32" name="表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584498"/>
              </p:ext>
            </p:extLst>
          </p:nvPr>
        </p:nvGraphicFramePr>
        <p:xfrm>
          <a:off x="822768" y="4294533"/>
          <a:ext cx="8939707" cy="2472209"/>
        </p:xfrm>
        <a:graphic>
          <a:graphicData uri="http://schemas.openxmlformats.org/drawingml/2006/table">
            <a:tbl>
              <a:tblPr/>
              <a:tblGrid>
                <a:gridCol w="914084">
                  <a:extLst>
                    <a:ext uri="{9D8B030D-6E8A-4147-A177-3AD203B41FA5}">
                      <a16:colId xmlns:a16="http://schemas.microsoft.com/office/drawing/2014/main" val="2235515017"/>
                    </a:ext>
                  </a:extLst>
                </a:gridCol>
                <a:gridCol w="1035115">
                  <a:extLst>
                    <a:ext uri="{9D8B030D-6E8A-4147-A177-3AD203B41FA5}">
                      <a16:colId xmlns:a16="http://schemas.microsoft.com/office/drawing/2014/main" val="25897000"/>
                    </a:ext>
                  </a:extLst>
                </a:gridCol>
                <a:gridCol w="2295255">
                  <a:extLst>
                    <a:ext uri="{9D8B030D-6E8A-4147-A177-3AD203B41FA5}">
                      <a16:colId xmlns:a16="http://schemas.microsoft.com/office/drawing/2014/main" val="2683712888"/>
                    </a:ext>
                  </a:extLst>
                </a:gridCol>
                <a:gridCol w="2295255">
                  <a:extLst>
                    <a:ext uri="{9D8B030D-6E8A-4147-A177-3AD203B41FA5}">
                      <a16:colId xmlns:a16="http://schemas.microsoft.com/office/drawing/2014/main" val="176599714"/>
                    </a:ext>
                  </a:extLst>
                </a:gridCol>
                <a:gridCol w="2399998">
                  <a:extLst>
                    <a:ext uri="{9D8B030D-6E8A-4147-A177-3AD203B41FA5}">
                      <a16:colId xmlns:a16="http://schemas.microsoft.com/office/drawing/2014/main" val="3254590178"/>
                    </a:ext>
                  </a:extLst>
                </a:gridCol>
              </a:tblGrid>
              <a:tr h="202181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</a:t>
                      </a: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teel box</a:t>
                      </a:r>
                      <a:endParaRPr lang="ja-JP" alt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oden</a:t>
                      </a:r>
                      <a:r>
                        <a:rPr lang="en-US" altLang="ja-JP" sz="12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box</a:t>
                      </a:r>
                      <a:endParaRPr lang="ja-JP" alt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Hybrid packaging</a:t>
                      </a:r>
                      <a:endParaRPr lang="ja-JP" alt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3467990"/>
                  </a:ext>
                </a:extLst>
              </a:tr>
              <a:tr h="362324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Q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uality</a:t>
                      </a: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trength</a:t>
                      </a:r>
                      <a:endParaRPr lang="ja-JP" alt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◎</a:t>
                      </a: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  <a:endParaRPr lang="en-US" altLang="ja-JP" sz="10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  <a:endParaRPr lang="en-US" altLang="ja-JP" sz="1000" b="1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7177449"/>
                  </a:ext>
                </a:extLst>
              </a:tr>
              <a:tr h="362324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ater Proof</a:t>
                      </a:r>
                      <a:endParaRPr lang="ja-JP" alt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◎</a:t>
                      </a: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  <a:endParaRPr lang="en-US" altLang="ja-JP" sz="12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 fontAlgn="ctr"/>
                      <a:r>
                        <a:rPr lang="en-US" altLang="ja-JP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Water</a:t>
                      </a:r>
                      <a:r>
                        <a:rPr lang="en-US" altLang="ja-JP" sz="10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proof adhesive)</a:t>
                      </a:r>
                      <a:endParaRPr lang="ja-JP" altLang="en-US" sz="1000" b="1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6546922"/>
                  </a:ext>
                </a:extLst>
              </a:tr>
              <a:tr h="362324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Recycle</a:t>
                      </a:r>
                      <a:endParaRPr lang="ja-JP" alt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✕</a:t>
                      </a: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  <a:endParaRPr lang="ja-JP" altLang="en-US" sz="1000" b="1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9849656"/>
                  </a:ext>
                </a:extLst>
              </a:tr>
              <a:tr h="394352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ost</a:t>
                      </a: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aterials</a:t>
                      </a:r>
                      <a:endParaRPr lang="ja-JP" alt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endParaRPr lang="ja-JP" alt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  <a:br>
                        <a:rPr lang="ja-JP" alt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en-US" altLang="ja-JP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en-US" altLang="ja-JP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r>
                        <a:rPr lang="ja-JP" altLang="en-US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～</a:t>
                      </a:r>
                      <a:r>
                        <a:rPr lang="en-US" altLang="ja-JP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% low)</a:t>
                      </a:r>
                      <a:endParaRPr lang="ja-JP" alt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◎</a:t>
                      </a:r>
                      <a:br>
                        <a:rPr lang="ja-JP" alt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en-US" altLang="ja-JP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30</a:t>
                      </a:r>
                      <a:r>
                        <a:rPr lang="ja-JP" alt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～</a:t>
                      </a:r>
                      <a:r>
                        <a:rPr lang="en-US" altLang="ja-JP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0% low)</a:t>
                      </a:r>
                      <a:endParaRPr lang="ja-JP" altLang="en-US" sz="1000" b="1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2885531"/>
                  </a:ext>
                </a:extLst>
              </a:tr>
              <a:tr h="39435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cking hours</a:t>
                      </a:r>
                      <a:endParaRPr lang="ja-JP" alt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br>
                        <a:rPr lang="ja-JP" alt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en-US" altLang="ja-JP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0min</a:t>
                      </a:r>
                      <a:endParaRPr lang="ja-JP" alt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br>
                        <a:rPr lang="ja-JP" alt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en-US" altLang="ja-JP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0min</a:t>
                      </a:r>
                      <a:endParaRPr lang="ja-JP" alt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◎</a:t>
                      </a:r>
                      <a:br>
                        <a:rPr lang="ja-JP" alt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en-US" altLang="ja-JP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0min</a:t>
                      </a:r>
                      <a:endParaRPr lang="ja-JP" altLang="en-US" sz="1000" b="1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9014702"/>
                  </a:ext>
                </a:extLst>
              </a:tr>
              <a:tr h="39435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fety</a:t>
                      </a: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Usability</a:t>
                      </a:r>
                      <a:endParaRPr lang="ja-JP" alt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br>
                        <a:rPr lang="ja-JP" altLang="en-US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en-US" altLang="ja-JP" sz="8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Forklift, Wrench, Screwdriver and Claw bar</a:t>
                      </a:r>
                      <a:endParaRPr lang="ja-JP" altLang="en-US" sz="800" b="0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br>
                        <a:rPr lang="ja-JP" altLang="en-US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en-US" altLang="ja-JP" sz="8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Forklift, Wrench, Screwdriver and Claw bar</a:t>
                      </a: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◎</a:t>
                      </a:r>
                      <a:br>
                        <a:rPr lang="ja-JP" altLang="en-US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en-US" altLang="ja-JP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Forklift and cutter only</a:t>
                      </a:r>
                      <a:endParaRPr lang="ja-JP" altLang="en-US" sz="1000" b="1" i="0" u="none" strike="noStrike" dirty="0">
                        <a:solidFill>
                          <a:srgbClr val="00206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9161" marR="9161" marT="91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386173"/>
                  </a:ext>
                </a:extLst>
              </a:tr>
            </a:tbl>
          </a:graphicData>
        </a:graphic>
      </p:graphicFrame>
      <p:sp>
        <p:nvSpPr>
          <p:cNvPr id="33" name="正方形/長方形 32"/>
          <p:cNvSpPr/>
          <p:nvPr/>
        </p:nvSpPr>
        <p:spPr bwMode="auto">
          <a:xfrm>
            <a:off x="7368916" y="4271097"/>
            <a:ext cx="2393560" cy="2483771"/>
          </a:xfrm>
          <a:prstGeom prst="rect">
            <a:avLst/>
          </a:prstGeom>
          <a:noFill/>
          <a:ln w="38100">
            <a:solidFill>
              <a:srgbClr val="FF6600"/>
            </a:solidFill>
          </a:ln>
          <a:effectLst/>
        </p:spPr>
        <p:txBody>
          <a:bodyPr vert="horz" wrap="none" lIns="76174" tIns="38087" rIns="76174" bIns="38087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873362">
              <a:spcBef>
                <a:spcPts val="0"/>
              </a:spcBef>
              <a:spcAft>
                <a:spcPts val="0"/>
              </a:spcAft>
              <a:buClr>
                <a:srgbClr val="DDDDDD"/>
              </a:buClr>
            </a:pPr>
            <a:endParaRPr lang="ja-JP" altLang="en-US" sz="1154" dirty="0">
              <a:solidFill>
                <a:schemeClr val="tx2"/>
              </a:solidFill>
              <a:latin typeface="+mn-ea"/>
              <a:ea typeface="+mn-ea"/>
            </a:endParaRPr>
          </a:p>
        </p:txBody>
      </p:sp>
      <p:sp>
        <p:nvSpPr>
          <p:cNvPr id="18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0" name="タイトル 34"/>
          <p:cNvSpPr txBox="1">
            <a:spLocks/>
          </p:cNvSpPr>
          <p:nvPr/>
        </p:nvSpPr>
        <p:spPr bwMode="auto">
          <a:xfrm>
            <a:off x="603709" y="106465"/>
            <a:ext cx="7118808" cy="81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0" rIns="0" bIns="0" numCol="1" anchor="b" anchorCtr="0" compatLnSpc="1">
            <a:prstTxWarp prst="textNoShape">
              <a:avLst/>
            </a:prstTxWarp>
          </a:bodyPr>
          <a:lstStyle>
            <a:lvl1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501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43973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87947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131920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175894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pPr lvl="0">
              <a:defRPr/>
            </a:pPr>
            <a:r>
              <a:rPr kumimoji="1" lang="en-US" altLang="ja-JP" sz="1731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Ⅲ. </a:t>
            </a:r>
            <a:r>
              <a:rPr lang="en-US" altLang="ja-JP" sz="1731" kern="0" dirty="0">
                <a:solidFill>
                  <a:srgbClr val="002060"/>
                </a:solidFill>
              </a:rPr>
              <a:t>Our service</a:t>
            </a:r>
            <a:br>
              <a:rPr kumimoji="1" lang="ja-JP" altLang="en-US" sz="2501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</a:br>
            <a:r>
              <a:rPr kumimoji="1" lang="ja-JP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 </a:t>
            </a:r>
            <a:r>
              <a:rPr lang="en-US" altLang="ja-JP" sz="2400" kern="0" noProof="0" dirty="0">
                <a:solidFill>
                  <a:srgbClr val="002060"/>
                </a:solidFill>
              </a:rPr>
              <a:t>2</a:t>
            </a:r>
            <a:r>
              <a:rPr kumimoji="1" lang="en-US" altLang="ja-JP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. </a:t>
            </a:r>
            <a:r>
              <a:rPr lang="en-US" altLang="ja-JP" sz="2400" kern="0" dirty="0">
                <a:solidFill>
                  <a:srgbClr val="002060"/>
                </a:solidFill>
              </a:rPr>
              <a:t>Hybrid packaging for vehicle</a:t>
            </a:r>
            <a:endParaRPr kumimoji="1" lang="ja-JP" altLang="en-US" sz="2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0988469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752"/>
          <p:cNvSpPr txBox="1">
            <a:spLocks/>
          </p:cNvSpPr>
          <p:nvPr/>
        </p:nvSpPr>
        <p:spPr bwMode="auto">
          <a:xfrm>
            <a:off x="834284" y="1070884"/>
            <a:ext cx="9543528" cy="515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79470">
              <a:spcBef>
                <a:spcPts val="26"/>
              </a:spcBef>
            </a:pPr>
            <a:r>
              <a:rPr lang="en-US" altLang="ja-JP" sz="1800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“e-Cool” provides high-quality packing and total shipping cost reduction for keep cool/frozen cargo</a:t>
            </a:r>
            <a:endParaRPr lang="ja-JP" altLang="en-US" sz="1800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18" name="角丸四角形 17"/>
          <p:cNvSpPr/>
          <p:nvPr/>
        </p:nvSpPr>
        <p:spPr bwMode="auto">
          <a:xfrm>
            <a:off x="1062797" y="4906397"/>
            <a:ext cx="2832246" cy="1316109"/>
          </a:xfrm>
          <a:prstGeom prst="roundRect">
            <a:avLst/>
          </a:prstGeom>
          <a:noFill/>
          <a:ln>
            <a:solidFill>
              <a:srgbClr val="24246E"/>
            </a:solidFill>
          </a:ln>
          <a:effectLst/>
        </p:spPr>
        <p:txBody>
          <a:bodyPr vert="horz" wrap="none" lIns="79200" tIns="39600" rIns="79200" bIns="396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/>
              <a:ea typeface="Meiryo UI"/>
            </a:endParaRPr>
          </a:p>
        </p:txBody>
      </p:sp>
      <p:graphicFrame>
        <p:nvGraphicFramePr>
          <p:cNvPr id="19" name="コンテンツ プレースホルダー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0189956"/>
              </p:ext>
            </p:extLst>
          </p:nvPr>
        </p:nvGraphicFramePr>
        <p:xfrm>
          <a:off x="3034793" y="1772386"/>
          <a:ext cx="7189212" cy="2385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4" name="コンテンツ プレースホルダ 752"/>
          <p:cNvSpPr txBox="1">
            <a:spLocks/>
          </p:cNvSpPr>
          <p:nvPr/>
        </p:nvSpPr>
        <p:spPr bwMode="auto">
          <a:xfrm>
            <a:off x="746742" y="1745959"/>
            <a:ext cx="2442095" cy="20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400" u="sng" dirty="0">
                <a:solidFill>
                  <a:srgbClr val="002060"/>
                </a:solidFill>
                <a:latin typeface="Meiryo UI"/>
                <a:ea typeface="Meiryo UI"/>
              </a:rPr>
              <a:t>■</a:t>
            </a:r>
            <a:r>
              <a:rPr lang="en-US" altLang="ja-JP" sz="1400" u="sng" dirty="0">
                <a:solidFill>
                  <a:srgbClr val="002060"/>
                </a:solidFill>
                <a:latin typeface="Meiryo UI"/>
                <a:ea typeface="Meiryo UI"/>
              </a:rPr>
              <a:t>e-Cool</a:t>
            </a:r>
          </a:p>
        </p:txBody>
      </p:sp>
      <p:pic>
        <p:nvPicPr>
          <p:cNvPr id="35" name="図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55" r="15381" b="10012"/>
          <a:stretch/>
        </p:blipFill>
        <p:spPr bwMode="auto">
          <a:xfrm>
            <a:off x="991026" y="2165189"/>
            <a:ext cx="1871107" cy="1619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コンテンツ プレースホルダ 752"/>
          <p:cNvSpPr txBox="1">
            <a:spLocks/>
          </p:cNvSpPr>
          <p:nvPr/>
        </p:nvSpPr>
        <p:spPr bwMode="auto">
          <a:xfrm>
            <a:off x="986093" y="3848578"/>
            <a:ext cx="1905947" cy="15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100" b="0" dirty="0">
                <a:solidFill>
                  <a:srgbClr val="000000"/>
                </a:solidFill>
                <a:latin typeface="Meiryo UI"/>
                <a:ea typeface="Meiryo UI"/>
              </a:rPr>
              <a:t>Our own insulation </a:t>
            </a:r>
          </a:p>
        </p:txBody>
      </p:sp>
      <p:sp>
        <p:nvSpPr>
          <p:cNvPr id="38" name="テキスト ボックス 37"/>
          <p:cNvSpPr txBox="1"/>
          <p:nvPr/>
        </p:nvSpPr>
        <p:spPr bwMode="auto">
          <a:xfrm>
            <a:off x="3641393" y="2579504"/>
            <a:ext cx="2363906" cy="566979"/>
          </a:xfrm>
          <a:prstGeom prst="rect">
            <a:avLst/>
          </a:prstGeom>
          <a:solidFill>
            <a:srgbClr val="FFFFFF"/>
          </a:solidFill>
          <a:ln>
            <a:solidFill>
              <a:srgbClr val="D2DBFD">
                <a:lumMod val="25000"/>
              </a:srgbClr>
            </a:solidFill>
          </a:ln>
          <a:effectLst/>
        </p:spPr>
        <p:txBody>
          <a:bodyPr wrap="square" lIns="104296" tIns="52148" rIns="104296" bIns="52148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1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メイリオ" panose="020B0604030504040204" pitchFamily="50" charset="-128"/>
              </a:rPr>
              <a:t>ー</a:t>
            </a:r>
            <a:r>
              <a:rPr kumimoji="0" lang="ja-JP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/>
                <a:ea typeface="Meiryo UI"/>
                <a:cs typeface="メイリオ" panose="020B0604030504040204" pitchFamily="50" charset="-128"/>
              </a:rPr>
              <a:t> </a:t>
            </a:r>
            <a:r>
              <a:rPr kumimoji="0" lang="en-US" altLang="ja-JP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/>
                <a:ea typeface="Meiryo UI"/>
                <a:cs typeface="メイリオ" panose="020B0604030504040204" pitchFamily="50" charset="-128"/>
              </a:rPr>
              <a:t>Outside temp</a:t>
            </a:r>
            <a:r>
              <a:rPr kumimoji="0" lang="ja-JP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/>
                <a:ea typeface="Meiryo UI"/>
                <a:cs typeface="メイリオ" panose="020B0604030504040204" pitchFamily="50" charset="-128"/>
              </a:rPr>
              <a:t>　　</a:t>
            </a:r>
            <a:endParaRPr kumimoji="0" lang="en-US" altLang="ja-JP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/>
              <a:ea typeface="Meiryo UI"/>
              <a:cs typeface="メイリオ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1" i="0" u="none" strike="noStrike" kern="0" cap="none" spc="0" normalizeH="0" baseline="0" noProof="0" dirty="0" err="1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Meiryo UI"/>
                <a:ea typeface="Meiryo UI"/>
                <a:cs typeface="メイリオ" panose="020B0604030504040204" pitchFamily="50" charset="-128"/>
              </a:rPr>
              <a:t>ー</a:t>
            </a:r>
            <a:r>
              <a:rPr kumimoji="0" lang="ja-JP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4246E">
                    <a:lumMod val="20000"/>
                    <a:lumOff val="80000"/>
                  </a:srgbClr>
                </a:solidFill>
                <a:effectLst/>
                <a:uLnTx/>
                <a:uFillTx/>
                <a:latin typeface="Meiryo UI"/>
                <a:ea typeface="Meiryo UI"/>
                <a:cs typeface="メイリオ" panose="020B0604030504040204" pitchFamily="50" charset="-128"/>
              </a:rPr>
              <a:t> </a:t>
            </a:r>
            <a:r>
              <a:rPr kumimoji="0" lang="en-US" altLang="ja-JP" sz="1000" kern="0" noProof="0" dirty="0">
                <a:solidFill>
                  <a:srgbClr val="00000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S</a:t>
            </a:r>
            <a:r>
              <a:rPr kumimoji="0" lang="en-US" altLang="ja-JP" sz="1000" kern="0" dirty="0" err="1">
                <a:solidFill>
                  <a:srgbClr val="00000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tyrofoam</a:t>
            </a:r>
            <a:r>
              <a:rPr kumimoji="0" lang="ja-JP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/>
                <a:ea typeface="Meiryo UI"/>
                <a:cs typeface="メイリオ" panose="020B0604030504040204" pitchFamily="50" charset="-128"/>
              </a:rPr>
              <a:t>　　</a:t>
            </a:r>
            <a:endParaRPr kumimoji="0" lang="en-US" altLang="ja-JP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/>
              <a:ea typeface="Meiryo UI"/>
              <a:cs typeface="メイリオ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1" i="0" u="none" strike="noStrike" kern="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Meiryo UI"/>
                <a:ea typeface="Meiryo UI"/>
                <a:cs typeface="メイリオ" panose="020B0604030504040204" pitchFamily="50" charset="-128"/>
              </a:rPr>
              <a:t>ー</a:t>
            </a:r>
            <a:r>
              <a:rPr kumimoji="0" lang="ja-JP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Meiryo UI"/>
                <a:ea typeface="Meiryo UI"/>
                <a:cs typeface="メイリオ" panose="020B0604030504040204" pitchFamily="50" charset="-128"/>
              </a:rPr>
              <a:t> </a:t>
            </a:r>
            <a:r>
              <a:rPr kumimoji="0" lang="en-US" altLang="ja-JP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/>
                <a:ea typeface="Meiryo UI"/>
                <a:cs typeface="メイリオ" panose="020B0604030504040204" pitchFamily="50" charset="-128"/>
              </a:rPr>
              <a:t>”e-Cool”</a:t>
            </a:r>
            <a:endParaRPr kumimoji="0" lang="ja-JP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  <p:sp>
        <p:nvSpPr>
          <p:cNvPr id="39" name="コンテンツ プレースホルダ 752"/>
          <p:cNvSpPr txBox="1">
            <a:spLocks/>
          </p:cNvSpPr>
          <p:nvPr/>
        </p:nvSpPr>
        <p:spPr bwMode="auto">
          <a:xfrm>
            <a:off x="3045234" y="1814061"/>
            <a:ext cx="694944" cy="12881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ja-JP" sz="900" b="0" dirty="0">
                <a:solidFill>
                  <a:srgbClr val="000000"/>
                </a:solidFill>
                <a:latin typeface="Meiryo UI"/>
                <a:ea typeface="Meiryo UI"/>
              </a:rPr>
              <a:t>Temp(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℃</a:t>
            </a: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)</a:t>
            </a:r>
          </a:p>
        </p:txBody>
      </p:sp>
      <p:sp>
        <p:nvSpPr>
          <p:cNvPr id="40" name="コンテンツ プレースホルダ 752"/>
          <p:cNvSpPr txBox="1">
            <a:spLocks/>
          </p:cNvSpPr>
          <p:nvPr/>
        </p:nvSpPr>
        <p:spPr bwMode="auto">
          <a:xfrm>
            <a:off x="9896720" y="3996000"/>
            <a:ext cx="481092" cy="128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900" b="0" dirty="0">
                <a:solidFill>
                  <a:srgbClr val="000000"/>
                </a:solidFill>
                <a:latin typeface="Meiryo UI"/>
                <a:ea typeface="Meiryo UI"/>
              </a:rPr>
              <a:t> </a:t>
            </a:r>
            <a:r>
              <a:rPr lang="en-US" altLang="ja-JP" sz="900" b="0" dirty="0">
                <a:solidFill>
                  <a:srgbClr val="000000"/>
                </a:solidFill>
                <a:latin typeface="Meiryo UI"/>
                <a:ea typeface="Meiryo UI"/>
              </a:rPr>
              <a:t>(h)</a:t>
            </a:r>
          </a:p>
        </p:txBody>
      </p:sp>
      <p:sp>
        <p:nvSpPr>
          <p:cNvPr id="41" name="楕円 40"/>
          <p:cNvSpPr/>
          <p:nvPr/>
        </p:nvSpPr>
        <p:spPr bwMode="auto">
          <a:xfrm>
            <a:off x="6280853" y="3920704"/>
            <a:ext cx="216000" cy="216000"/>
          </a:xfrm>
          <a:prstGeom prst="ellipse">
            <a:avLst/>
          </a:prstGeom>
          <a:noFill/>
          <a:ln w="28575">
            <a:solidFill>
              <a:srgbClr val="FFC000"/>
            </a:solidFill>
          </a:ln>
          <a:effectLst/>
        </p:spPr>
        <p:txBody>
          <a:bodyPr vert="horz" wrap="none" lIns="79200" tIns="39600" rIns="79200" bIns="396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8050">
              <a:spcBef>
                <a:spcPts val="0"/>
              </a:spcBef>
              <a:spcAft>
                <a:spcPts val="0"/>
              </a:spcAft>
              <a:buClr>
                <a:srgbClr val="DDDDDD"/>
              </a:buClr>
            </a:pPr>
            <a:endParaRPr lang="ja-JP" altLang="en-US" sz="1200" dirty="0">
              <a:latin typeface="Meiryo UI"/>
              <a:ea typeface="Meiryo UI"/>
            </a:endParaRPr>
          </a:p>
        </p:txBody>
      </p:sp>
      <p:sp>
        <p:nvSpPr>
          <p:cNvPr id="42" name="楕円 41"/>
          <p:cNvSpPr/>
          <p:nvPr/>
        </p:nvSpPr>
        <p:spPr bwMode="auto">
          <a:xfrm>
            <a:off x="8984845" y="3933889"/>
            <a:ext cx="216000" cy="216000"/>
          </a:xfrm>
          <a:prstGeom prst="ellipse">
            <a:avLst/>
          </a:prstGeom>
          <a:noFill/>
          <a:ln w="28575">
            <a:solidFill>
              <a:srgbClr val="0000FF"/>
            </a:solidFill>
          </a:ln>
          <a:effectLst/>
        </p:spPr>
        <p:txBody>
          <a:bodyPr vert="horz" wrap="none" lIns="79200" tIns="39600" rIns="79200" bIns="396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8050">
              <a:spcBef>
                <a:spcPts val="0"/>
              </a:spcBef>
              <a:spcAft>
                <a:spcPts val="0"/>
              </a:spcAft>
              <a:buClr>
                <a:srgbClr val="DDDDDD"/>
              </a:buClr>
            </a:pPr>
            <a:endParaRPr lang="ja-JP" altLang="en-US" sz="1200" dirty="0">
              <a:solidFill>
                <a:srgbClr val="0000FF"/>
              </a:solidFill>
              <a:latin typeface="Meiryo UI"/>
              <a:ea typeface="Meiryo UI"/>
            </a:endParaRPr>
          </a:p>
        </p:txBody>
      </p:sp>
      <p:sp>
        <p:nvSpPr>
          <p:cNvPr id="43" name="右矢印 42"/>
          <p:cNvSpPr/>
          <p:nvPr/>
        </p:nvSpPr>
        <p:spPr bwMode="auto">
          <a:xfrm rot="5400000">
            <a:off x="6210000" y="3564298"/>
            <a:ext cx="350958" cy="176945"/>
          </a:xfrm>
          <a:prstGeom prst="rightArrow">
            <a:avLst/>
          </a:prstGeom>
          <a:solidFill>
            <a:srgbClr val="FFC000"/>
          </a:solidFill>
          <a:ln>
            <a:solidFill>
              <a:srgbClr val="FF6600"/>
            </a:solidFill>
          </a:ln>
          <a:effectLst/>
        </p:spPr>
        <p:txBody>
          <a:bodyPr vert="horz" wrap="none" lIns="79200" tIns="39600" rIns="79200" bIns="396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/>
              <a:ea typeface="Meiryo UI"/>
            </a:endParaRPr>
          </a:p>
        </p:txBody>
      </p:sp>
      <p:sp>
        <p:nvSpPr>
          <p:cNvPr id="44" name="右矢印 43"/>
          <p:cNvSpPr/>
          <p:nvPr/>
        </p:nvSpPr>
        <p:spPr bwMode="auto">
          <a:xfrm rot="5400000">
            <a:off x="8916469" y="3574141"/>
            <a:ext cx="348045" cy="168357"/>
          </a:xfrm>
          <a:prstGeom prst="rightArrow">
            <a:avLst/>
          </a:prstGeom>
          <a:solidFill>
            <a:srgbClr val="D2DBFD">
              <a:lumMod val="50000"/>
            </a:srgbClr>
          </a:solidFill>
          <a:ln>
            <a:solidFill>
              <a:schemeClr val="accent2">
                <a:lumMod val="50000"/>
              </a:schemeClr>
            </a:solidFill>
          </a:ln>
          <a:effectLst/>
        </p:spPr>
        <p:txBody>
          <a:bodyPr vert="horz" wrap="none" lIns="79200" tIns="39600" rIns="79200" bIns="396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/>
              <a:ea typeface="Meiryo UI"/>
            </a:endParaRPr>
          </a:p>
        </p:txBody>
      </p:sp>
      <p:sp>
        <p:nvSpPr>
          <p:cNvPr id="45" name="テキスト ボックス 44"/>
          <p:cNvSpPr txBox="1"/>
          <p:nvPr/>
        </p:nvSpPr>
        <p:spPr>
          <a:xfrm>
            <a:off x="3446891" y="1878470"/>
            <a:ext cx="6602042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9388" indent="-179388" algn="ctr">
              <a:defRPr/>
            </a:pPr>
            <a:r>
              <a:rPr lang="en-US" altLang="ja-JP" sz="1100" dirty="0">
                <a:solidFill>
                  <a:schemeClr val="accent4"/>
                </a:solidFill>
                <a:latin typeface="Meiryo UI"/>
                <a:ea typeface="Meiryo UI"/>
              </a:rPr>
              <a:t>【E-Cool performance test result】</a:t>
            </a:r>
            <a:r>
              <a:rPr lang="ja-JP" altLang="en-US" sz="1100" dirty="0">
                <a:solidFill>
                  <a:schemeClr val="accent4"/>
                </a:solidFill>
                <a:latin typeface="Meiryo UI"/>
                <a:ea typeface="Meiryo UI"/>
              </a:rPr>
              <a:t>　</a:t>
            </a:r>
            <a:endParaRPr lang="en-US" altLang="ja-JP" sz="1100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46" name="テキスト ボックス 45"/>
          <p:cNvSpPr txBox="1"/>
          <p:nvPr/>
        </p:nvSpPr>
        <p:spPr bwMode="auto">
          <a:xfrm>
            <a:off x="3106801" y="3618354"/>
            <a:ext cx="445824" cy="26689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4296" tIns="52148" rIns="104296" bIns="52148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altLang="ja-JP" sz="1000" dirty="0">
                <a:solidFill>
                  <a:srgbClr val="00000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0</a:t>
            </a:r>
            <a:endParaRPr lang="ja-JP" altLang="en-US" sz="1000" dirty="0">
              <a:solidFill>
                <a:srgbClr val="000000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  <p:sp>
        <p:nvSpPr>
          <p:cNvPr id="47" name="コンテンツ プレースホルダ 752"/>
          <p:cNvSpPr txBox="1">
            <a:spLocks/>
          </p:cNvSpPr>
          <p:nvPr/>
        </p:nvSpPr>
        <p:spPr bwMode="auto">
          <a:xfrm>
            <a:off x="746742" y="4282272"/>
            <a:ext cx="6249282" cy="20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400" u="sng" dirty="0">
                <a:solidFill>
                  <a:srgbClr val="002060"/>
                </a:solidFill>
                <a:latin typeface="Meiryo UI"/>
                <a:ea typeface="Meiryo UI"/>
              </a:rPr>
              <a:t>■</a:t>
            </a:r>
            <a:r>
              <a:rPr lang="en-US" altLang="ja-JP" sz="1400" u="sng" dirty="0">
                <a:solidFill>
                  <a:srgbClr val="002060"/>
                </a:solidFill>
                <a:latin typeface="Meiryo UI"/>
                <a:ea typeface="Meiryo UI"/>
              </a:rPr>
              <a:t>Case study for total shipping cost reduction (NRT/PVG)</a:t>
            </a:r>
          </a:p>
        </p:txBody>
      </p:sp>
      <p:sp>
        <p:nvSpPr>
          <p:cNvPr id="48" name="テキスト ボックス 47"/>
          <p:cNvSpPr txBox="1"/>
          <p:nvPr/>
        </p:nvSpPr>
        <p:spPr>
          <a:xfrm>
            <a:off x="7901690" y="2727451"/>
            <a:ext cx="2413739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9388" indent="-179388" algn="ctr">
              <a:defRPr/>
            </a:pPr>
            <a:r>
              <a:rPr lang="en-US" altLang="ja-JP" sz="1200" dirty="0">
                <a:solidFill>
                  <a:srgbClr val="000000"/>
                </a:solidFill>
                <a:latin typeface="Meiryo UI"/>
                <a:ea typeface="Meiryo UI"/>
              </a:rPr>
              <a:t>e-Cool: more durable than Styrofoam</a:t>
            </a:r>
          </a:p>
          <a:p>
            <a:pPr marL="179388" indent="-179388" algn="ctr">
              <a:defRPr/>
            </a:pPr>
            <a:r>
              <a:rPr lang="en-US" altLang="ja-JP" sz="1200" dirty="0">
                <a:solidFill>
                  <a:srgbClr val="000000"/>
                </a:solidFill>
                <a:latin typeface="Meiryo UI"/>
                <a:ea typeface="Meiryo UI"/>
              </a:rPr>
              <a:t>(almost </a:t>
            </a:r>
            <a:r>
              <a:rPr lang="en-US" altLang="ja-JP" sz="1200" b="1" dirty="0">
                <a:solidFill>
                  <a:srgbClr val="000000"/>
                </a:solidFill>
                <a:latin typeface="Meiryo UI"/>
                <a:ea typeface="Meiryo UI"/>
              </a:rPr>
              <a:t>double!</a:t>
            </a:r>
            <a:r>
              <a:rPr lang="en-US" altLang="ja-JP" sz="1200" dirty="0">
                <a:solidFill>
                  <a:srgbClr val="000000"/>
                </a:solidFill>
                <a:latin typeface="Meiryo UI"/>
                <a:ea typeface="Meiryo UI"/>
              </a:rPr>
              <a:t>)</a:t>
            </a:r>
          </a:p>
        </p:txBody>
      </p:sp>
      <p:graphicFrame>
        <p:nvGraphicFramePr>
          <p:cNvPr id="49" name="グラフ 4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9489990"/>
              </p:ext>
            </p:extLst>
          </p:nvPr>
        </p:nvGraphicFramePr>
        <p:xfrm>
          <a:off x="1173907" y="4979960"/>
          <a:ext cx="2629695" cy="12425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0" name="コンテンツ プレースホルダ 752"/>
          <p:cNvSpPr txBox="1">
            <a:spLocks/>
          </p:cNvSpPr>
          <p:nvPr/>
        </p:nvSpPr>
        <p:spPr bwMode="auto">
          <a:xfrm>
            <a:off x="850415" y="4635861"/>
            <a:ext cx="3450353" cy="17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200" b="0" dirty="0">
                <a:solidFill>
                  <a:schemeClr val="accent4"/>
                </a:solidFill>
                <a:latin typeface="Meiryo UI"/>
                <a:ea typeface="Meiryo UI"/>
              </a:rPr>
              <a:t>　① </a:t>
            </a:r>
            <a:r>
              <a:rPr lang="en-US" altLang="ja-JP" sz="1200" b="0" dirty="0">
                <a:solidFill>
                  <a:schemeClr val="accent4"/>
                </a:solidFill>
                <a:latin typeface="Meiryo UI"/>
                <a:ea typeface="Meiryo UI"/>
              </a:rPr>
              <a:t>Air freight: Keep Cool</a:t>
            </a:r>
            <a:r>
              <a:rPr lang="ja-JP" altLang="en-US" sz="1200" b="0" dirty="0">
                <a:solidFill>
                  <a:schemeClr val="accent4"/>
                </a:solidFill>
                <a:latin typeface="Meiryo UI"/>
                <a:ea typeface="Meiryo UI"/>
              </a:rPr>
              <a:t>→</a:t>
            </a:r>
            <a:r>
              <a:rPr lang="en-US" altLang="ja-JP" sz="1200" b="0" dirty="0">
                <a:solidFill>
                  <a:schemeClr val="accent4"/>
                </a:solidFill>
                <a:latin typeface="Meiryo UI"/>
                <a:ea typeface="Meiryo UI"/>
              </a:rPr>
              <a:t>General*</a:t>
            </a:r>
          </a:p>
        </p:txBody>
      </p:sp>
      <p:sp>
        <p:nvSpPr>
          <p:cNvPr id="51" name="コンテンツ プレースホルダ 752"/>
          <p:cNvSpPr txBox="1">
            <a:spLocks/>
          </p:cNvSpPr>
          <p:nvPr/>
        </p:nvSpPr>
        <p:spPr bwMode="auto">
          <a:xfrm>
            <a:off x="4344953" y="4633085"/>
            <a:ext cx="2651071" cy="17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200" b="0" dirty="0">
                <a:solidFill>
                  <a:schemeClr val="accent4"/>
                </a:solidFill>
                <a:latin typeface="Meiryo UI"/>
                <a:ea typeface="Meiryo UI"/>
              </a:rPr>
              <a:t>　② </a:t>
            </a:r>
            <a:r>
              <a:rPr lang="en-US" altLang="ja-JP" sz="1200" b="0" dirty="0">
                <a:solidFill>
                  <a:schemeClr val="accent4"/>
                </a:solidFill>
                <a:latin typeface="Meiryo UI"/>
                <a:ea typeface="Meiryo UI"/>
              </a:rPr>
              <a:t>Refrigerant: less quantity</a:t>
            </a:r>
          </a:p>
        </p:txBody>
      </p:sp>
      <p:graphicFrame>
        <p:nvGraphicFramePr>
          <p:cNvPr id="52" name="グラフ 5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3369230"/>
              </p:ext>
            </p:extLst>
          </p:nvPr>
        </p:nvGraphicFramePr>
        <p:xfrm>
          <a:off x="4319244" y="4962417"/>
          <a:ext cx="2631600" cy="1197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53" name="直線コネクタ 52"/>
          <p:cNvCxnSpPr/>
          <p:nvPr/>
        </p:nvCxnSpPr>
        <p:spPr bwMode="auto">
          <a:xfrm>
            <a:off x="5242465" y="5364932"/>
            <a:ext cx="762834" cy="71437"/>
          </a:xfrm>
          <a:prstGeom prst="line">
            <a:avLst/>
          </a:prstGeom>
          <a:solidFill>
            <a:srgbClr val="5EA8DD"/>
          </a:solidFill>
          <a:ln>
            <a:solidFill>
              <a:srgbClr val="24246E"/>
            </a:solidFill>
            <a:prstDash val="dash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コンテンツ プレースホルダ 752"/>
          <p:cNvSpPr txBox="1">
            <a:spLocks/>
          </p:cNvSpPr>
          <p:nvPr/>
        </p:nvSpPr>
        <p:spPr bwMode="auto">
          <a:xfrm>
            <a:off x="7764957" y="4633085"/>
            <a:ext cx="2651071" cy="17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200" b="0" dirty="0">
                <a:solidFill>
                  <a:schemeClr val="accent4"/>
                </a:solidFill>
                <a:latin typeface="Meiryo UI"/>
                <a:ea typeface="Meiryo UI"/>
              </a:rPr>
              <a:t>　③</a:t>
            </a:r>
            <a:r>
              <a:rPr lang="en-US" altLang="ja-JP" sz="1200" b="0" dirty="0">
                <a:solidFill>
                  <a:schemeClr val="accent4"/>
                </a:solidFill>
                <a:latin typeface="Meiryo UI"/>
                <a:ea typeface="Meiryo UI"/>
              </a:rPr>
              <a:t>Additional work: No re-ice</a:t>
            </a:r>
          </a:p>
        </p:txBody>
      </p:sp>
      <p:graphicFrame>
        <p:nvGraphicFramePr>
          <p:cNvPr id="55" name="グラフ 5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8540334"/>
              </p:ext>
            </p:extLst>
          </p:nvPr>
        </p:nvGraphicFramePr>
        <p:xfrm>
          <a:off x="7391781" y="4962417"/>
          <a:ext cx="2694027" cy="1206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56" name="直線コネクタ 55"/>
          <p:cNvCxnSpPr/>
          <p:nvPr/>
        </p:nvCxnSpPr>
        <p:spPr bwMode="auto">
          <a:xfrm>
            <a:off x="8329326" y="5346359"/>
            <a:ext cx="754375" cy="103165"/>
          </a:xfrm>
          <a:prstGeom prst="line">
            <a:avLst/>
          </a:prstGeom>
          <a:solidFill>
            <a:srgbClr val="5EA8DD"/>
          </a:solidFill>
          <a:ln>
            <a:solidFill>
              <a:srgbClr val="24246E"/>
            </a:solidFill>
            <a:prstDash val="dash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角丸四角形 56"/>
          <p:cNvSpPr/>
          <p:nvPr/>
        </p:nvSpPr>
        <p:spPr bwMode="auto">
          <a:xfrm>
            <a:off x="4191040" y="4897253"/>
            <a:ext cx="2890568" cy="1316109"/>
          </a:xfrm>
          <a:prstGeom prst="roundRect">
            <a:avLst/>
          </a:prstGeom>
          <a:noFill/>
          <a:ln>
            <a:solidFill>
              <a:srgbClr val="24246E"/>
            </a:solidFill>
          </a:ln>
          <a:effectLst/>
        </p:spPr>
        <p:txBody>
          <a:bodyPr vert="horz" wrap="none" lIns="79200" tIns="39600" rIns="79200" bIns="396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/>
              <a:ea typeface="Meiryo UI"/>
            </a:endParaRPr>
          </a:p>
        </p:txBody>
      </p:sp>
      <p:sp>
        <p:nvSpPr>
          <p:cNvPr id="58" name="角丸四角形 57"/>
          <p:cNvSpPr/>
          <p:nvPr/>
        </p:nvSpPr>
        <p:spPr bwMode="auto">
          <a:xfrm>
            <a:off x="7324043" y="4897253"/>
            <a:ext cx="2824757" cy="1316109"/>
          </a:xfrm>
          <a:prstGeom prst="roundRect">
            <a:avLst/>
          </a:prstGeom>
          <a:noFill/>
          <a:ln>
            <a:solidFill>
              <a:srgbClr val="24246E"/>
            </a:solidFill>
          </a:ln>
          <a:effectLst/>
        </p:spPr>
        <p:txBody>
          <a:bodyPr vert="horz" wrap="none" lIns="79200" tIns="39600" rIns="79200" bIns="396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8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DDD"/>
              </a:buClr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/>
              <a:ea typeface="Meiryo UI"/>
            </a:endParaRPr>
          </a:p>
        </p:txBody>
      </p:sp>
      <p:sp>
        <p:nvSpPr>
          <p:cNvPr id="59" name="コンテンツ プレースホルダ 752"/>
          <p:cNvSpPr txBox="1">
            <a:spLocks/>
          </p:cNvSpPr>
          <p:nvPr/>
        </p:nvSpPr>
        <p:spPr bwMode="auto">
          <a:xfrm>
            <a:off x="839018" y="6786519"/>
            <a:ext cx="9309782" cy="15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100" b="0" dirty="0">
                <a:solidFill>
                  <a:schemeClr val="accent4"/>
                </a:solidFill>
                <a:latin typeface="Meiryo UI"/>
                <a:ea typeface="Meiryo UI"/>
              </a:rPr>
              <a:t>　</a:t>
            </a:r>
            <a:r>
              <a:rPr lang="en-US" altLang="ja-JP" sz="1100" b="0" dirty="0">
                <a:solidFill>
                  <a:schemeClr val="accent4"/>
                </a:solidFill>
                <a:latin typeface="Meiryo UI"/>
                <a:ea typeface="Meiryo UI"/>
              </a:rPr>
              <a:t>*General cargo and without dry ice</a:t>
            </a:r>
          </a:p>
        </p:txBody>
      </p:sp>
      <p:sp>
        <p:nvSpPr>
          <p:cNvPr id="60" name="テキスト ボックス 59"/>
          <p:cNvSpPr txBox="1"/>
          <p:nvPr/>
        </p:nvSpPr>
        <p:spPr bwMode="auto">
          <a:xfrm>
            <a:off x="2778761" y="5090340"/>
            <a:ext cx="996696" cy="274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4296" tIns="52148" rIns="104296" bIns="52148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altLang="ja-JP" sz="1100" u="sng" dirty="0">
                <a:solidFill>
                  <a:srgbClr val="00000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-50%</a:t>
            </a:r>
            <a:endParaRPr lang="ja-JP" altLang="en-US" sz="1100" u="sng" dirty="0">
              <a:solidFill>
                <a:srgbClr val="000000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  <p:sp>
        <p:nvSpPr>
          <p:cNvPr id="61" name="テキスト ボックス 60"/>
          <p:cNvSpPr txBox="1"/>
          <p:nvPr/>
        </p:nvSpPr>
        <p:spPr bwMode="auto">
          <a:xfrm>
            <a:off x="5954148" y="5090340"/>
            <a:ext cx="996696" cy="274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4296" tIns="52148" rIns="104296" bIns="52148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altLang="ja-JP" sz="1100" u="sng" dirty="0">
                <a:solidFill>
                  <a:srgbClr val="00000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-10%</a:t>
            </a:r>
            <a:endParaRPr lang="ja-JP" altLang="en-US" sz="1100" u="sng" dirty="0">
              <a:solidFill>
                <a:srgbClr val="000000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  <p:sp>
        <p:nvSpPr>
          <p:cNvPr id="62" name="テキスト ボックス 61"/>
          <p:cNvSpPr txBox="1"/>
          <p:nvPr/>
        </p:nvSpPr>
        <p:spPr bwMode="auto">
          <a:xfrm>
            <a:off x="9032628" y="5090340"/>
            <a:ext cx="996696" cy="274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4296" tIns="52148" rIns="104296" bIns="52148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altLang="ja-JP" sz="1100" u="sng" dirty="0">
                <a:solidFill>
                  <a:srgbClr val="00000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-30%</a:t>
            </a:r>
            <a:endParaRPr lang="ja-JP" altLang="en-US" sz="1100" u="sng" dirty="0">
              <a:solidFill>
                <a:srgbClr val="000000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  <p:sp>
        <p:nvSpPr>
          <p:cNvPr id="63" name="コンテンツ プレースホルダ 752"/>
          <p:cNvSpPr txBox="1">
            <a:spLocks/>
          </p:cNvSpPr>
          <p:nvPr/>
        </p:nvSpPr>
        <p:spPr bwMode="auto">
          <a:xfrm>
            <a:off x="765866" y="6370877"/>
            <a:ext cx="9558722" cy="20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400" dirty="0">
                <a:solidFill>
                  <a:schemeClr val="accent4"/>
                </a:solidFill>
                <a:latin typeface="Meiryo UI"/>
                <a:ea typeface="Meiryo UI"/>
              </a:rPr>
              <a:t>　</a:t>
            </a:r>
            <a:r>
              <a:rPr lang="ja-JP" altLang="en-US" sz="1400" b="0" dirty="0">
                <a:solidFill>
                  <a:schemeClr val="accent4"/>
                </a:solidFill>
                <a:latin typeface="Meiryo UI"/>
                <a:ea typeface="Meiryo UI"/>
              </a:rPr>
              <a:t>⇒ </a:t>
            </a:r>
            <a:r>
              <a:rPr lang="en-US" altLang="ja-JP" sz="1400" dirty="0">
                <a:solidFill>
                  <a:schemeClr val="accent4"/>
                </a:solidFill>
                <a:latin typeface="Meiryo UI"/>
                <a:ea typeface="Meiryo UI"/>
              </a:rPr>
              <a:t>40% reduction </a:t>
            </a:r>
            <a:r>
              <a:rPr lang="en-US" altLang="ja-JP" sz="1400" b="0" dirty="0">
                <a:solidFill>
                  <a:schemeClr val="accent4"/>
                </a:solidFill>
                <a:latin typeface="Meiryo UI"/>
                <a:ea typeface="Meiryo UI"/>
              </a:rPr>
              <a:t>in total shipping cost by</a:t>
            </a:r>
          </a:p>
        </p:txBody>
      </p:sp>
      <p:sp>
        <p:nvSpPr>
          <p:cNvPr id="36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4" name="タイトル 34"/>
          <p:cNvSpPr txBox="1">
            <a:spLocks/>
          </p:cNvSpPr>
          <p:nvPr/>
        </p:nvSpPr>
        <p:spPr bwMode="auto">
          <a:xfrm>
            <a:off x="603709" y="106465"/>
            <a:ext cx="7118808" cy="81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0" rIns="0" bIns="0" numCol="1" anchor="b" anchorCtr="0" compatLnSpc="1">
            <a:prstTxWarp prst="textNoShape">
              <a:avLst/>
            </a:prstTxWarp>
          </a:bodyPr>
          <a:lstStyle>
            <a:lvl1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501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43973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87947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131920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175894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pPr lvl="0">
              <a:defRPr/>
            </a:pPr>
            <a:r>
              <a:rPr lang="en-US" altLang="ja-JP" sz="1731" kern="0" dirty="0">
                <a:solidFill>
                  <a:srgbClr val="002060"/>
                </a:solidFill>
              </a:rPr>
              <a:t>Ⅲ. Our service</a:t>
            </a:r>
            <a:br>
              <a:rPr lang="en-US" altLang="ja-JP" sz="1731" kern="0" dirty="0">
                <a:solidFill>
                  <a:srgbClr val="002060"/>
                </a:solidFill>
              </a:rPr>
            </a:br>
            <a:r>
              <a:rPr kumimoji="1" lang="ja-JP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  </a:t>
            </a:r>
            <a:r>
              <a:rPr kumimoji="1" lang="en-US" altLang="ja-JP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3. Temperature</a:t>
            </a:r>
            <a:r>
              <a:rPr kumimoji="1" lang="en-US" altLang="ja-JP" sz="2400" b="1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 controlled cargo</a:t>
            </a:r>
            <a:endParaRPr kumimoji="1" lang="ja-JP" altLang="en-US" sz="2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j-cs"/>
            </a:endParaRPr>
          </a:p>
        </p:txBody>
      </p:sp>
      <p:sp>
        <p:nvSpPr>
          <p:cNvPr id="2" name="テキスト ボックス 1"/>
          <p:cNvSpPr txBox="1"/>
          <p:nvPr/>
        </p:nvSpPr>
        <p:spPr>
          <a:xfrm>
            <a:off x="1611306" y="5881456"/>
            <a:ext cx="655519" cy="2308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ja-JP" sz="9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urrent</a:t>
            </a:r>
            <a:endParaRPr kumimoji="1" lang="ja-JP" altLang="en-US" sz="9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6" name="テキスト ボックス 65"/>
          <p:cNvSpPr txBox="1"/>
          <p:nvPr/>
        </p:nvSpPr>
        <p:spPr>
          <a:xfrm>
            <a:off x="4752187" y="5916996"/>
            <a:ext cx="655519" cy="2308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ja-JP" sz="9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urrent</a:t>
            </a:r>
            <a:endParaRPr kumimoji="1" lang="ja-JP" altLang="en-US" sz="9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7" name="テキスト ボックス 66"/>
          <p:cNvSpPr txBox="1"/>
          <p:nvPr/>
        </p:nvSpPr>
        <p:spPr>
          <a:xfrm>
            <a:off x="7863369" y="5917824"/>
            <a:ext cx="655519" cy="2308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ja-JP" sz="9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urrent</a:t>
            </a:r>
            <a:endParaRPr kumimoji="1" lang="ja-JP" altLang="en-US" sz="9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62527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正方形/長方形 11"/>
          <p:cNvSpPr>
            <a:spLocks noChangeArrowheads="1"/>
          </p:cNvSpPr>
          <p:nvPr/>
        </p:nvSpPr>
        <p:spPr bwMode="auto">
          <a:xfrm>
            <a:off x="768233" y="1702233"/>
            <a:ext cx="3122431" cy="80881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lIns="104306" tIns="52153" rIns="104306" bIns="52153" anchor="b"/>
          <a:lstStyle>
            <a:lvl1pPr eaLnBrk="0" hangingPunct="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1pPr>
            <a:lvl2pPr marL="742950" indent="-285750" eaLnBrk="0" hangingPunct="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2pPr>
            <a:lvl3pPr marL="1143000" indent="-228600" eaLnBrk="0" hangingPunct="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3pPr>
            <a:lvl4pPr marL="1600200" indent="-228600" eaLnBrk="0" hangingPunct="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kern="0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 </a:t>
            </a:r>
            <a:r>
              <a:rPr lang="en-US" altLang="ja-JP" sz="1100" kern="0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Packing supports according to IATA DG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100" kern="0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  Regulation and item(s)</a:t>
            </a:r>
          </a:p>
        </p:txBody>
      </p:sp>
      <p:sp>
        <p:nvSpPr>
          <p:cNvPr id="23" name="正方形/長方形 11"/>
          <p:cNvSpPr>
            <a:spLocks noChangeArrowheads="1"/>
          </p:cNvSpPr>
          <p:nvPr/>
        </p:nvSpPr>
        <p:spPr bwMode="auto">
          <a:xfrm>
            <a:off x="4253127" y="1702233"/>
            <a:ext cx="2704305" cy="80881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lIns="104306" tIns="52153" rIns="104306" bIns="52153" anchor="b"/>
          <a:lstStyle>
            <a:lvl1pPr eaLnBrk="0" hangingPunct="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1pPr>
            <a:lvl2pPr marL="742950" indent="-285750" eaLnBrk="0" hangingPunct="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2pPr>
            <a:lvl3pPr marL="1143000" indent="-228600" eaLnBrk="0" hangingPunct="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3pPr>
            <a:lvl4pPr marL="1600200" indent="-228600" eaLnBrk="0" hangingPunct="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Documentation, Marking &amp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100" kern="0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</a:t>
            </a: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Labeling</a:t>
            </a:r>
            <a:endParaRPr kumimoji="1" lang="ja-JP" altLang="en-US" sz="11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2" name="正方形/長方形 11"/>
          <p:cNvSpPr>
            <a:spLocks noChangeArrowheads="1"/>
          </p:cNvSpPr>
          <p:nvPr/>
        </p:nvSpPr>
        <p:spPr bwMode="auto">
          <a:xfrm>
            <a:off x="7306400" y="1702233"/>
            <a:ext cx="2846387" cy="80881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lIns="104306" tIns="52153" rIns="104306" bIns="52153" anchor="b"/>
          <a:lstStyle>
            <a:lvl1pPr eaLnBrk="0" hangingPunct="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1pPr>
            <a:lvl2pPr marL="742950" indent="-285750" eaLnBrk="0" hangingPunct="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2pPr>
            <a:lvl3pPr marL="1143000" indent="-228600" eaLnBrk="0" hangingPunct="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3pPr>
            <a:lvl4pPr marL="1600200" indent="-228600" eaLnBrk="0" hangingPunct="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100" b="0" i="0" u="none" strike="noStrike" kern="0" cap="none" spc="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</a:t>
            </a: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Wholesale</a:t>
            </a:r>
            <a:r>
              <a:rPr kumimoji="1" lang="en-US" altLang="ja-JP" sz="1100" b="0" i="0" u="none" strike="noStrike" kern="0" cap="none" spc="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of UN Carton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0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" name="コンテンツ プレースホルダ 752"/>
          <p:cNvSpPr txBox="1">
            <a:spLocks/>
          </p:cNvSpPr>
          <p:nvPr/>
        </p:nvSpPr>
        <p:spPr bwMode="auto">
          <a:xfrm>
            <a:off x="834284" y="1083279"/>
            <a:ext cx="9543528" cy="257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79470">
              <a:spcBef>
                <a:spcPts val="26"/>
              </a:spcBef>
            </a:pPr>
            <a:r>
              <a:rPr lang="en-US" altLang="ja-JP" sz="1800" dirty="0">
                <a:solidFill>
                  <a:schemeClr val="accent4"/>
                </a:solidFill>
                <a:latin typeface="Meiryo UI"/>
                <a:ea typeface="Meiryo UI"/>
              </a:rPr>
              <a:t>Consult proper packaging, labeling and documentation</a:t>
            </a:r>
            <a:endParaRPr lang="ja-JP" altLang="en-US" sz="1800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21" name="角丸四角形 55"/>
          <p:cNvSpPr>
            <a:spLocks noChangeArrowheads="1"/>
          </p:cNvSpPr>
          <p:nvPr/>
        </p:nvSpPr>
        <p:spPr bwMode="auto">
          <a:xfrm>
            <a:off x="4253127" y="1697207"/>
            <a:ext cx="2717800" cy="422275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04306" tIns="52153" rIns="104306" bIns="52153"/>
          <a:lstStyle>
            <a:lvl1pPr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>
              <a:spcAft>
                <a:spcPct val="0"/>
              </a:spcAft>
              <a:buClrTx/>
              <a:buFontTx/>
              <a:buNone/>
            </a:pPr>
            <a:r>
              <a:rPr lang="en-US" altLang="ja-JP" sz="1600" b="1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Marking/Labelling</a:t>
            </a:r>
            <a:endParaRPr lang="ja-JP" altLang="en-US" sz="1600" b="1" dirty="0">
              <a:solidFill>
                <a:schemeClr val="accent4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22" name="Picture 5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2944" y="3812020"/>
            <a:ext cx="1957388" cy="284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角丸四角形 51"/>
          <p:cNvSpPr>
            <a:spLocks noChangeArrowheads="1"/>
          </p:cNvSpPr>
          <p:nvPr/>
        </p:nvSpPr>
        <p:spPr bwMode="auto">
          <a:xfrm>
            <a:off x="799891" y="1702233"/>
            <a:ext cx="3059113" cy="434975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04306" tIns="52153" rIns="104306" bIns="52153"/>
          <a:lstStyle>
            <a:lvl1pPr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>
              <a:spcAft>
                <a:spcPct val="0"/>
              </a:spcAft>
              <a:buClrTx/>
              <a:buFontTx/>
              <a:buNone/>
            </a:pPr>
            <a:r>
              <a:rPr lang="en-US" altLang="ja-JP" sz="1600" b="1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Variety of packaging</a:t>
            </a:r>
            <a:endParaRPr lang="ja-JP" altLang="en-US" sz="1600" b="1" dirty="0">
              <a:solidFill>
                <a:schemeClr val="accent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25" name="Object 116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79657786"/>
              </p:ext>
            </p:extLst>
          </p:nvPr>
        </p:nvGraphicFramePr>
        <p:xfrm>
          <a:off x="6055419" y="2770361"/>
          <a:ext cx="808038" cy="858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hoto Editor Photo" r:id="rId3" imgW="2295238" imgH="2295238" progId="MSPhotoEd.3">
                  <p:embed/>
                </p:oleObj>
              </mc:Choice>
              <mc:Fallback>
                <p:oleObj name="Photo Editor Photo" r:id="rId3" imgW="2295238" imgH="2295238" progId="MSPhotoEd.3">
                  <p:embed/>
                  <p:pic>
                    <p:nvPicPr>
                      <p:cNvPr id="46087" name="Object 11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55419" y="2770361"/>
                        <a:ext cx="808038" cy="8588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172" descr="C:\Documents and Settings\k-watanabe\Local Settings\Temp\B2Temp\Attach\image006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0282" y="2789411"/>
            <a:ext cx="889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7" name="オブジェクト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3464648"/>
              </p:ext>
            </p:extLst>
          </p:nvPr>
        </p:nvGraphicFramePr>
        <p:xfrm>
          <a:off x="5228332" y="2781474"/>
          <a:ext cx="809625" cy="7794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ビットマップ イメージ" r:id="rId6" imgW="1848108" imgH="1838095" progId="PBrush">
                  <p:embed/>
                </p:oleObj>
              </mc:Choice>
              <mc:Fallback>
                <p:oleObj name="ビットマップ イメージ" r:id="rId6" imgW="1848108" imgH="1838095" progId="PBrush">
                  <p:embed/>
                  <p:pic>
                    <p:nvPicPr>
                      <p:cNvPr id="46089" name="オブジェクト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8332" y="2781474"/>
                        <a:ext cx="809625" cy="7794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8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91" t="6407" r="24655" b="3635"/>
          <a:stretch>
            <a:fillRect/>
          </a:stretch>
        </p:blipFill>
        <p:spPr bwMode="auto">
          <a:xfrm>
            <a:off x="2893895" y="2788083"/>
            <a:ext cx="1008063" cy="1376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角丸四角形 55"/>
          <p:cNvSpPr>
            <a:spLocks noChangeArrowheads="1"/>
          </p:cNvSpPr>
          <p:nvPr/>
        </p:nvSpPr>
        <p:spPr bwMode="auto">
          <a:xfrm>
            <a:off x="7241311" y="1693501"/>
            <a:ext cx="2976563" cy="452437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04306" tIns="52153" rIns="104306" bIns="52153"/>
          <a:lstStyle>
            <a:lvl1pPr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1pPr>
            <a:lvl2pPr marL="742950" indent="-2857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2pPr>
            <a:lvl3pPr marL="1143000" indent="-22860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3pPr>
            <a:lvl4pPr marL="1600200" indent="-22860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50" charset="-128"/>
                <a:ea typeface="HG丸ｺﾞｼｯｸM-PRO" panose="020F0600000000000000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>
              <a:spcAft>
                <a:spcPct val="0"/>
              </a:spcAft>
              <a:buClrTx/>
              <a:buFontTx/>
              <a:buNone/>
            </a:pPr>
            <a:r>
              <a:rPr lang="en-US" altLang="ja-JP" sz="1600" b="1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N Carton</a:t>
            </a:r>
            <a:r>
              <a:rPr lang="ja-JP" altLang="en-US" sz="1600" b="1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</a:t>
            </a:r>
            <a:r>
              <a:rPr lang="en-US" altLang="ja-JP" sz="1600" b="1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ales</a:t>
            </a:r>
            <a:endParaRPr lang="ja-JP" altLang="en-US" sz="1600" b="1" dirty="0">
              <a:solidFill>
                <a:schemeClr val="accent4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30" name="Picture 88" descr="\\Srvusers\users\輸出営業部【最新版】\輸出営業部共通\梱包写真集\DSCF0024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88" t="20995" r="6345" b="16505"/>
          <a:stretch>
            <a:fillRect/>
          </a:stretch>
        </p:blipFill>
        <p:spPr bwMode="auto">
          <a:xfrm>
            <a:off x="768233" y="2788083"/>
            <a:ext cx="2048739" cy="1376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6399" y="2835708"/>
            <a:ext cx="2846388" cy="382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図 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233" y="4227945"/>
            <a:ext cx="3133725" cy="243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0" name="タイトル 34"/>
          <p:cNvSpPr txBox="1">
            <a:spLocks/>
          </p:cNvSpPr>
          <p:nvPr/>
        </p:nvSpPr>
        <p:spPr bwMode="auto">
          <a:xfrm>
            <a:off x="603709" y="106465"/>
            <a:ext cx="7118808" cy="81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0" rIns="0" bIns="0" numCol="1" anchor="b" anchorCtr="0" compatLnSpc="1">
            <a:prstTxWarp prst="textNoShape">
              <a:avLst/>
            </a:prstTxWarp>
          </a:bodyPr>
          <a:lstStyle>
            <a:lvl1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501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43973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87947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131920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175894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pPr lvl="0">
              <a:defRPr/>
            </a:pPr>
            <a:r>
              <a:rPr kumimoji="1" lang="en-US" altLang="ja-JP" sz="1731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Ⅲ. </a:t>
            </a:r>
            <a:r>
              <a:rPr lang="en-US" altLang="ja-JP" sz="1731" kern="0" dirty="0">
                <a:solidFill>
                  <a:srgbClr val="002060"/>
                </a:solidFill>
              </a:rPr>
              <a:t>Our service</a:t>
            </a:r>
            <a:br>
              <a:rPr lang="en-US" altLang="ja-JP" sz="1731" kern="0" dirty="0">
                <a:solidFill>
                  <a:srgbClr val="002060"/>
                </a:solidFill>
              </a:rPr>
            </a:br>
            <a:r>
              <a:rPr kumimoji="1" lang="ja-JP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  </a:t>
            </a:r>
            <a:r>
              <a:rPr kumimoji="1" lang="en-US" altLang="ja-JP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4. Dangerous Goods</a:t>
            </a:r>
            <a:endParaRPr kumimoji="1" lang="ja-JP" altLang="en-US" sz="2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167314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ja-JP" dirty="0">
                <a:solidFill>
                  <a:schemeClr val="tx1"/>
                </a:solidFill>
              </a:rPr>
            </a:br>
            <a:r>
              <a:rPr lang="en-US" altLang="ja-JP" dirty="0">
                <a:solidFill>
                  <a:schemeClr val="tx1"/>
                </a:solidFill>
              </a:rPr>
              <a:t>Contents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32" name="タイトル 1"/>
          <p:cNvSpPr txBox="1">
            <a:spLocks/>
          </p:cNvSpPr>
          <p:nvPr/>
        </p:nvSpPr>
        <p:spPr bwMode="auto">
          <a:xfrm>
            <a:off x="785252" y="1119908"/>
            <a:ext cx="9447108" cy="418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0" rIns="0" bIns="0" numCol="1" anchor="t" anchorCtr="0" compatLnSpc="1">
            <a:prstTxWarp prst="textNoShape">
              <a:avLst/>
            </a:prstTxWarp>
          </a:bodyPr>
          <a:lstStyle>
            <a:lvl1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501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43973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87947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131920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175894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br>
              <a:rPr lang="en-US" altLang="ja-JP" sz="2000" kern="0" dirty="0">
                <a:solidFill>
                  <a:schemeClr val="tx1"/>
                </a:solidFill>
              </a:rPr>
            </a:br>
            <a:r>
              <a:rPr lang="en-US" altLang="ja-JP" sz="2000" kern="0" dirty="0">
                <a:solidFill>
                  <a:schemeClr val="tx1"/>
                </a:solidFill>
              </a:rPr>
              <a:t>Ⅰ. Introduction of MITSUI-SOKO Group			</a:t>
            </a:r>
            <a:r>
              <a:rPr lang="ja-JP" altLang="en-US" sz="2000" kern="0" dirty="0">
                <a:solidFill>
                  <a:schemeClr val="tx1"/>
                </a:solidFill>
              </a:rPr>
              <a:t>　　 </a:t>
            </a:r>
            <a:r>
              <a:rPr lang="en-US" altLang="ja-JP" sz="2000" kern="0" dirty="0">
                <a:solidFill>
                  <a:schemeClr val="tx1"/>
                </a:solidFill>
              </a:rPr>
              <a:t>P.  2</a:t>
            </a:r>
          </a:p>
          <a:p>
            <a:endParaRPr lang="en-US" altLang="ja-JP" sz="2000" kern="0" dirty="0">
              <a:solidFill>
                <a:schemeClr val="tx1"/>
              </a:solidFill>
            </a:endParaRPr>
          </a:p>
          <a:p>
            <a:r>
              <a:rPr lang="en-US" altLang="ja-JP" sz="2000" kern="0" dirty="0">
                <a:solidFill>
                  <a:schemeClr val="tx1"/>
                </a:solidFill>
              </a:rPr>
              <a:t>Ⅱ. Introduction of MITSUI-SOKO EXPRESS			</a:t>
            </a:r>
            <a:r>
              <a:rPr lang="ja-JP" altLang="en-US" sz="2000" kern="0" dirty="0">
                <a:solidFill>
                  <a:schemeClr val="tx1"/>
                </a:solidFill>
              </a:rPr>
              <a:t>　　 </a:t>
            </a:r>
            <a:r>
              <a:rPr lang="en-US" altLang="ja-JP" sz="2000" kern="0" dirty="0">
                <a:solidFill>
                  <a:schemeClr val="tx1"/>
                </a:solidFill>
              </a:rPr>
              <a:t>P.  9</a:t>
            </a:r>
          </a:p>
          <a:p>
            <a:endParaRPr lang="en-US" altLang="ja-JP" sz="2000" kern="0" dirty="0">
              <a:solidFill>
                <a:schemeClr val="tx1"/>
              </a:solidFill>
            </a:endParaRPr>
          </a:p>
          <a:p>
            <a:r>
              <a:rPr lang="en-US" altLang="ja-JP" sz="2000" kern="0" dirty="0">
                <a:solidFill>
                  <a:schemeClr val="tx1"/>
                </a:solidFill>
              </a:rPr>
              <a:t>Ⅲ. Our service      					</a:t>
            </a:r>
            <a:r>
              <a:rPr lang="ja-JP" altLang="en-US" sz="2000" kern="0" dirty="0">
                <a:solidFill>
                  <a:schemeClr val="tx1"/>
                </a:solidFill>
              </a:rPr>
              <a:t>　　                      </a:t>
            </a:r>
            <a:r>
              <a:rPr lang="en-US" altLang="ja-JP" sz="2000" kern="0" dirty="0">
                <a:solidFill>
                  <a:schemeClr val="tx1"/>
                </a:solidFill>
              </a:rPr>
              <a:t>P.14</a:t>
            </a:r>
          </a:p>
          <a:p>
            <a:endParaRPr lang="en-US" altLang="ja-JP" sz="2000" kern="0" dirty="0">
              <a:solidFill>
                <a:schemeClr val="tx1"/>
              </a:solidFill>
            </a:endParaRPr>
          </a:p>
          <a:p>
            <a:endParaRPr lang="en-US" altLang="ja-JP" sz="2000" kern="0" dirty="0">
              <a:solidFill>
                <a:schemeClr val="tx1"/>
              </a:solidFill>
            </a:endParaRPr>
          </a:p>
          <a:p>
            <a:endParaRPr lang="ja-JP" altLang="en-US" sz="2000" kern="0" dirty="0">
              <a:solidFill>
                <a:schemeClr val="tx1"/>
              </a:solidFill>
            </a:endParaRPr>
          </a:p>
        </p:txBody>
      </p:sp>
      <p:sp>
        <p:nvSpPr>
          <p:cNvPr id="4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57600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Rectangle 2"/>
          <p:cNvSpPr>
            <a:spLocks noGrp="1" noChangeArrowheads="1"/>
          </p:cNvSpPr>
          <p:nvPr>
            <p:ph type="title"/>
          </p:nvPr>
        </p:nvSpPr>
        <p:spPr>
          <a:xfrm>
            <a:off x="595142" y="122249"/>
            <a:ext cx="9748837" cy="798512"/>
          </a:xfrm>
        </p:spPr>
        <p:txBody>
          <a:bodyPr/>
          <a:lstStyle/>
          <a:p>
            <a:pPr eaLnBrk="1" hangingPunct="1"/>
            <a:r>
              <a:rPr lang="en-US" altLang="ja-JP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End of File</a:t>
            </a:r>
            <a:endParaRPr lang="ja-JP" altLang="en-US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3" name="Picture 30" descr="_MITSUISOKO_GROUP_A-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11827" y="3227498"/>
            <a:ext cx="7781643" cy="104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テキスト ボックス 3"/>
          <p:cNvSpPr txBox="1"/>
          <p:nvPr/>
        </p:nvSpPr>
        <p:spPr bwMode="auto">
          <a:xfrm>
            <a:off x="3791855" y="3118104"/>
            <a:ext cx="3858768" cy="4130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104296" tIns="52148" rIns="104296" bIns="52148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kumimoji="1" lang="ja-JP" altLang="en-US" sz="2000" b="1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メイリオ" panose="020B0604030504040204" pitchFamily="50" charset="-128"/>
              </a:rPr>
              <a:t>物流から価値を。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テキスト ボックス 9"/>
          <p:cNvSpPr txBox="1"/>
          <p:nvPr/>
        </p:nvSpPr>
        <p:spPr>
          <a:xfrm>
            <a:off x="583200" y="3379733"/>
            <a:ext cx="9820800" cy="661481"/>
          </a:xfrm>
          <a:prstGeom prst="rect">
            <a:avLst/>
          </a:prstGeom>
          <a:solidFill>
            <a:srgbClr val="5EA8DD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ja-JP" sz="24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Ⅰ. </a:t>
            </a:r>
            <a:r>
              <a:rPr lang="en-US" altLang="ja-JP" sz="24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Introduction of MITSUI-SOKO Group</a:t>
            </a:r>
            <a:endParaRPr kumimoji="1" lang="en-US" altLang="ja-JP" sz="24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28325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Group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2806336"/>
              </p:ext>
            </p:extLst>
          </p:nvPr>
        </p:nvGraphicFramePr>
        <p:xfrm>
          <a:off x="907376" y="1478430"/>
          <a:ext cx="9084484" cy="5132113"/>
        </p:xfrm>
        <a:graphic>
          <a:graphicData uri="http://schemas.openxmlformats.org/drawingml/2006/table">
            <a:tbl>
              <a:tblPr/>
              <a:tblGrid>
                <a:gridCol w="20411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433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0988"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Name</a:t>
                      </a:r>
                      <a:r>
                        <a:rPr kumimoji="0" lang="ja-JP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MITSUI-SOKO HOLDINGS Co., Ltd.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9400"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Headquarters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3-20-1 Nishi-</a:t>
                      </a:r>
                      <a:r>
                        <a:rPr kumimoji="0" lang="en-US" altLang="ja-JP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Shimbashi</a:t>
                      </a: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, Minato-ku, Tokyo,105-0003,Japan</a:t>
                      </a:r>
                      <a:r>
                        <a:rPr kumimoji="0" lang="ja-JP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  </a:t>
                      </a: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988"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Representative</a:t>
                      </a:r>
                      <a:r>
                        <a:rPr kumimoji="0" lang="ja-JP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President &amp; CEO </a:t>
                      </a:r>
                      <a:r>
                        <a:rPr kumimoji="0" lang="en-US" altLang="ja-JP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Hirobumi</a:t>
                      </a: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 Koga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9400"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Capital stock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1pPr>
                      <a:lvl2pPr marL="439735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2pPr>
                      <a:lvl3pPr marL="879470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3pPr>
                      <a:lvl4pPr marL="1319205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4pPr>
                      <a:lvl5pPr marL="1758940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5pPr>
                      <a:lvl6pPr marL="2198675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6pPr>
                      <a:lvl7pPr marL="2638410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7pPr>
                      <a:lvl8pPr marL="3078145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8pPr>
                      <a:lvl9pPr marL="3517880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9pPr>
                    </a:lstStyle>
                    <a:p>
                      <a:pPr marL="0" marR="0" indent="0" algn="l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TW" sz="1100" b="0" i="0" u="none" strike="noStrike" kern="1200" baseline="0" dirty="0">
                          <a:solidFill>
                            <a:schemeClr val="accent4"/>
                          </a:solidFill>
                          <a:latin typeface="+mn-ea"/>
                          <a:ea typeface="+mn-ea"/>
                        </a:rPr>
                        <a:t>11.1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accent4"/>
                          </a:solidFill>
                          <a:latin typeface="+mn-ea"/>
                          <a:ea typeface="+mn-ea"/>
                        </a:rPr>
                        <a:t>　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accent4"/>
                          </a:solidFill>
                          <a:latin typeface="+mn-ea"/>
                          <a:ea typeface="+mn-ea"/>
                        </a:rPr>
                        <a:t>Billion Yen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accent4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accent4"/>
                          </a:solidFill>
                          <a:latin typeface="+mn-ea"/>
                          <a:ea typeface="+mn-ea"/>
                        </a:rPr>
                        <a:t>(as of March, 2021)</a:t>
                      </a:r>
                      <a:endParaRPr lang="zh-TW" altLang="en-US" sz="2300" b="0" i="0" u="none" strike="noStrike" dirty="0">
                        <a:solidFill>
                          <a:schemeClr val="accent4"/>
                        </a:solidFill>
                        <a:latin typeface="+mn-ea"/>
                        <a:ea typeface="+mn-ea"/>
                      </a:endParaRPr>
                    </a:p>
                  </a:txBody>
                  <a:tcPr marL="84526" marR="84526" marT="42263" marB="4226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0988"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Consolidated number of employees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1pPr>
                      <a:lvl2pPr marL="439735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2pPr>
                      <a:lvl3pPr marL="879470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3pPr>
                      <a:lvl4pPr marL="1319205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4pPr>
                      <a:lvl5pPr marL="1758940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5pPr>
                      <a:lvl6pPr marL="2198675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6pPr>
                      <a:lvl7pPr marL="2638410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7pPr>
                      <a:lvl8pPr marL="3078145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8pPr>
                      <a:lvl9pPr marL="3517880" algn="l" defTabSz="879470" rtl="0" eaLnBrk="1" latinLnBrk="0" hangingPunct="1">
                        <a:defRPr kumimoji="1" sz="1731" kern="12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defRPr>
                      </a:lvl9pPr>
                    </a:lstStyle>
                    <a:p>
                      <a:pPr marL="0" marR="0" indent="0" algn="l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TW" sz="1100" b="0" i="0" u="none" strike="noStrike" kern="1200" baseline="0" dirty="0">
                          <a:solidFill>
                            <a:schemeClr val="accent4"/>
                          </a:solidFill>
                          <a:latin typeface="+mn-ea"/>
                          <a:ea typeface="+mn-ea"/>
                        </a:rPr>
                        <a:t>8,502 (as of March 31, 2021)</a:t>
                      </a:r>
                      <a:endParaRPr lang="zh-TW" altLang="en-US" sz="2300" b="0" i="0" u="none" strike="noStrike" dirty="0">
                        <a:solidFill>
                          <a:schemeClr val="accent4"/>
                        </a:solidFill>
                        <a:latin typeface="+mn-ea"/>
                        <a:ea typeface="+mn-ea"/>
                      </a:endParaRPr>
                    </a:p>
                  </a:txBody>
                  <a:tcPr marL="84526" marR="84526" marT="42263" marB="4226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0988"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Established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October 11, 1909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88963"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ain business areas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ja-JP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・</a:t>
                      </a: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Developing group-wide management strategies and overseeing their implementation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ja-JP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・</a:t>
                      </a: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Real Estate Business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841375"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Domestic offices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Hokkaido, Aomori, Akita, Miyagi, Fukushima, Tochigi, Gunma, Ibaraki, Saitama, Chiba, Tokyo, Kanagawa, Nagano, Shizuoka, Aichi, Mie, Gifu, Ishikawa, Fukui, Osaka, Hyogo, Wakayama, Okayama, Hiroshima, Tottori, Shimane, Yamaguchi, Kagawa, Ehime, Tokushima, Kochi, Fukuoka, Oita, Nagasaki, Kumamoto, Kagoshima and Okinawa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006475"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Overseas offices</a:t>
                      </a: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America, Canada, Mexico, Brazil, UK, Belgium, Czech, Hungary, Turkey, UAE, South Africa, India, Singapore, Malaysia, Thailand, Indonesia, Vietnam, China, Hong Kong, Taiwan and South Korea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61963"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Group Company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Core company</a:t>
                      </a:r>
                      <a:r>
                        <a:rPr kumimoji="0" lang="ja-JP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：</a:t>
                      </a: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  <a:b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Consolidated subsidiary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Domestic</a:t>
                      </a:r>
                      <a:r>
                        <a:rPr kumimoji="0" lang="ja-JP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：</a:t>
                      </a: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39</a:t>
                      </a:r>
                      <a:r>
                        <a:rPr kumimoji="0" lang="ja-JP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Overseas</a:t>
                      </a:r>
                      <a:r>
                        <a:rPr kumimoji="0" lang="ja-JP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：</a:t>
                      </a: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49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9400"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Total Sales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EA8DD"/>
                    </a:solidFill>
                  </a:tcPr>
                </a:tc>
                <a:tc>
                  <a:txBody>
                    <a:bodyPr/>
                    <a:lstStyle>
                      <a:lvl1pPr marL="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1pPr>
                      <a:lvl2pPr marL="49345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2pPr>
                      <a:lvl3pPr marL="98691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3pPr>
                      <a:lvl4pPr marL="148036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4pPr>
                      <a:lvl5pPr marL="1973824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5pPr>
                      <a:lvl6pPr marL="2467280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6pPr>
                      <a:lvl7pPr marL="2960736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7pPr>
                      <a:lvl8pPr marL="3454192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8pPr>
                      <a:lvl9pPr marL="3947648" algn="l" defTabSz="986912" rtl="0" eaLnBrk="1" latinLnBrk="0" hangingPunct="1">
                        <a:defRPr kumimoji="1" sz="1943" kern="1200">
                          <a:solidFill>
                            <a:schemeClr val="tx1"/>
                          </a:solidFill>
                          <a:latin typeface="HG丸ｺﾞｼｯｸM-PRO"/>
                          <a:ea typeface="HG丸ｺﾞｼｯｸM-PRO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24246E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+mn-ea"/>
                          <a:ea typeface="+mn-ea"/>
                        </a:rPr>
                        <a:t>253.6 Billion Yen (as of March, 2021)</a:t>
                      </a:r>
                      <a:endParaRPr kumimoji="0" lang="ja-JP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7946" marR="87946" marT="43984" marB="4398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A54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grpSp>
        <p:nvGrpSpPr>
          <p:cNvPr id="37" name="Group 65"/>
          <p:cNvGrpSpPr>
            <a:grpSpLocks/>
          </p:cNvGrpSpPr>
          <p:nvPr/>
        </p:nvGrpSpPr>
        <p:grpSpPr bwMode="auto">
          <a:xfrm>
            <a:off x="899438" y="1487955"/>
            <a:ext cx="9092422" cy="5361023"/>
            <a:chOff x="271" y="741"/>
            <a:chExt cx="5733" cy="2347"/>
          </a:xfrm>
        </p:grpSpPr>
        <p:sp>
          <p:nvSpPr>
            <p:cNvPr id="38" name="Line 66"/>
            <p:cNvSpPr>
              <a:spLocks noChangeShapeType="1"/>
            </p:cNvSpPr>
            <p:nvPr/>
          </p:nvSpPr>
          <p:spPr bwMode="auto">
            <a:xfrm>
              <a:off x="271" y="741"/>
              <a:ext cx="5733" cy="0"/>
            </a:xfrm>
            <a:prstGeom prst="line">
              <a:avLst/>
            </a:prstGeom>
            <a:noFill/>
            <a:ln w="25400">
              <a:solidFill>
                <a:srgbClr val="1A54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ja-JP" altLang="en-US" dirty="0">
                <a:latin typeface="Meiryo UI"/>
                <a:ea typeface="Meiryo UI"/>
              </a:endParaRPr>
            </a:p>
          </p:txBody>
        </p:sp>
        <p:sp>
          <p:nvSpPr>
            <p:cNvPr id="39" name="Line 67"/>
            <p:cNvSpPr>
              <a:spLocks noChangeShapeType="1"/>
            </p:cNvSpPr>
            <p:nvPr/>
          </p:nvSpPr>
          <p:spPr bwMode="auto">
            <a:xfrm>
              <a:off x="281" y="3088"/>
              <a:ext cx="5717" cy="0"/>
            </a:xfrm>
            <a:prstGeom prst="line">
              <a:avLst/>
            </a:prstGeom>
            <a:noFill/>
            <a:ln w="25400">
              <a:solidFill>
                <a:srgbClr val="1A54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ja-JP" altLang="en-US" dirty="0">
                <a:latin typeface="Meiryo UI"/>
                <a:ea typeface="Meiryo UI"/>
              </a:endParaRPr>
            </a:p>
          </p:txBody>
        </p:sp>
      </p:grpSp>
      <p:sp>
        <p:nvSpPr>
          <p:cNvPr id="59" name="Line 66"/>
          <p:cNvSpPr>
            <a:spLocks noChangeShapeType="1"/>
          </p:cNvSpPr>
          <p:nvPr/>
        </p:nvSpPr>
        <p:spPr bwMode="auto">
          <a:xfrm>
            <a:off x="5629410" y="6848978"/>
            <a:ext cx="4362450" cy="0"/>
          </a:xfrm>
          <a:prstGeom prst="line">
            <a:avLst/>
          </a:prstGeom>
          <a:noFill/>
          <a:ln w="25400">
            <a:solidFill>
              <a:srgbClr val="1A547D"/>
            </a:solidFill>
            <a:round/>
            <a:headEnd/>
            <a:tailEnd/>
          </a:ln>
        </p:spPr>
        <p:txBody>
          <a:bodyPr wrap="none" anchor="ctr"/>
          <a:lstStyle/>
          <a:p>
            <a:endParaRPr lang="ja-JP" altLang="en-US" dirty="0">
              <a:latin typeface="Meiryo UI"/>
              <a:ea typeface="Meiryo UI"/>
            </a:endParaRPr>
          </a:p>
        </p:txBody>
      </p:sp>
      <p:sp>
        <p:nvSpPr>
          <p:cNvPr id="60" name="テキスト ボックス 59"/>
          <p:cNvSpPr txBox="1"/>
          <p:nvPr/>
        </p:nvSpPr>
        <p:spPr>
          <a:xfrm>
            <a:off x="881756" y="1160894"/>
            <a:ext cx="247527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defTabSz="908050">
              <a:spcAft>
                <a:spcPct val="30000"/>
              </a:spcAft>
              <a:buClr>
                <a:srgbClr val="236987"/>
              </a:buClr>
            </a:pPr>
            <a:r>
              <a:rPr lang="ja-JP" altLang="en-US" sz="1600" b="1" dirty="0">
                <a:solidFill>
                  <a:schemeClr val="accent4"/>
                </a:solidFill>
                <a:latin typeface="Meiryo UI"/>
                <a:ea typeface="Meiryo UI"/>
              </a:rPr>
              <a:t>◆</a:t>
            </a:r>
            <a:r>
              <a:rPr lang="en-US" altLang="ja-JP" sz="1600" b="1" dirty="0">
                <a:solidFill>
                  <a:schemeClr val="accent4"/>
                </a:solidFill>
                <a:latin typeface="Meiryo UI"/>
                <a:ea typeface="Meiryo UI"/>
              </a:rPr>
              <a:t>Company profile</a:t>
            </a:r>
            <a:endParaRPr lang="ja-JP" altLang="en-US" sz="1600" b="1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30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2" name="タイトル 1"/>
          <p:cNvSpPr txBox="1">
            <a:spLocks/>
          </p:cNvSpPr>
          <p:nvPr/>
        </p:nvSpPr>
        <p:spPr bwMode="auto">
          <a:xfrm>
            <a:off x="603709" y="106465"/>
            <a:ext cx="9810194" cy="81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0" rIns="0" bIns="0" numCol="1" anchor="b" anchorCtr="0" compatLnSpc="1">
            <a:prstTxWarp prst="textNoShape">
              <a:avLst/>
            </a:prstTxWarp>
          </a:bodyPr>
          <a:lstStyle>
            <a:lvl1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501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43973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87947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131920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175894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r>
              <a:rPr lang="en-US" altLang="ja-JP" sz="1731" kern="0" dirty="0">
                <a:solidFill>
                  <a:schemeClr val="tx1"/>
                </a:solidFill>
              </a:rPr>
              <a:t>Ⅰ. Introduction of MITSUI-SOKO Group</a:t>
            </a:r>
            <a:br>
              <a:rPr lang="en-US" altLang="ja-JP" kern="0" dirty="0">
                <a:solidFill>
                  <a:schemeClr val="tx1"/>
                </a:solidFill>
              </a:rPr>
            </a:br>
            <a:r>
              <a:rPr lang="en-US" altLang="ja-JP" sz="2400" kern="0" dirty="0">
                <a:solidFill>
                  <a:schemeClr val="tx1"/>
                </a:solidFill>
              </a:rPr>
              <a:t>  1. Outline</a:t>
            </a:r>
            <a:endParaRPr lang="ja-JP" altLang="en-US" sz="24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903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10"/>
          <p:cNvSpPr>
            <a:spLocks noChangeArrowheads="1"/>
          </p:cNvSpPr>
          <p:nvPr/>
        </p:nvSpPr>
        <p:spPr bwMode="auto">
          <a:xfrm>
            <a:off x="2112210" y="3267774"/>
            <a:ext cx="3014607" cy="830976"/>
          </a:xfrm>
          <a:prstGeom prst="rect">
            <a:avLst/>
          </a:prstGeom>
          <a:solidFill>
            <a:srgbClr val="5EA8DD">
              <a:alpha val="25000"/>
            </a:srgbClr>
          </a:solidFill>
          <a:ln w="22225">
            <a:solidFill>
              <a:srgbClr val="BFD7E3"/>
            </a:solidFill>
            <a:miter lim="800000"/>
            <a:headEnd/>
            <a:tailEnd/>
          </a:ln>
        </p:spPr>
        <p:txBody>
          <a:bodyPr wrap="none" lIns="31403" tIns="0" rIns="31403" bIns="0" anchor="b"/>
          <a:lstStyle/>
          <a:p>
            <a:pPr defTabSz="792119">
              <a:spcBef>
                <a:spcPts val="263"/>
              </a:spcBef>
              <a:spcAft>
                <a:spcPct val="30000"/>
              </a:spcAft>
              <a:buClr>
                <a:srgbClr val="DDDDDD"/>
              </a:buClr>
            </a:pPr>
            <a:r>
              <a:rPr lang="ja-JP" altLang="en-US" sz="1347" b="1" dirty="0">
                <a:solidFill>
                  <a:srgbClr val="000000"/>
                </a:solidFill>
                <a:latin typeface="Meiryo UI"/>
                <a:ea typeface="Meiryo UI"/>
              </a:rPr>
              <a:t>　　　</a:t>
            </a:r>
            <a:r>
              <a:rPr lang="en-US" altLang="ja-JP" sz="1300" b="1" dirty="0">
                <a:solidFill>
                  <a:schemeClr val="tx1"/>
                </a:solidFill>
                <a:latin typeface="Meiryo UI"/>
                <a:ea typeface="Meiryo UI"/>
              </a:rPr>
              <a:t>MITSUI-SOKO EXPRESS</a:t>
            </a:r>
            <a:br>
              <a:rPr lang="en-US" altLang="ja-JP" sz="1300" b="1" dirty="0">
                <a:solidFill>
                  <a:schemeClr val="tx1"/>
                </a:solidFill>
                <a:latin typeface="Meiryo UI"/>
                <a:ea typeface="Meiryo UI"/>
              </a:rPr>
            </a:br>
            <a:r>
              <a:rPr lang="en-US" altLang="ja-JP" sz="1300" b="1" dirty="0">
                <a:solidFill>
                  <a:schemeClr val="tx1"/>
                </a:solidFill>
                <a:latin typeface="Meiryo UI"/>
                <a:ea typeface="Meiryo UI"/>
              </a:rPr>
              <a:t>      (MSE)</a:t>
            </a:r>
            <a:br>
              <a:rPr lang="en-US" altLang="ja-JP" sz="1500" b="1" dirty="0">
                <a:solidFill>
                  <a:schemeClr val="tx1"/>
                </a:solidFill>
                <a:latin typeface="Meiryo UI"/>
                <a:ea typeface="Meiryo UI"/>
              </a:rPr>
            </a:br>
            <a:r>
              <a:rPr lang="zh-TW" altLang="en-US" sz="1058" dirty="0">
                <a:solidFill>
                  <a:schemeClr val="tx1"/>
                </a:solidFill>
                <a:latin typeface="Meiryo UI"/>
                <a:ea typeface="Meiryo UI"/>
              </a:rPr>
              <a:t>　　　</a:t>
            </a:r>
            <a:endParaRPr lang="ja-JP" altLang="en-US" sz="1058" dirty="0">
              <a:solidFill>
                <a:schemeClr val="tx1"/>
              </a:solidFill>
              <a:latin typeface="Meiryo UI"/>
              <a:ea typeface="Meiryo UI"/>
            </a:endParaRPr>
          </a:p>
        </p:txBody>
      </p:sp>
      <p:sp>
        <p:nvSpPr>
          <p:cNvPr id="57" name="Rectangle 10"/>
          <p:cNvSpPr>
            <a:spLocks noChangeArrowheads="1"/>
          </p:cNvSpPr>
          <p:nvPr/>
        </p:nvSpPr>
        <p:spPr bwMode="auto">
          <a:xfrm>
            <a:off x="2101058" y="4180537"/>
            <a:ext cx="3014607" cy="830976"/>
          </a:xfrm>
          <a:prstGeom prst="rect">
            <a:avLst/>
          </a:prstGeom>
          <a:solidFill>
            <a:srgbClr val="5EA8DD">
              <a:alpha val="25000"/>
            </a:srgbClr>
          </a:solidFill>
          <a:ln w="22225">
            <a:solidFill>
              <a:srgbClr val="BFD7E3"/>
            </a:solidFill>
            <a:miter lim="800000"/>
            <a:headEnd/>
            <a:tailEnd/>
          </a:ln>
        </p:spPr>
        <p:txBody>
          <a:bodyPr wrap="none" lIns="31403" tIns="0" rIns="31403" bIns="0" anchor="b"/>
          <a:lstStyle/>
          <a:p>
            <a:pPr defTabSz="792119">
              <a:spcBef>
                <a:spcPts val="263"/>
              </a:spcBef>
              <a:spcAft>
                <a:spcPct val="30000"/>
              </a:spcAft>
              <a:buClr>
                <a:srgbClr val="DDDDDD"/>
              </a:buClr>
            </a:pPr>
            <a:r>
              <a:rPr lang="ja-JP" altLang="en-US" sz="1347" b="1" dirty="0">
                <a:solidFill>
                  <a:srgbClr val="000000"/>
                </a:solidFill>
                <a:latin typeface="Meiryo UI"/>
                <a:ea typeface="Meiryo UI"/>
              </a:rPr>
              <a:t>　　　</a:t>
            </a:r>
            <a:r>
              <a:rPr lang="en-US" altLang="ja-JP" sz="1000" b="1" dirty="0">
                <a:solidFill>
                  <a:schemeClr val="tx1"/>
                </a:solidFill>
                <a:latin typeface="Meiryo UI"/>
                <a:ea typeface="Meiryo UI"/>
              </a:rPr>
              <a:t>MITSUI-SOKO Supply Chain Solutions</a:t>
            </a:r>
            <a:br>
              <a:rPr lang="en-US" altLang="ja-JP" sz="1300" b="1" dirty="0">
                <a:solidFill>
                  <a:schemeClr val="tx1"/>
                </a:solidFill>
                <a:latin typeface="Meiryo UI"/>
                <a:ea typeface="Meiryo UI"/>
              </a:rPr>
            </a:br>
            <a:r>
              <a:rPr lang="en-US" altLang="ja-JP" sz="1300" b="1" dirty="0">
                <a:solidFill>
                  <a:schemeClr val="tx1"/>
                </a:solidFill>
                <a:latin typeface="Meiryo UI"/>
                <a:ea typeface="Meiryo UI"/>
              </a:rPr>
              <a:t>      </a:t>
            </a:r>
            <a:r>
              <a:rPr lang="en-US" altLang="ja-JP" sz="1000" b="1" dirty="0">
                <a:solidFill>
                  <a:schemeClr val="tx1"/>
                </a:solidFill>
                <a:latin typeface="Meiryo UI"/>
                <a:ea typeface="Meiryo UI"/>
              </a:rPr>
              <a:t>(MSCS)</a:t>
            </a:r>
            <a:br>
              <a:rPr lang="en-US" altLang="ja-JP" sz="1000" b="1" dirty="0">
                <a:solidFill>
                  <a:schemeClr val="tx1"/>
                </a:solidFill>
                <a:latin typeface="Meiryo UI"/>
                <a:ea typeface="Meiryo UI"/>
              </a:rPr>
            </a:br>
            <a:r>
              <a:rPr lang="zh-TW" altLang="en-US" sz="1058" dirty="0">
                <a:solidFill>
                  <a:schemeClr val="tx1"/>
                </a:solidFill>
                <a:latin typeface="Meiryo UI"/>
                <a:ea typeface="Meiryo UI"/>
              </a:rPr>
              <a:t>　　　</a:t>
            </a:r>
            <a:endParaRPr lang="ja-JP" altLang="en-US" sz="1058" dirty="0">
              <a:solidFill>
                <a:schemeClr val="tx1"/>
              </a:solidFill>
              <a:latin typeface="Meiryo UI"/>
              <a:ea typeface="Meiryo UI"/>
            </a:endParaRPr>
          </a:p>
        </p:txBody>
      </p:sp>
      <p:sp>
        <p:nvSpPr>
          <p:cNvPr id="54" name="Rectangle 10"/>
          <p:cNvSpPr>
            <a:spLocks noChangeArrowheads="1"/>
          </p:cNvSpPr>
          <p:nvPr/>
        </p:nvSpPr>
        <p:spPr bwMode="auto">
          <a:xfrm>
            <a:off x="2101059" y="5119084"/>
            <a:ext cx="3014607" cy="830976"/>
          </a:xfrm>
          <a:prstGeom prst="rect">
            <a:avLst/>
          </a:prstGeom>
          <a:solidFill>
            <a:srgbClr val="5EA8DD">
              <a:alpha val="25000"/>
            </a:srgbClr>
          </a:solidFill>
          <a:ln w="22225">
            <a:solidFill>
              <a:srgbClr val="BFD7E3"/>
            </a:solidFill>
            <a:miter lim="800000"/>
            <a:headEnd/>
            <a:tailEnd/>
          </a:ln>
        </p:spPr>
        <p:txBody>
          <a:bodyPr wrap="none" lIns="31403" tIns="0" rIns="31403" bIns="0" anchor="b"/>
          <a:lstStyle/>
          <a:p>
            <a:pPr defTabSz="792119">
              <a:spcBef>
                <a:spcPts val="263"/>
              </a:spcBef>
              <a:spcAft>
                <a:spcPct val="30000"/>
              </a:spcAft>
              <a:buClr>
                <a:srgbClr val="DDDDDD"/>
              </a:buClr>
            </a:pPr>
            <a:r>
              <a:rPr lang="ja-JP" altLang="en-US" sz="1347" b="1" dirty="0">
                <a:solidFill>
                  <a:srgbClr val="000000"/>
                </a:solidFill>
                <a:latin typeface="Meiryo UI"/>
                <a:ea typeface="Meiryo UI"/>
              </a:rPr>
              <a:t>　　　</a:t>
            </a:r>
            <a:r>
              <a:rPr lang="en-US" altLang="ja-JP" sz="1300" b="1" dirty="0">
                <a:solidFill>
                  <a:schemeClr val="tx1"/>
                </a:solidFill>
                <a:latin typeface="Meiryo UI"/>
                <a:ea typeface="Meiryo UI"/>
              </a:rPr>
              <a:t>MITSUI-SOKO LOGISTICS</a:t>
            </a:r>
            <a:br>
              <a:rPr lang="en-US" altLang="ja-JP" sz="1300" b="1" dirty="0">
                <a:solidFill>
                  <a:schemeClr val="tx1"/>
                </a:solidFill>
                <a:latin typeface="Meiryo UI"/>
                <a:ea typeface="Meiryo UI"/>
              </a:rPr>
            </a:br>
            <a:r>
              <a:rPr lang="en-US" altLang="ja-JP" sz="1300" b="1" dirty="0">
                <a:solidFill>
                  <a:schemeClr val="tx1"/>
                </a:solidFill>
                <a:latin typeface="Meiryo UI"/>
                <a:ea typeface="Meiryo UI"/>
              </a:rPr>
              <a:t>      (MSL)</a:t>
            </a:r>
            <a:br>
              <a:rPr lang="en-US" altLang="ja-JP" sz="1500" b="1" dirty="0">
                <a:solidFill>
                  <a:schemeClr val="tx1"/>
                </a:solidFill>
                <a:latin typeface="Meiryo UI"/>
                <a:ea typeface="Meiryo UI"/>
              </a:rPr>
            </a:br>
            <a:r>
              <a:rPr lang="zh-TW" altLang="en-US" sz="1058" dirty="0">
                <a:solidFill>
                  <a:schemeClr val="tx1"/>
                </a:solidFill>
                <a:latin typeface="Meiryo UI"/>
                <a:ea typeface="Meiryo UI"/>
              </a:rPr>
              <a:t>　　　</a:t>
            </a:r>
            <a:endParaRPr lang="ja-JP" altLang="en-US" sz="1058" dirty="0">
              <a:solidFill>
                <a:schemeClr val="tx1"/>
              </a:solidFill>
              <a:latin typeface="Meiryo UI"/>
              <a:ea typeface="Meiryo UI"/>
            </a:endParaRPr>
          </a:p>
        </p:txBody>
      </p:sp>
      <p:sp>
        <p:nvSpPr>
          <p:cNvPr id="31" name="コンテンツ プレースホルダ 752">
            <a:extLst>
              <a:ext uri="{FF2B5EF4-FFF2-40B4-BE49-F238E27FC236}">
                <a16:creationId xmlns:a16="http://schemas.microsoft.com/office/drawing/2014/main" id="{57998EDA-1D29-4A55-9BD1-3EE2D19CAA4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46742" y="1036725"/>
            <a:ext cx="9544275" cy="343743"/>
          </a:xfrm>
        </p:spPr>
        <p:txBody>
          <a:bodyPr/>
          <a:lstStyle/>
          <a:p>
            <a:pPr>
              <a:buNone/>
            </a:pPr>
            <a:r>
              <a:rPr lang="en-US" altLang="ja-JP" sz="1800" b="1" dirty="0">
                <a:solidFill>
                  <a:schemeClr val="tx1"/>
                </a:solidFill>
                <a:latin typeface="+mj-ea"/>
                <a:ea typeface="+mj-ea"/>
              </a:rPr>
              <a:t>5 Core companies</a:t>
            </a:r>
            <a:endParaRPr lang="ja-JP" altLang="en-US" sz="18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90468" name="Rectangle 1"/>
          <p:cNvSpPr>
            <a:spLocks noChangeArrowheads="1"/>
          </p:cNvSpPr>
          <p:nvPr/>
        </p:nvSpPr>
        <p:spPr bwMode="auto">
          <a:xfrm>
            <a:off x="873350" y="1546132"/>
            <a:ext cx="957214" cy="5316481"/>
          </a:xfrm>
          <a:prstGeom prst="rect">
            <a:avLst/>
          </a:prstGeom>
          <a:solidFill>
            <a:srgbClr val="5EA8DD"/>
          </a:solidFill>
          <a:ln w="9525">
            <a:noFill/>
            <a:miter lim="800000"/>
            <a:headEnd/>
            <a:tailEnd/>
          </a:ln>
        </p:spPr>
        <p:txBody>
          <a:bodyPr vert="vert270" wrap="none" lIns="33894" tIns="0" rIns="33894" bIns="0" anchor="ctr">
            <a:noAutofit/>
          </a:bodyPr>
          <a:lstStyle/>
          <a:p>
            <a:pPr algn="ctr" defTabSz="854934" eaLnBrk="0" hangingPunct="0">
              <a:spcBef>
                <a:spcPts val="284"/>
              </a:spcBef>
              <a:spcAft>
                <a:spcPct val="30000"/>
              </a:spcAft>
              <a:buClr>
                <a:srgbClr val="DDDDDD"/>
              </a:buClr>
            </a:pPr>
            <a:r>
              <a:rPr kumimoji="0" lang="ja-JP" altLang="en-US" sz="1413" b="1" dirty="0">
                <a:solidFill>
                  <a:srgbClr val="FFFFFF"/>
                </a:solidFill>
                <a:latin typeface="Meiryo UI"/>
                <a:ea typeface="Meiryo UI"/>
              </a:rPr>
              <a:t>　　</a:t>
            </a:r>
            <a:r>
              <a:rPr kumimoji="0" lang="en-US" altLang="ja-JP" sz="2000" b="1" dirty="0">
                <a:solidFill>
                  <a:srgbClr val="FFFFFF"/>
                </a:solidFill>
                <a:latin typeface="Meiryo UI"/>
                <a:ea typeface="Meiryo UI"/>
              </a:rPr>
              <a:t>MITSUI-SOKO HOLDINGS</a:t>
            </a:r>
            <a:endParaRPr kumimoji="0" lang="ja-JP" altLang="en-US" sz="2000" b="1" dirty="0">
              <a:solidFill>
                <a:srgbClr val="FFFFFF"/>
              </a:solidFill>
              <a:latin typeface="Meiryo UI"/>
              <a:ea typeface="Meiryo UI"/>
            </a:endParaRPr>
          </a:p>
        </p:txBody>
      </p:sp>
      <p:cxnSp>
        <p:nvCxnSpPr>
          <p:cNvPr id="190476" name="Elbow Connector 6"/>
          <p:cNvCxnSpPr>
            <a:cxnSpLocks noChangeShapeType="1"/>
            <a:stCxn id="190468" idx="3"/>
            <a:endCxn id="59" idx="1"/>
          </p:cNvCxnSpPr>
          <p:nvPr/>
        </p:nvCxnSpPr>
        <p:spPr bwMode="auto">
          <a:xfrm flipV="1">
            <a:off x="1830564" y="2357961"/>
            <a:ext cx="270845" cy="1846411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rgbClr val="5EA8DD"/>
            </a:solidFill>
            <a:round/>
            <a:headEnd/>
            <a:tailEnd/>
          </a:ln>
        </p:spPr>
      </p:cxnSp>
      <p:cxnSp>
        <p:nvCxnSpPr>
          <p:cNvPr id="190478" name="Elbow Connector 24"/>
          <p:cNvCxnSpPr>
            <a:cxnSpLocks noChangeShapeType="1"/>
            <a:stCxn id="190468" idx="3"/>
          </p:cNvCxnSpPr>
          <p:nvPr/>
        </p:nvCxnSpPr>
        <p:spPr bwMode="auto">
          <a:xfrm>
            <a:off x="1830564" y="4204373"/>
            <a:ext cx="270845" cy="1330199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rgbClr val="5EA8DD"/>
            </a:solidFill>
            <a:round/>
            <a:headEnd/>
            <a:tailEnd/>
          </a:ln>
        </p:spPr>
      </p:cxnSp>
      <p:cxnSp>
        <p:nvCxnSpPr>
          <p:cNvPr id="190479" name="Elbow Connector 28"/>
          <p:cNvCxnSpPr>
            <a:cxnSpLocks noChangeShapeType="1"/>
            <a:stCxn id="190468" idx="3"/>
            <a:endCxn id="64" idx="1"/>
          </p:cNvCxnSpPr>
          <p:nvPr/>
        </p:nvCxnSpPr>
        <p:spPr bwMode="auto">
          <a:xfrm flipV="1">
            <a:off x="1830564" y="3666855"/>
            <a:ext cx="270845" cy="537518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rgbClr val="5EA8DD"/>
            </a:solidFill>
            <a:round/>
            <a:headEnd/>
            <a:tailEnd/>
          </a:ln>
        </p:spPr>
      </p:cxnSp>
      <p:cxnSp>
        <p:nvCxnSpPr>
          <p:cNvPr id="190482" name="Elbow Connector 31"/>
          <p:cNvCxnSpPr>
            <a:cxnSpLocks noChangeShapeType="1"/>
            <a:stCxn id="190468" idx="3"/>
            <a:endCxn id="67" idx="1"/>
          </p:cNvCxnSpPr>
          <p:nvPr/>
        </p:nvCxnSpPr>
        <p:spPr bwMode="auto">
          <a:xfrm>
            <a:off x="1830564" y="4204373"/>
            <a:ext cx="270845" cy="391652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rgbClr val="5EA8DD"/>
            </a:solidFill>
            <a:round/>
            <a:headEnd/>
            <a:tailEnd/>
          </a:ln>
        </p:spPr>
      </p:cxnSp>
      <p:cxnSp>
        <p:nvCxnSpPr>
          <p:cNvPr id="190486" name="Elbow Connector 31"/>
          <p:cNvCxnSpPr>
            <a:cxnSpLocks noChangeShapeType="1"/>
            <a:stCxn id="190468" idx="3"/>
            <a:endCxn id="69" idx="1"/>
          </p:cNvCxnSpPr>
          <p:nvPr/>
        </p:nvCxnSpPr>
        <p:spPr bwMode="auto">
          <a:xfrm>
            <a:off x="1830564" y="4204373"/>
            <a:ext cx="270845" cy="2242752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rgbClr val="5EA8DD"/>
            </a:solidFill>
            <a:round/>
            <a:headEnd/>
            <a:tailEnd/>
          </a:ln>
        </p:spPr>
      </p:cxnSp>
      <p:sp>
        <p:nvSpPr>
          <p:cNvPr id="34" name="Textframe 253.7511.62504">
            <a:extLst>
              <a:ext uri="{FF2B5EF4-FFF2-40B4-BE49-F238E27FC236}">
                <a16:creationId xmlns:a16="http://schemas.microsoft.com/office/drawing/2014/main" id="{700AAA58-BB99-4496-8CA2-E0FE310A21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68958" y="1559621"/>
            <a:ext cx="4997452" cy="161016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50800" dir="5400000" algn="ctr" rotWithShape="0">
              <a:schemeClr val="bg1"/>
            </a:outerShdw>
          </a:effectLst>
        </p:spPr>
        <p:txBody>
          <a:bodyPr anchor="ctr"/>
          <a:lstStyle>
            <a:lvl1pPr marL="342900" indent="-3429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1pPr>
            <a:lvl2pPr marL="330200" indent="-328613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2pPr>
            <a:lvl3pPr marL="1143000" indent="-2286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3pPr>
            <a:lvl4pPr marL="1600200" indent="-2286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4pPr>
            <a:lvl5pPr marL="2057400" indent="-2286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9pPr>
          </a:lstStyle>
          <a:p>
            <a:pPr marL="342771" lvl="1" indent="-341124" defTabSz="949212" eaLnBrk="1" hangingPunct="1">
              <a:spcBef>
                <a:spcPts val="284"/>
              </a:spcBef>
              <a:spcAft>
                <a:spcPct val="30000"/>
              </a:spcAft>
              <a:buClr>
                <a:srgbClr val="5EA8DD"/>
              </a:buClr>
              <a:buFont typeface="Wingdings" panose="05000000000000000000" pitchFamily="2" charset="2"/>
              <a:buChar char="n"/>
              <a:defRPr/>
            </a:pPr>
            <a:r>
              <a:rPr lang="en-US" altLang="ja-JP" sz="1347" b="1" dirty="0">
                <a:solidFill>
                  <a:schemeClr val="tx1"/>
                </a:solidFill>
                <a:latin typeface="Meiryo UI"/>
                <a:ea typeface="Meiryo UI"/>
              </a:rPr>
              <a:t>Domestic warehouse / freight forwarding</a:t>
            </a:r>
          </a:p>
          <a:p>
            <a:pPr marL="342771" lvl="1" indent="-341124" defTabSz="949212" eaLnBrk="1" hangingPunct="1">
              <a:spcBef>
                <a:spcPts val="284"/>
              </a:spcBef>
              <a:spcAft>
                <a:spcPct val="30000"/>
              </a:spcAft>
              <a:buClr>
                <a:srgbClr val="5EA8DD"/>
              </a:buClr>
              <a:buFont typeface="Wingdings" panose="05000000000000000000" pitchFamily="2" charset="2"/>
              <a:buChar char="n"/>
              <a:defRPr/>
            </a:pPr>
            <a:r>
              <a:rPr lang="en-US" altLang="ja-JP" sz="1347" b="1" dirty="0">
                <a:solidFill>
                  <a:schemeClr val="tx1"/>
                </a:solidFill>
                <a:latin typeface="Meiryo UI"/>
                <a:ea typeface="Meiryo UI"/>
              </a:rPr>
              <a:t>Global logistics		</a:t>
            </a:r>
          </a:p>
          <a:p>
            <a:pPr marL="342771" lvl="1" indent="-341124" defTabSz="949212" eaLnBrk="1" hangingPunct="1">
              <a:spcBef>
                <a:spcPts val="284"/>
              </a:spcBef>
              <a:spcAft>
                <a:spcPct val="30000"/>
              </a:spcAft>
              <a:buClr>
                <a:srgbClr val="5EA8DD"/>
              </a:buClr>
              <a:buFont typeface="Wingdings" panose="05000000000000000000" pitchFamily="2" charset="2"/>
              <a:buChar char="n"/>
              <a:defRPr/>
            </a:pPr>
            <a:r>
              <a:rPr lang="en-US" altLang="ja-JP" sz="1347" b="1" dirty="0">
                <a:solidFill>
                  <a:schemeClr val="tx1"/>
                </a:solidFill>
                <a:latin typeface="Meiryo UI"/>
                <a:ea typeface="Meiryo UI"/>
              </a:rPr>
              <a:t>Port transportation	</a:t>
            </a:r>
            <a:endParaRPr lang="en-US" altLang="ja-JP" sz="1154" dirty="0">
              <a:solidFill>
                <a:schemeClr val="tx1"/>
              </a:solidFill>
              <a:latin typeface="Meiryo UI"/>
              <a:ea typeface="Meiryo UI"/>
            </a:endParaRPr>
          </a:p>
          <a:p>
            <a:pPr marL="342771" lvl="1" indent="-341124" defTabSz="949212" eaLnBrk="1" hangingPunct="1">
              <a:spcBef>
                <a:spcPts val="284"/>
              </a:spcBef>
              <a:spcAft>
                <a:spcPct val="30000"/>
              </a:spcAft>
              <a:buClr>
                <a:srgbClr val="5EA8DD"/>
              </a:buClr>
              <a:buFont typeface="Wingdings" panose="05000000000000000000" pitchFamily="2" charset="2"/>
              <a:buChar char="n"/>
              <a:defRPr/>
            </a:pPr>
            <a:r>
              <a:rPr lang="en-US" altLang="ja-JP" sz="1347" b="1" dirty="0">
                <a:solidFill>
                  <a:schemeClr val="tx1"/>
                </a:solidFill>
                <a:latin typeface="Meiryo UI"/>
                <a:ea typeface="Meiryo UI"/>
              </a:rPr>
              <a:t>BPO             		</a:t>
            </a:r>
          </a:p>
          <a:p>
            <a:pPr marL="342771" lvl="1" indent="-341124" defTabSz="949212" eaLnBrk="1" hangingPunct="1">
              <a:spcBef>
                <a:spcPts val="284"/>
              </a:spcBef>
              <a:spcAft>
                <a:spcPct val="30000"/>
              </a:spcAft>
              <a:buClr>
                <a:srgbClr val="5EA8DD"/>
              </a:buClr>
              <a:buFont typeface="Wingdings" panose="05000000000000000000" pitchFamily="2" charset="2"/>
              <a:buChar char="n"/>
              <a:defRPr/>
            </a:pPr>
            <a:r>
              <a:rPr lang="en-US" altLang="ja-JP" sz="1347" b="1" dirty="0">
                <a:solidFill>
                  <a:schemeClr val="tx1"/>
                </a:solidFill>
                <a:latin typeface="Meiryo UI"/>
                <a:ea typeface="Meiryo UI"/>
              </a:rPr>
              <a:t>Documents/Household goods storage</a:t>
            </a:r>
            <a:endParaRPr lang="en-US" altLang="ja-JP" sz="1154" dirty="0">
              <a:solidFill>
                <a:schemeClr val="tx1"/>
              </a:solidFill>
              <a:latin typeface="Meiryo UI"/>
              <a:ea typeface="Meiryo UI"/>
            </a:endParaRPr>
          </a:p>
        </p:txBody>
      </p:sp>
      <p:sp>
        <p:nvSpPr>
          <p:cNvPr id="35" name="Textframe 253.7511.62504">
            <a:extLst>
              <a:ext uri="{FF2B5EF4-FFF2-40B4-BE49-F238E27FC236}">
                <a16:creationId xmlns:a16="http://schemas.microsoft.com/office/drawing/2014/main" id="{8FF816E7-8F7C-4304-BC47-A6D91C8C9D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68958" y="5119084"/>
            <a:ext cx="4997452" cy="8309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50800" dir="5400000" algn="ctr" rotWithShape="0">
              <a:schemeClr val="bg1"/>
            </a:outerShdw>
          </a:effectLst>
        </p:spPr>
        <p:txBody>
          <a:bodyPr anchor="ctr"/>
          <a:lstStyle/>
          <a:p>
            <a:pPr marL="310885" lvl="1" indent="-309392" defTabSz="949212" eaLnBrk="0" hangingPunct="0">
              <a:spcBef>
                <a:spcPts val="284"/>
              </a:spcBef>
              <a:spcAft>
                <a:spcPct val="30000"/>
              </a:spcAft>
              <a:buClr>
                <a:srgbClr val="5EA8DD"/>
              </a:buClr>
              <a:buFont typeface="Wingdings" pitchFamily="2" charset="2"/>
              <a:buChar char="n"/>
              <a:defRPr/>
            </a:pPr>
            <a:r>
              <a:rPr kumimoji="0" lang="en-US" altLang="ja-JP" sz="1347" b="1" dirty="0">
                <a:solidFill>
                  <a:schemeClr val="tx1"/>
                </a:solidFill>
                <a:latin typeface="Meiryo UI"/>
                <a:ea typeface="Meiryo UI"/>
              </a:rPr>
              <a:t>3PL for Retailer/Wholesaler</a:t>
            </a:r>
            <a:endParaRPr kumimoji="0" lang="ja-JP" altLang="en-US" sz="1347" dirty="0">
              <a:solidFill>
                <a:schemeClr val="tx1"/>
              </a:solidFill>
              <a:latin typeface="Meiryo UI"/>
              <a:ea typeface="Meiryo UI"/>
            </a:endParaRPr>
          </a:p>
        </p:txBody>
      </p:sp>
      <p:sp>
        <p:nvSpPr>
          <p:cNvPr id="36" name="Textframe 253.7511.62504">
            <a:extLst>
              <a:ext uri="{FF2B5EF4-FFF2-40B4-BE49-F238E27FC236}">
                <a16:creationId xmlns:a16="http://schemas.microsoft.com/office/drawing/2014/main" id="{F691FF6A-F22F-4238-9FE8-608A17608B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68958" y="3251367"/>
            <a:ext cx="4997452" cy="8309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50800" dir="5400000" algn="ctr" rotWithShape="0">
              <a:schemeClr val="bg1"/>
            </a:outerShdw>
          </a:effectLst>
        </p:spPr>
        <p:txBody>
          <a:bodyPr anchor="ctr"/>
          <a:lstStyle>
            <a:lvl1pPr marL="342900" indent="-3429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1pPr>
            <a:lvl2pPr marL="330200" indent="-328613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2pPr>
            <a:lvl3pPr marL="1143000" indent="-2286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3pPr>
            <a:lvl4pPr marL="1600200" indent="-2286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4pPr>
            <a:lvl5pPr marL="2057400" indent="-2286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9pPr>
          </a:lstStyle>
          <a:p>
            <a:pPr marL="342771" lvl="1" indent="-341124" defTabSz="949212" eaLnBrk="1" hangingPunct="1">
              <a:spcBef>
                <a:spcPts val="284"/>
              </a:spcBef>
              <a:spcAft>
                <a:spcPct val="30000"/>
              </a:spcAft>
              <a:buClr>
                <a:srgbClr val="5EA8DD"/>
              </a:buClr>
              <a:buFont typeface="Wingdings" panose="05000000000000000000" pitchFamily="2" charset="2"/>
              <a:buChar char="n"/>
              <a:defRPr/>
            </a:pPr>
            <a:r>
              <a:rPr lang="en-US" altLang="ja-JP" sz="1347" b="1" dirty="0">
                <a:solidFill>
                  <a:schemeClr val="tx1"/>
                </a:solidFill>
                <a:latin typeface="Meiryo UI"/>
                <a:ea typeface="Meiryo UI"/>
              </a:rPr>
              <a:t>International freight forwarder</a:t>
            </a:r>
            <a:endParaRPr lang="en-US" altLang="ja-JP" sz="1347" dirty="0">
              <a:solidFill>
                <a:schemeClr val="tx1"/>
              </a:solidFill>
              <a:latin typeface="Meiryo UI"/>
              <a:ea typeface="Meiryo UI"/>
            </a:endParaRPr>
          </a:p>
        </p:txBody>
      </p:sp>
      <p:sp>
        <p:nvSpPr>
          <p:cNvPr id="38" name="Textframe 253.7511.62504">
            <a:extLst>
              <a:ext uri="{FF2B5EF4-FFF2-40B4-BE49-F238E27FC236}">
                <a16:creationId xmlns:a16="http://schemas.microsoft.com/office/drawing/2014/main" id="{26301A3F-1CBB-4FA2-B1C8-E222A6DF68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68958" y="4189995"/>
            <a:ext cx="4997452" cy="83440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50800" dir="5400000" algn="ctr" rotWithShape="0">
              <a:schemeClr val="bg1"/>
            </a:outerShdw>
          </a:effectLst>
        </p:spPr>
        <p:txBody>
          <a:bodyPr anchor="ctr"/>
          <a:lstStyle>
            <a:lvl1pPr marL="342900" indent="-3429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1pPr>
            <a:lvl2pPr marL="330200" indent="-328613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2pPr>
            <a:lvl3pPr marL="1143000" indent="-2286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3pPr>
            <a:lvl4pPr marL="1600200" indent="-2286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4pPr>
            <a:lvl5pPr marL="2057400" indent="-2286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9pPr>
          </a:lstStyle>
          <a:p>
            <a:pPr marL="342771" lvl="1" indent="-341124" defTabSz="949212" eaLnBrk="1" hangingPunct="1">
              <a:spcBef>
                <a:spcPts val="284"/>
              </a:spcBef>
              <a:spcAft>
                <a:spcPct val="30000"/>
              </a:spcAft>
              <a:buClr>
                <a:srgbClr val="5EA8DD"/>
              </a:buClr>
              <a:buFont typeface="Wingdings" panose="05000000000000000000" pitchFamily="2" charset="2"/>
              <a:buChar char="n"/>
              <a:defRPr/>
            </a:pPr>
            <a:r>
              <a:rPr lang="en-US" altLang="ja-JP" sz="1347" b="1" dirty="0">
                <a:solidFill>
                  <a:schemeClr val="tx1"/>
                </a:solidFill>
                <a:latin typeface="Meiryo UI"/>
                <a:ea typeface="Meiryo UI"/>
              </a:rPr>
              <a:t>3PL for Electric maker</a:t>
            </a:r>
            <a:endParaRPr lang="en-US" altLang="ja-JP" sz="1347" dirty="0">
              <a:solidFill>
                <a:schemeClr val="tx1"/>
              </a:solidFill>
              <a:latin typeface="Meiryo UI"/>
              <a:ea typeface="Meiryo UI"/>
            </a:endParaRPr>
          </a:p>
        </p:txBody>
      </p:sp>
      <p:sp>
        <p:nvSpPr>
          <p:cNvPr id="39" name="Textframe 253.7511.62504">
            <a:extLst>
              <a:ext uri="{FF2B5EF4-FFF2-40B4-BE49-F238E27FC236}">
                <a16:creationId xmlns:a16="http://schemas.microsoft.com/office/drawing/2014/main" id="{E45D1E39-C95E-41B7-A9EB-5E73841B42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68958" y="6029924"/>
            <a:ext cx="4997452" cy="83268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50800" dir="5400000" algn="ctr" rotWithShape="0">
              <a:schemeClr val="bg1"/>
            </a:outerShdw>
          </a:effectLst>
        </p:spPr>
        <p:txBody>
          <a:bodyPr anchor="ctr"/>
          <a:lstStyle>
            <a:lvl1pPr marL="342900" indent="-3429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1pPr>
            <a:lvl2pPr marL="330200" indent="-328613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2pPr>
            <a:lvl3pPr marL="1143000" indent="-2286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3pPr>
            <a:lvl4pPr marL="1600200" indent="-2286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4pPr>
            <a:lvl5pPr marL="2057400" indent="-228600" eaLnBrk="0" hangingPunct="0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9pPr>
          </a:lstStyle>
          <a:p>
            <a:pPr marL="342771" lvl="1" indent="-341124" defTabSz="949212" eaLnBrk="1" hangingPunct="1">
              <a:spcBef>
                <a:spcPts val="284"/>
              </a:spcBef>
              <a:spcAft>
                <a:spcPct val="30000"/>
              </a:spcAft>
              <a:buClr>
                <a:srgbClr val="5EA8DD"/>
              </a:buClr>
              <a:buFont typeface="Wingdings" panose="05000000000000000000" pitchFamily="2" charset="2"/>
              <a:buChar char="n"/>
              <a:defRPr/>
            </a:pPr>
            <a:r>
              <a:rPr lang="en-US" altLang="ja-JP" sz="1347" b="1" dirty="0">
                <a:solidFill>
                  <a:schemeClr val="tx1"/>
                </a:solidFill>
                <a:latin typeface="Meiryo UI"/>
                <a:ea typeface="Meiryo UI"/>
              </a:rPr>
              <a:t>Domestic transportation</a:t>
            </a:r>
            <a:endParaRPr lang="en-US" altLang="ja-JP" sz="1154" dirty="0">
              <a:solidFill>
                <a:schemeClr val="tx1"/>
              </a:solidFill>
              <a:latin typeface="Meiryo UI"/>
              <a:ea typeface="Meiryo UI"/>
            </a:endParaRPr>
          </a:p>
        </p:txBody>
      </p:sp>
      <p:grpSp>
        <p:nvGrpSpPr>
          <p:cNvPr id="48" name="グループ化 47"/>
          <p:cNvGrpSpPr/>
          <p:nvPr/>
        </p:nvGrpSpPr>
        <p:grpSpPr>
          <a:xfrm>
            <a:off x="2101408" y="1546132"/>
            <a:ext cx="3014607" cy="1623658"/>
            <a:chOff x="2121883" y="1607558"/>
            <a:chExt cx="3134375" cy="1688165"/>
          </a:xfrm>
        </p:grpSpPr>
        <p:sp>
          <p:nvSpPr>
            <p:cNvPr id="58" name="Rectangle 2"/>
            <p:cNvSpPr>
              <a:spLocks noChangeArrowheads="1"/>
            </p:cNvSpPr>
            <p:nvPr/>
          </p:nvSpPr>
          <p:spPr bwMode="auto">
            <a:xfrm>
              <a:off x="2121883" y="1607558"/>
              <a:ext cx="3134375" cy="1688165"/>
            </a:xfrm>
            <a:prstGeom prst="rect">
              <a:avLst/>
            </a:prstGeom>
            <a:solidFill>
              <a:srgbClr val="5EA8DD">
                <a:alpha val="25000"/>
              </a:srgbClr>
            </a:solidFill>
            <a:ln w="22225">
              <a:solidFill>
                <a:srgbClr val="BFD7E3"/>
              </a:solidFill>
              <a:miter lim="800000"/>
              <a:headEnd/>
              <a:tailEnd/>
            </a:ln>
          </p:spPr>
          <p:txBody>
            <a:bodyPr wrap="none" lIns="31403" tIns="0" rIns="31403" bIns="0" anchor="ctr"/>
            <a:lstStyle/>
            <a:p>
              <a:pPr defTabSz="792119">
                <a:spcBef>
                  <a:spcPts val="263"/>
                </a:spcBef>
                <a:buClr>
                  <a:srgbClr val="DDDDDD"/>
                </a:buClr>
              </a:pPr>
              <a:r>
                <a:rPr lang="ja-JP" altLang="en-US" sz="1347" b="1" dirty="0">
                  <a:solidFill>
                    <a:srgbClr val="000000"/>
                  </a:solidFill>
                  <a:latin typeface="Meiryo UI"/>
                  <a:ea typeface="Meiryo UI"/>
                </a:rPr>
                <a:t>　　　</a:t>
              </a:r>
              <a:r>
                <a:rPr lang="en-US" altLang="ja-JP" sz="1347" b="1" dirty="0">
                  <a:solidFill>
                    <a:schemeClr val="tx1"/>
                  </a:solidFill>
                  <a:latin typeface="Meiryo UI"/>
                  <a:ea typeface="Meiryo UI"/>
                </a:rPr>
                <a:t>MITSUI-SOKO</a:t>
              </a:r>
            </a:p>
            <a:p>
              <a:pPr defTabSz="792119">
                <a:spcBef>
                  <a:spcPts val="263"/>
                </a:spcBef>
                <a:buClr>
                  <a:srgbClr val="DDDDDD"/>
                </a:buClr>
              </a:pPr>
              <a:r>
                <a:rPr lang="en-US" altLang="ja-JP" sz="1347" b="1" dirty="0">
                  <a:solidFill>
                    <a:schemeClr val="tx1"/>
                  </a:solidFill>
                  <a:latin typeface="Meiryo UI"/>
                  <a:ea typeface="Meiryo UI"/>
                </a:rPr>
                <a:t>      (MSC)</a:t>
              </a:r>
              <a:endParaRPr lang="en-US" altLang="ja-JP" sz="1058" b="1" dirty="0">
                <a:solidFill>
                  <a:schemeClr val="tx1"/>
                </a:solidFill>
                <a:latin typeface="Meiryo UI"/>
                <a:ea typeface="Meiryo UI"/>
              </a:endParaRPr>
            </a:p>
          </p:txBody>
        </p:sp>
        <p:sp>
          <p:nvSpPr>
            <p:cNvPr id="59" name="テキスト ボックス 11"/>
            <p:cNvSpPr txBox="1">
              <a:spLocks noChangeArrowheads="1"/>
            </p:cNvSpPr>
            <p:nvPr/>
          </p:nvSpPr>
          <p:spPr bwMode="auto">
            <a:xfrm>
              <a:off x="2121884" y="1607558"/>
              <a:ext cx="233561" cy="1688165"/>
            </a:xfrm>
            <a:prstGeom prst="rect">
              <a:avLst/>
            </a:prstGeom>
            <a:solidFill>
              <a:srgbClr val="002060"/>
            </a:soli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defTabSz="879470"/>
              <a:r>
                <a:rPr lang="en-US" altLang="ja-JP" sz="1539" b="1" dirty="0">
                  <a:solidFill>
                    <a:srgbClr val="FFFFFF"/>
                  </a:solidFill>
                  <a:latin typeface="Meiryo UI"/>
                  <a:ea typeface="Meiryo UI"/>
                </a:rPr>
                <a:t>1</a:t>
              </a:r>
              <a:endParaRPr lang="ja-JP" altLang="en-US" sz="1539" b="1" dirty="0">
                <a:solidFill>
                  <a:srgbClr val="FFFFFF"/>
                </a:solidFill>
                <a:latin typeface="Meiryo UI"/>
                <a:ea typeface="Meiryo UI"/>
              </a:endParaRPr>
            </a:p>
          </p:txBody>
        </p:sp>
        <p:sp>
          <p:nvSpPr>
            <p:cNvPr id="70" name="正方形/長方形 69"/>
            <p:cNvSpPr/>
            <p:nvPr/>
          </p:nvSpPr>
          <p:spPr>
            <a:xfrm>
              <a:off x="2335320" y="1607558"/>
              <a:ext cx="2920576" cy="210626"/>
            </a:xfrm>
            <a:prstGeom prst="rect">
              <a:avLst/>
            </a:prstGeom>
            <a:solidFill>
              <a:srgbClr val="002060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defTabSz="879470"/>
              <a:r>
                <a:rPr lang="en-US" altLang="ja-JP" sz="1347" b="1" dirty="0">
                  <a:solidFill>
                    <a:srgbClr val="FFFFFF"/>
                  </a:solidFill>
                  <a:latin typeface="Meiryo UI"/>
                  <a:ea typeface="Meiryo UI"/>
                  <a:cs typeface="Arial" pitchFamily="34" charset="0"/>
                </a:rPr>
                <a:t>MSC</a:t>
              </a:r>
              <a:endParaRPr lang="ja-JP" altLang="en-US" sz="1347" b="1" dirty="0">
                <a:solidFill>
                  <a:srgbClr val="FFFFFF"/>
                </a:solidFill>
                <a:latin typeface="Meiryo UI"/>
                <a:ea typeface="Meiryo UI"/>
                <a:cs typeface="Arial" pitchFamily="34" charset="0"/>
              </a:endParaRPr>
            </a:p>
          </p:txBody>
        </p:sp>
      </p:grpSp>
      <p:sp>
        <p:nvSpPr>
          <p:cNvPr id="61" name="テキスト ボックス 47"/>
          <p:cNvSpPr txBox="1">
            <a:spLocks noChangeArrowheads="1"/>
          </p:cNvSpPr>
          <p:nvPr/>
        </p:nvSpPr>
        <p:spPr bwMode="auto">
          <a:xfrm>
            <a:off x="2101406" y="5119084"/>
            <a:ext cx="224636" cy="830976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879470"/>
            <a:r>
              <a:rPr lang="en-US" altLang="ja-JP" sz="1539" b="1" dirty="0">
                <a:solidFill>
                  <a:srgbClr val="FFFFFF"/>
                </a:solidFill>
                <a:latin typeface="Meiryo UI"/>
                <a:ea typeface="Meiryo UI"/>
              </a:rPr>
              <a:t>4</a:t>
            </a:r>
          </a:p>
        </p:txBody>
      </p:sp>
      <p:grpSp>
        <p:nvGrpSpPr>
          <p:cNvPr id="52" name="グループ化 51"/>
          <p:cNvGrpSpPr/>
          <p:nvPr/>
        </p:nvGrpSpPr>
        <p:grpSpPr>
          <a:xfrm>
            <a:off x="2101408" y="6031637"/>
            <a:ext cx="3014607" cy="830976"/>
            <a:chOff x="2121883" y="6271269"/>
            <a:chExt cx="3134375" cy="863990"/>
          </a:xfrm>
        </p:grpSpPr>
        <p:sp>
          <p:nvSpPr>
            <p:cNvPr id="68" name="Rectangle 10"/>
            <p:cNvSpPr>
              <a:spLocks noChangeArrowheads="1"/>
            </p:cNvSpPr>
            <p:nvPr/>
          </p:nvSpPr>
          <p:spPr bwMode="auto">
            <a:xfrm>
              <a:off x="2121883" y="6271269"/>
              <a:ext cx="3134375" cy="863990"/>
            </a:xfrm>
            <a:prstGeom prst="rect">
              <a:avLst/>
            </a:prstGeom>
            <a:solidFill>
              <a:srgbClr val="5EA8DD">
                <a:alpha val="25000"/>
              </a:srgbClr>
            </a:solidFill>
            <a:ln w="22225">
              <a:solidFill>
                <a:srgbClr val="BFD7E3"/>
              </a:solidFill>
              <a:miter lim="800000"/>
              <a:headEnd/>
              <a:tailEnd/>
            </a:ln>
          </p:spPr>
          <p:txBody>
            <a:bodyPr wrap="none" lIns="31403" tIns="0" rIns="31403" bIns="0" anchor="b"/>
            <a:lstStyle/>
            <a:p>
              <a:pPr defTabSz="792119">
                <a:spcBef>
                  <a:spcPts val="263"/>
                </a:spcBef>
                <a:spcAft>
                  <a:spcPct val="30000"/>
                </a:spcAft>
                <a:buClr>
                  <a:srgbClr val="DDDDDD"/>
                </a:buClr>
              </a:pPr>
              <a:r>
                <a:rPr lang="ja-JP" altLang="en-US" sz="1347" b="1" dirty="0">
                  <a:solidFill>
                    <a:srgbClr val="000000"/>
                  </a:solidFill>
                  <a:latin typeface="Meiryo UI"/>
                  <a:ea typeface="Meiryo UI"/>
                </a:rPr>
                <a:t>　　　</a:t>
              </a:r>
              <a:r>
                <a:rPr lang="en-US" altLang="ja-JP" sz="1300" b="1" dirty="0">
                  <a:solidFill>
                    <a:schemeClr val="tx1"/>
                  </a:solidFill>
                  <a:latin typeface="Meiryo UI"/>
                  <a:ea typeface="Meiryo UI"/>
                </a:rPr>
                <a:t>MITSUI-SOKO TRANSPORT</a:t>
              </a:r>
              <a:br>
                <a:rPr lang="en-US" altLang="ja-JP" sz="1300" b="1" dirty="0">
                  <a:solidFill>
                    <a:schemeClr val="tx1"/>
                  </a:solidFill>
                  <a:latin typeface="Meiryo UI"/>
                  <a:ea typeface="Meiryo UI"/>
                </a:rPr>
              </a:br>
              <a:r>
                <a:rPr lang="en-US" altLang="ja-JP" sz="1300" b="1" dirty="0">
                  <a:solidFill>
                    <a:schemeClr val="tx1"/>
                  </a:solidFill>
                  <a:latin typeface="Meiryo UI"/>
                  <a:ea typeface="Meiryo UI"/>
                </a:rPr>
                <a:t>      (MST)</a:t>
              </a:r>
              <a:br>
                <a:rPr lang="en-US" altLang="ja-JP" sz="1500" b="1" dirty="0">
                  <a:solidFill>
                    <a:schemeClr val="tx1"/>
                  </a:solidFill>
                  <a:latin typeface="Meiryo UI"/>
                  <a:ea typeface="Meiryo UI"/>
                </a:rPr>
              </a:br>
              <a:r>
                <a:rPr lang="zh-TW" altLang="en-US" sz="1058" dirty="0">
                  <a:solidFill>
                    <a:schemeClr val="tx1"/>
                  </a:solidFill>
                  <a:latin typeface="Meiryo UI"/>
                  <a:ea typeface="Meiryo UI"/>
                </a:rPr>
                <a:t>　　　</a:t>
              </a:r>
              <a:endParaRPr lang="ja-JP" altLang="en-US" sz="1058" dirty="0">
                <a:solidFill>
                  <a:schemeClr val="tx1"/>
                </a:solidFill>
                <a:latin typeface="Meiryo UI"/>
                <a:ea typeface="Meiryo UI"/>
              </a:endParaRPr>
            </a:p>
          </p:txBody>
        </p:sp>
        <p:sp>
          <p:nvSpPr>
            <p:cNvPr id="69" name="テキスト ボックス 50"/>
            <p:cNvSpPr txBox="1">
              <a:spLocks noChangeArrowheads="1"/>
            </p:cNvSpPr>
            <p:nvPr/>
          </p:nvSpPr>
          <p:spPr bwMode="auto">
            <a:xfrm>
              <a:off x="2121884" y="6271269"/>
              <a:ext cx="233561" cy="863990"/>
            </a:xfrm>
            <a:prstGeom prst="rect">
              <a:avLst/>
            </a:prstGeom>
            <a:solidFill>
              <a:srgbClr val="002060"/>
            </a:soli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defTabSz="879470"/>
              <a:r>
                <a:rPr lang="ja-JP" altLang="en-US" sz="1539" b="1" dirty="0">
                  <a:solidFill>
                    <a:srgbClr val="FFFFFF"/>
                  </a:solidFill>
                  <a:latin typeface="Meiryo UI"/>
                  <a:ea typeface="Meiryo UI"/>
                </a:rPr>
                <a:t>５</a:t>
              </a:r>
            </a:p>
          </p:txBody>
        </p:sp>
        <p:sp>
          <p:nvSpPr>
            <p:cNvPr id="74" name="正方形/長方形 73"/>
            <p:cNvSpPr/>
            <p:nvPr/>
          </p:nvSpPr>
          <p:spPr>
            <a:xfrm>
              <a:off x="2335319" y="6271269"/>
              <a:ext cx="2920576" cy="210626"/>
            </a:xfrm>
            <a:prstGeom prst="rect">
              <a:avLst/>
            </a:prstGeom>
            <a:solidFill>
              <a:srgbClr val="002060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defTabSz="879470"/>
              <a:r>
                <a:rPr lang="en-US" altLang="ja-JP" sz="1347" b="1" dirty="0">
                  <a:solidFill>
                    <a:srgbClr val="FFFFFF"/>
                  </a:solidFill>
                  <a:latin typeface="Meiryo UI"/>
                  <a:ea typeface="Meiryo UI"/>
                  <a:cs typeface="Arial" pitchFamily="34" charset="0"/>
                </a:rPr>
                <a:t>MST</a:t>
              </a:r>
              <a:endParaRPr lang="ja-JP" altLang="en-US" sz="1347" b="1" dirty="0">
                <a:solidFill>
                  <a:srgbClr val="FFFFFF"/>
                </a:solidFill>
                <a:latin typeface="Meiryo UI"/>
                <a:ea typeface="Meiryo UI"/>
                <a:cs typeface="Arial" pitchFamily="34" charset="0"/>
              </a:endParaRPr>
            </a:p>
          </p:txBody>
        </p:sp>
      </p:grpSp>
      <p:sp>
        <p:nvSpPr>
          <p:cNvPr id="37" name="正方形/長方形 36"/>
          <p:cNvSpPr/>
          <p:nvPr/>
        </p:nvSpPr>
        <p:spPr>
          <a:xfrm>
            <a:off x="872408" y="1546132"/>
            <a:ext cx="959096" cy="202578"/>
          </a:xfrm>
          <a:prstGeom prst="rect">
            <a:avLst/>
          </a:prstGeom>
          <a:solidFill>
            <a:srgbClr val="002060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79470"/>
            <a:r>
              <a:rPr lang="en-US" altLang="ja-JP" sz="1347" b="1" dirty="0">
                <a:solidFill>
                  <a:srgbClr val="FFFFFF"/>
                </a:solidFill>
                <a:latin typeface="Meiryo UI"/>
                <a:ea typeface="Meiryo UI"/>
                <a:cs typeface="Arial" pitchFamily="34" charset="0"/>
              </a:rPr>
              <a:t>MSH</a:t>
            </a:r>
            <a:endParaRPr lang="ja-JP" altLang="en-US" sz="1347" b="1" dirty="0">
              <a:solidFill>
                <a:srgbClr val="FFFFFF"/>
              </a:solidFill>
              <a:latin typeface="Meiryo UI"/>
              <a:ea typeface="Meiryo UI"/>
              <a:cs typeface="Arial" pitchFamily="34" charset="0"/>
            </a:endParaRPr>
          </a:p>
        </p:txBody>
      </p:sp>
      <p:sp>
        <p:nvSpPr>
          <p:cNvPr id="64" name="テキスト ボックス 48"/>
          <p:cNvSpPr txBox="1">
            <a:spLocks noChangeArrowheads="1"/>
          </p:cNvSpPr>
          <p:nvPr/>
        </p:nvSpPr>
        <p:spPr bwMode="auto">
          <a:xfrm>
            <a:off x="2101409" y="3251364"/>
            <a:ext cx="224636" cy="83097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879470"/>
            <a:r>
              <a:rPr lang="ja-JP" altLang="en-US" sz="1539" b="1" dirty="0">
                <a:solidFill>
                  <a:srgbClr val="FFFFFF"/>
                </a:solidFill>
                <a:latin typeface="Meiryo UI"/>
                <a:ea typeface="Meiryo UI"/>
              </a:rPr>
              <a:t>２</a:t>
            </a:r>
          </a:p>
        </p:txBody>
      </p:sp>
      <p:sp>
        <p:nvSpPr>
          <p:cNvPr id="71" name="正方形/長方形 70"/>
          <p:cNvSpPr/>
          <p:nvPr/>
        </p:nvSpPr>
        <p:spPr>
          <a:xfrm>
            <a:off x="2306689" y="3251364"/>
            <a:ext cx="2808978" cy="202577"/>
          </a:xfrm>
          <a:prstGeom prst="rect">
            <a:avLst/>
          </a:prstGeom>
          <a:solidFill>
            <a:srgbClr val="002060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879470"/>
            <a:r>
              <a:rPr lang="en-US" altLang="ja-JP" sz="1347" b="1" dirty="0">
                <a:solidFill>
                  <a:srgbClr val="FFFFFF"/>
                </a:solidFill>
                <a:latin typeface="Meiryo UI"/>
                <a:ea typeface="Meiryo UI"/>
                <a:cs typeface="Arial" pitchFamily="34" charset="0"/>
              </a:rPr>
              <a:t>MSE</a:t>
            </a:r>
            <a:endParaRPr lang="ja-JP" altLang="en-US" sz="1347" b="1" dirty="0">
              <a:solidFill>
                <a:srgbClr val="FFFFFF"/>
              </a:solidFill>
              <a:latin typeface="Meiryo UI"/>
              <a:ea typeface="Meiryo UI"/>
              <a:cs typeface="Arial" pitchFamily="34" charset="0"/>
            </a:endParaRPr>
          </a:p>
        </p:txBody>
      </p:sp>
      <p:pic>
        <p:nvPicPr>
          <p:cNvPr id="43" name="Picture 25" descr="Toyota carlogo.sv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315621" y="3927821"/>
            <a:ext cx="773900" cy="136753"/>
          </a:xfrm>
          <a:prstGeom prst="rect">
            <a:avLst/>
          </a:prstGeom>
          <a:noFill/>
        </p:spPr>
      </p:pic>
      <p:sp>
        <p:nvSpPr>
          <p:cNvPr id="67" name="テキスト ボックス 49"/>
          <p:cNvSpPr txBox="1">
            <a:spLocks noChangeArrowheads="1"/>
          </p:cNvSpPr>
          <p:nvPr/>
        </p:nvSpPr>
        <p:spPr bwMode="auto">
          <a:xfrm>
            <a:off x="2101409" y="4180535"/>
            <a:ext cx="224636" cy="83097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879470"/>
            <a:r>
              <a:rPr lang="en-US" altLang="ja-JP" sz="1539" b="1" dirty="0">
                <a:solidFill>
                  <a:srgbClr val="FFFFFF"/>
                </a:solidFill>
                <a:latin typeface="Meiryo UI"/>
                <a:ea typeface="Meiryo UI"/>
              </a:rPr>
              <a:t>3</a:t>
            </a:r>
            <a:endParaRPr lang="ja-JP" altLang="en-US" sz="1539" b="1" dirty="0">
              <a:solidFill>
                <a:srgbClr val="FFFFFF"/>
              </a:solidFill>
              <a:latin typeface="Meiryo UI"/>
              <a:ea typeface="Meiryo UI"/>
            </a:endParaRPr>
          </a:p>
        </p:txBody>
      </p:sp>
      <p:sp>
        <p:nvSpPr>
          <p:cNvPr id="73" name="正方形/長方形 72"/>
          <p:cNvSpPr/>
          <p:nvPr/>
        </p:nvSpPr>
        <p:spPr>
          <a:xfrm>
            <a:off x="2306688" y="4180327"/>
            <a:ext cx="2808977" cy="202577"/>
          </a:xfrm>
          <a:prstGeom prst="rect">
            <a:avLst/>
          </a:prstGeom>
          <a:solidFill>
            <a:srgbClr val="002060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879470"/>
            <a:r>
              <a:rPr lang="en-US" altLang="ja-JP" sz="1347" b="1" dirty="0">
                <a:solidFill>
                  <a:srgbClr val="FFFFFF"/>
                </a:solidFill>
                <a:latin typeface="Meiryo UI"/>
                <a:ea typeface="Meiryo UI"/>
                <a:cs typeface="Arial" pitchFamily="34" charset="0"/>
              </a:rPr>
              <a:t>MSCS</a:t>
            </a:r>
            <a:endParaRPr lang="ja-JP" altLang="en-US" sz="1347" b="1" dirty="0">
              <a:solidFill>
                <a:srgbClr val="FFFFFF"/>
              </a:solidFill>
              <a:latin typeface="Meiryo UI"/>
              <a:ea typeface="Meiryo UI"/>
              <a:cs typeface="Arial" pitchFamily="34" charset="0"/>
            </a:endParaRPr>
          </a:p>
        </p:txBody>
      </p:sp>
      <p:pic>
        <p:nvPicPr>
          <p:cNvPr id="44" name="Picture 26" descr="ロゴ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4315621" y="4880705"/>
            <a:ext cx="555813" cy="94586"/>
          </a:xfrm>
          <a:prstGeom prst="rect">
            <a:avLst/>
          </a:prstGeom>
          <a:noFill/>
        </p:spPr>
      </p:pic>
      <p:sp>
        <p:nvSpPr>
          <p:cNvPr id="2" name="正方形/長方形 1"/>
          <p:cNvSpPr/>
          <p:nvPr/>
        </p:nvSpPr>
        <p:spPr bwMode="auto">
          <a:xfrm>
            <a:off x="2101408" y="3251366"/>
            <a:ext cx="8065002" cy="830975"/>
          </a:xfrm>
          <a:prstGeom prst="rect">
            <a:avLst/>
          </a:prstGeom>
          <a:noFill/>
          <a:ln w="38100">
            <a:solidFill>
              <a:srgbClr val="FF9933"/>
            </a:solidFill>
            <a:prstDash val="solid"/>
          </a:ln>
          <a:effectLst/>
        </p:spPr>
        <p:txBody>
          <a:bodyPr vert="horz" wrap="none" lIns="79200" tIns="39600" rIns="79200" bIns="396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8050">
              <a:spcBef>
                <a:spcPts val="0"/>
              </a:spcBef>
              <a:spcAft>
                <a:spcPts val="0"/>
              </a:spcAft>
              <a:buClr>
                <a:srgbClr val="DDDDDD"/>
              </a:buClr>
            </a:pPr>
            <a:endParaRPr kumimoji="1" lang="ja-JP" altLang="en-US" sz="12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+mn-ea"/>
              <a:ea typeface="+mn-ea"/>
            </a:endParaRPr>
          </a:p>
        </p:txBody>
      </p:sp>
      <p:sp>
        <p:nvSpPr>
          <p:cNvPr id="47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53" name="タイトル 1"/>
          <p:cNvSpPr txBox="1">
            <a:spLocks/>
          </p:cNvSpPr>
          <p:nvPr/>
        </p:nvSpPr>
        <p:spPr bwMode="auto">
          <a:xfrm>
            <a:off x="603709" y="106465"/>
            <a:ext cx="9810194" cy="81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0" rIns="0" bIns="0" numCol="1" anchor="b" anchorCtr="0" compatLnSpc="1">
            <a:prstTxWarp prst="textNoShape">
              <a:avLst/>
            </a:prstTxWarp>
          </a:bodyPr>
          <a:lstStyle>
            <a:lvl1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501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43973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87947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131920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175894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r>
              <a:rPr lang="en-US" altLang="ja-JP" sz="1731" kern="0" dirty="0">
                <a:solidFill>
                  <a:schemeClr val="tx1"/>
                </a:solidFill>
              </a:rPr>
              <a:t>Ⅰ. Introduction of MITSUI-SOKO Group</a:t>
            </a:r>
            <a:br>
              <a:rPr lang="en-US" altLang="ja-JP" kern="0" dirty="0">
                <a:solidFill>
                  <a:schemeClr val="tx1"/>
                </a:solidFill>
              </a:rPr>
            </a:br>
            <a:r>
              <a:rPr lang="en-US" altLang="ja-JP" sz="2400" kern="0" dirty="0">
                <a:solidFill>
                  <a:schemeClr val="tx1"/>
                </a:solidFill>
              </a:rPr>
              <a:t>  2. Group Company</a:t>
            </a:r>
            <a:endParaRPr lang="ja-JP" altLang="en-US" sz="2400" kern="0" dirty="0">
              <a:solidFill>
                <a:schemeClr val="tx1"/>
              </a:solidFill>
            </a:endParaRPr>
          </a:p>
        </p:txBody>
      </p:sp>
      <p:sp>
        <p:nvSpPr>
          <p:cNvPr id="55" name="正方形/長方形 54"/>
          <p:cNvSpPr/>
          <p:nvPr/>
        </p:nvSpPr>
        <p:spPr>
          <a:xfrm>
            <a:off x="2316365" y="5122861"/>
            <a:ext cx="2808978" cy="202578"/>
          </a:xfrm>
          <a:prstGeom prst="rect">
            <a:avLst/>
          </a:prstGeom>
          <a:solidFill>
            <a:srgbClr val="002060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879470"/>
            <a:r>
              <a:rPr lang="en-US" altLang="ja-JP" sz="1347" b="1" dirty="0">
                <a:solidFill>
                  <a:srgbClr val="FFFFFF"/>
                </a:solidFill>
                <a:latin typeface="Meiryo UI"/>
                <a:ea typeface="Meiryo UI"/>
                <a:cs typeface="Arial" pitchFamily="34" charset="0"/>
              </a:rPr>
              <a:t>MSL</a:t>
            </a:r>
            <a:endParaRPr lang="ja-JP" altLang="en-US" sz="1347" b="1" dirty="0">
              <a:solidFill>
                <a:srgbClr val="FFFFFF"/>
              </a:solidFill>
              <a:latin typeface="Meiryo UI"/>
              <a:ea typeface="Meiryo UI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74538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" name="正方形/長方形 87">
            <a:extLst>
              <a:ext uri="{FF2B5EF4-FFF2-40B4-BE49-F238E27FC236}">
                <a16:creationId xmlns:a16="http://schemas.microsoft.com/office/drawing/2014/main" id="{11721494-BB8B-4125-B3E9-92C3853B2A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9744" y="4078099"/>
            <a:ext cx="8498361" cy="276995"/>
          </a:xfrm>
          <a:prstGeom prst="rect">
            <a:avLst/>
          </a:prstGeom>
          <a:solidFill>
            <a:schemeClr val="bg1"/>
          </a:solidFill>
          <a:ln w="12700">
            <a:solidFill>
              <a:srgbClr val="FF0000"/>
            </a:solidFill>
            <a:miter lim="800000"/>
            <a:headEnd/>
            <a:tailEnd/>
          </a:ln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ja-JP" altLang="en-US" sz="1319" b="1" dirty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</a:p>
        </p:txBody>
      </p:sp>
      <p:sp>
        <p:nvSpPr>
          <p:cNvPr id="768" name="正方形/長方形 87">
            <a:extLst>
              <a:ext uri="{FF2B5EF4-FFF2-40B4-BE49-F238E27FC236}">
                <a16:creationId xmlns:a16="http://schemas.microsoft.com/office/drawing/2014/main" id="{BDE2C996-6BDB-470F-9C29-880151F584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9744" y="5410674"/>
            <a:ext cx="8498361" cy="276995"/>
          </a:xfrm>
          <a:prstGeom prst="rect">
            <a:avLst/>
          </a:prstGeom>
          <a:solidFill>
            <a:schemeClr val="bg1"/>
          </a:solidFill>
          <a:ln w="12700">
            <a:solidFill>
              <a:srgbClr val="FFFF00"/>
            </a:solidFill>
            <a:miter lim="800000"/>
            <a:headEnd/>
            <a:tailEnd/>
          </a:ln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ja-JP" altLang="en-US" sz="1319" b="1" dirty="0">
                <a:ln>
                  <a:solidFill>
                    <a:srgbClr val="FF0000"/>
                  </a:solidFill>
                </a:ln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</a:p>
        </p:txBody>
      </p:sp>
      <p:sp>
        <p:nvSpPr>
          <p:cNvPr id="767" name="正方形/長方形 87">
            <a:extLst>
              <a:ext uri="{FF2B5EF4-FFF2-40B4-BE49-F238E27FC236}">
                <a16:creationId xmlns:a16="http://schemas.microsoft.com/office/drawing/2014/main" id="{620ECF96-F2F5-471A-9E24-B0F5374C4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9744" y="4744386"/>
            <a:ext cx="8498361" cy="276995"/>
          </a:xfrm>
          <a:prstGeom prst="rect">
            <a:avLst/>
          </a:prstGeom>
          <a:solidFill>
            <a:schemeClr val="bg1"/>
          </a:solidFill>
          <a:ln w="12700">
            <a:solidFill>
              <a:srgbClr val="FFC000"/>
            </a:solidFill>
            <a:miter lim="800000"/>
            <a:headEnd/>
            <a:tailEnd/>
          </a:ln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ja-JP" altLang="en-US" sz="1319" b="1" dirty="0">
                <a:ln>
                  <a:solidFill>
                    <a:srgbClr val="FF0000"/>
                  </a:solidFill>
                </a:ln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</a:p>
        </p:txBody>
      </p:sp>
      <p:grpSp>
        <p:nvGrpSpPr>
          <p:cNvPr id="3" name="Group 94"/>
          <p:cNvGrpSpPr>
            <a:grpSpLocks/>
          </p:cNvGrpSpPr>
          <p:nvPr/>
        </p:nvGrpSpPr>
        <p:grpSpPr bwMode="auto">
          <a:xfrm>
            <a:off x="4148770" y="2293835"/>
            <a:ext cx="406555" cy="203277"/>
            <a:chOff x="676" y="3333"/>
            <a:chExt cx="1388" cy="315"/>
          </a:xfrm>
        </p:grpSpPr>
        <p:sp>
          <p:nvSpPr>
            <p:cNvPr id="382" name="AutoShape 95"/>
            <p:cNvSpPr>
              <a:spLocks noChangeAspect="1" noChangeArrowheads="1" noTextEdit="1"/>
            </p:cNvSpPr>
            <p:nvPr/>
          </p:nvSpPr>
          <p:spPr bwMode="auto">
            <a:xfrm>
              <a:off x="676" y="3333"/>
              <a:ext cx="1388" cy="315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383" name="Rectangle 96"/>
            <p:cNvSpPr>
              <a:spLocks noChangeArrowheads="1"/>
            </p:cNvSpPr>
            <p:nvPr/>
          </p:nvSpPr>
          <p:spPr bwMode="auto">
            <a:xfrm>
              <a:off x="1375" y="3361"/>
              <a:ext cx="464" cy="171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384" name="Freeform 97"/>
            <p:cNvSpPr>
              <a:spLocks/>
            </p:cNvSpPr>
            <p:nvPr/>
          </p:nvSpPr>
          <p:spPr bwMode="auto">
            <a:xfrm>
              <a:off x="676" y="3368"/>
              <a:ext cx="1373" cy="278"/>
            </a:xfrm>
            <a:custGeom>
              <a:avLst/>
              <a:gdLst>
                <a:gd name="T0" fmla="*/ 0 w 5497"/>
                <a:gd name="T1" fmla="*/ 0 h 1392"/>
                <a:gd name="T2" fmla="*/ 0 w 5497"/>
                <a:gd name="T3" fmla="*/ 0 h 1392"/>
                <a:gd name="T4" fmla="*/ 0 w 5497"/>
                <a:gd name="T5" fmla="*/ 0 h 1392"/>
                <a:gd name="T6" fmla="*/ 0 w 5497"/>
                <a:gd name="T7" fmla="*/ 0 h 1392"/>
                <a:gd name="T8" fmla="*/ 0 w 5497"/>
                <a:gd name="T9" fmla="*/ 0 h 1392"/>
                <a:gd name="T10" fmla="*/ 0 w 5497"/>
                <a:gd name="T11" fmla="*/ 0 h 1392"/>
                <a:gd name="T12" fmla="*/ 0 w 5497"/>
                <a:gd name="T13" fmla="*/ 0 h 1392"/>
                <a:gd name="T14" fmla="*/ 0 w 5497"/>
                <a:gd name="T15" fmla="*/ 0 h 1392"/>
                <a:gd name="T16" fmla="*/ 0 w 5497"/>
                <a:gd name="T17" fmla="*/ 0 h 1392"/>
                <a:gd name="T18" fmla="*/ 0 w 5497"/>
                <a:gd name="T19" fmla="*/ 0 h 1392"/>
                <a:gd name="T20" fmla="*/ 0 w 5497"/>
                <a:gd name="T21" fmla="*/ 0 h 1392"/>
                <a:gd name="T22" fmla="*/ 0 w 5497"/>
                <a:gd name="T23" fmla="*/ 0 h 1392"/>
                <a:gd name="T24" fmla="*/ 0 w 5497"/>
                <a:gd name="T25" fmla="*/ 0 h 1392"/>
                <a:gd name="T26" fmla="*/ 0 w 5497"/>
                <a:gd name="T27" fmla="*/ 0 h 1392"/>
                <a:gd name="T28" fmla="*/ 0 w 5497"/>
                <a:gd name="T29" fmla="*/ 0 h 1392"/>
                <a:gd name="T30" fmla="*/ 0 w 5497"/>
                <a:gd name="T31" fmla="*/ 0 h 1392"/>
                <a:gd name="T32" fmla="*/ 0 w 5497"/>
                <a:gd name="T33" fmla="*/ 0 h 1392"/>
                <a:gd name="T34" fmla="*/ 0 w 5497"/>
                <a:gd name="T35" fmla="*/ 0 h 1392"/>
                <a:gd name="T36" fmla="*/ 0 w 5497"/>
                <a:gd name="T37" fmla="*/ 0 h 1392"/>
                <a:gd name="T38" fmla="*/ 0 w 5497"/>
                <a:gd name="T39" fmla="*/ 0 h 1392"/>
                <a:gd name="T40" fmla="*/ 0 w 5497"/>
                <a:gd name="T41" fmla="*/ 0 h 1392"/>
                <a:gd name="T42" fmla="*/ 0 w 5497"/>
                <a:gd name="T43" fmla="*/ 0 h 1392"/>
                <a:gd name="T44" fmla="*/ 0 w 5497"/>
                <a:gd name="T45" fmla="*/ 0 h 1392"/>
                <a:gd name="T46" fmla="*/ 0 w 5497"/>
                <a:gd name="T47" fmla="*/ 0 h 1392"/>
                <a:gd name="T48" fmla="*/ 0 w 5497"/>
                <a:gd name="T49" fmla="*/ 0 h 1392"/>
                <a:gd name="T50" fmla="*/ 0 w 5497"/>
                <a:gd name="T51" fmla="*/ 0 h 1392"/>
                <a:gd name="T52" fmla="*/ 0 w 5497"/>
                <a:gd name="T53" fmla="*/ 0 h 1392"/>
                <a:gd name="T54" fmla="*/ 0 w 5497"/>
                <a:gd name="T55" fmla="*/ 0 h 1392"/>
                <a:gd name="T56" fmla="*/ 0 w 5497"/>
                <a:gd name="T57" fmla="*/ 0 h 1392"/>
                <a:gd name="T58" fmla="*/ 0 w 5497"/>
                <a:gd name="T59" fmla="*/ 0 h 1392"/>
                <a:gd name="T60" fmla="*/ 0 w 5497"/>
                <a:gd name="T61" fmla="*/ 0 h 1392"/>
                <a:gd name="T62" fmla="*/ 0 w 5497"/>
                <a:gd name="T63" fmla="*/ 0 h 139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497" h="1392">
                  <a:moveTo>
                    <a:pt x="0" y="574"/>
                  </a:moveTo>
                  <a:lnTo>
                    <a:pt x="42" y="574"/>
                  </a:lnTo>
                  <a:lnTo>
                    <a:pt x="42" y="880"/>
                  </a:lnTo>
                  <a:lnTo>
                    <a:pt x="355" y="880"/>
                  </a:lnTo>
                  <a:lnTo>
                    <a:pt x="355" y="623"/>
                  </a:lnTo>
                  <a:lnTo>
                    <a:pt x="461" y="623"/>
                  </a:lnTo>
                  <a:lnTo>
                    <a:pt x="461" y="268"/>
                  </a:lnTo>
                  <a:lnTo>
                    <a:pt x="505" y="268"/>
                  </a:lnTo>
                  <a:lnTo>
                    <a:pt x="505" y="623"/>
                  </a:lnTo>
                  <a:lnTo>
                    <a:pt x="570" y="623"/>
                  </a:lnTo>
                  <a:lnTo>
                    <a:pt x="570" y="0"/>
                  </a:lnTo>
                  <a:lnTo>
                    <a:pt x="612" y="0"/>
                  </a:lnTo>
                  <a:lnTo>
                    <a:pt x="612" y="623"/>
                  </a:lnTo>
                  <a:lnTo>
                    <a:pt x="808" y="623"/>
                  </a:lnTo>
                  <a:lnTo>
                    <a:pt x="808" y="439"/>
                  </a:lnTo>
                  <a:lnTo>
                    <a:pt x="733" y="439"/>
                  </a:lnTo>
                  <a:lnTo>
                    <a:pt x="733" y="390"/>
                  </a:lnTo>
                  <a:lnTo>
                    <a:pt x="1010" y="390"/>
                  </a:lnTo>
                  <a:lnTo>
                    <a:pt x="1010" y="0"/>
                  </a:lnTo>
                  <a:lnTo>
                    <a:pt x="1237" y="0"/>
                  </a:lnTo>
                  <a:lnTo>
                    <a:pt x="1237" y="390"/>
                  </a:lnTo>
                  <a:lnTo>
                    <a:pt x="1494" y="390"/>
                  </a:lnTo>
                  <a:lnTo>
                    <a:pt x="1494" y="439"/>
                  </a:lnTo>
                  <a:lnTo>
                    <a:pt x="1431" y="439"/>
                  </a:lnTo>
                  <a:lnTo>
                    <a:pt x="1431" y="623"/>
                  </a:lnTo>
                  <a:lnTo>
                    <a:pt x="1635" y="623"/>
                  </a:lnTo>
                  <a:lnTo>
                    <a:pt x="1635" y="880"/>
                  </a:lnTo>
                  <a:lnTo>
                    <a:pt x="1807" y="880"/>
                  </a:lnTo>
                  <a:lnTo>
                    <a:pt x="1807" y="513"/>
                  </a:lnTo>
                  <a:lnTo>
                    <a:pt x="1850" y="513"/>
                  </a:lnTo>
                  <a:lnTo>
                    <a:pt x="1850" y="880"/>
                  </a:lnTo>
                  <a:lnTo>
                    <a:pt x="4775" y="880"/>
                  </a:lnTo>
                  <a:lnTo>
                    <a:pt x="4775" y="697"/>
                  </a:lnTo>
                  <a:lnTo>
                    <a:pt x="5119" y="697"/>
                  </a:lnTo>
                  <a:lnTo>
                    <a:pt x="5119" y="880"/>
                  </a:lnTo>
                  <a:lnTo>
                    <a:pt x="5216" y="880"/>
                  </a:lnTo>
                  <a:lnTo>
                    <a:pt x="5216" y="587"/>
                  </a:lnTo>
                  <a:lnTo>
                    <a:pt x="5260" y="587"/>
                  </a:lnTo>
                  <a:lnTo>
                    <a:pt x="5260" y="880"/>
                  </a:lnTo>
                  <a:lnTo>
                    <a:pt x="5497" y="880"/>
                  </a:lnTo>
                  <a:lnTo>
                    <a:pt x="4916" y="1392"/>
                  </a:lnTo>
                  <a:lnTo>
                    <a:pt x="421" y="1392"/>
                  </a:lnTo>
                  <a:lnTo>
                    <a:pt x="389" y="1386"/>
                  </a:lnTo>
                  <a:lnTo>
                    <a:pt x="360" y="1376"/>
                  </a:lnTo>
                  <a:lnTo>
                    <a:pt x="329" y="1364"/>
                  </a:lnTo>
                  <a:lnTo>
                    <a:pt x="300" y="1351"/>
                  </a:lnTo>
                  <a:lnTo>
                    <a:pt x="271" y="1335"/>
                  </a:lnTo>
                  <a:lnTo>
                    <a:pt x="244" y="1317"/>
                  </a:lnTo>
                  <a:lnTo>
                    <a:pt x="218" y="1298"/>
                  </a:lnTo>
                  <a:lnTo>
                    <a:pt x="192" y="1276"/>
                  </a:lnTo>
                  <a:lnTo>
                    <a:pt x="168" y="1254"/>
                  </a:lnTo>
                  <a:lnTo>
                    <a:pt x="145" y="1229"/>
                  </a:lnTo>
                  <a:lnTo>
                    <a:pt x="124" y="1203"/>
                  </a:lnTo>
                  <a:lnTo>
                    <a:pt x="103" y="1175"/>
                  </a:lnTo>
                  <a:lnTo>
                    <a:pt x="85" y="1146"/>
                  </a:lnTo>
                  <a:lnTo>
                    <a:pt x="68" y="1115"/>
                  </a:lnTo>
                  <a:lnTo>
                    <a:pt x="53" y="1083"/>
                  </a:lnTo>
                  <a:lnTo>
                    <a:pt x="39" y="1051"/>
                  </a:lnTo>
                  <a:lnTo>
                    <a:pt x="27" y="1019"/>
                  </a:lnTo>
                  <a:lnTo>
                    <a:pt x="18" y="985"/>
                  </a:lnTo>
                  <a:lnTo>
                    <a:pt x="11" y="950"/>
                  </a:lnTo>
                  <a:lnTo>
                    <a:pt x="3" y="914"/>
                  </a:lnTo>
                  <a:lnTo>
                    <a:pt x="0" y="880"/>
                  </a:lnTo>
                  <a:lnTo>
                    <a:pt x="0" y="574"/>
                  </a:lnTo>
                  <a:close/>
                </a:path>
              </a:pathLst>
            </a:custGeom>
            <a:solidFill>
              <a:srgbClr val="003F56"/>
            </a:solidFill>
            <a:ln w="0">
              <a:solidFill>
                <a:srgbClr val="256885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385" name="Freeform 98"/>
            <p:cNvSpPr>
              <a:spLocks/>
            </p:cNvSpPr>
            <p:nvPr/>
          </p:nvSpPr>
          <p:spPr bwMode="auto">
            <a:xfrm>
              <a:off x="1370" y="3356"/>
              <a:ext cx="480" cy="178"/>
            </a:xfrm>
            <a:custGeom>
              <a:avLst/>
              <a:gdLst>
                <a:gd name="T0" fmla="*/ 0 w 1917"/>
                <a:gd name="T1" fmla="*/ 0 h 903"/>
                <a:gd name="T2" fmla="*/ 0 w 1917"/>
                <a:gd name="T3" fmla="*/ 0 h 903"/>
                <a:gd name="T4" fmla="*/ 0 w 1917"/>
                <a:gd name="T5" fmla="*/ 0 h 903"/>
                <a:gd name="T6" fmla="*/ 0 w 1917"/>
                <a:gd name="T7" fmla="*/ 0 h 903"/>
                <a:gd name="T8" fmla="*/ 0 w 1917"/>
                <a:gd name="T9" fmla="*/ 0 h 903"/>
                <a:gd name="T10" fmla="*/ 0 w 1917"/>
                <a:gd name="T11" fmla="*/ 0 h 903"/>
                <a:gd name="T12" fmla="*/ 0 w 1917"/>
                <a:gd name="T13" fmla="*/ 0 h 903"/>
                <a:gd name="T14" fmla="*/ 0 w 1917"/>
                <a:gd name="T15" fmla="*/ 0 h 903"/>
                <a:gd name="T16" fmla="*/ 0 w 1917"/>
                <a:gd name="T17" fmla="*/ 0 h 90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17" h="903">
                  <a:moveTo>
                    <a:pt x="0" y="903"/>
                  </a:moveTo>
                  <a:lnTo>
                    <a:pt x="44" y="903"/>
                  </a:lnTo>
                  <a:lnTo>
                    <a:pt x="44" y="49"/>
                  </a:lnTo>
                  <a:lnTo>
                    <a:pt x="1872" y="49"/>
                  </a:lnTo>
                  <a:lnTo>
                    <a:pt x="1872" y="903"/>
                  </a:lnTo>
                  <a:lnTo>
                    <a:pt x="1917" y="903"/>
                  </a:lnTo>
                  <a:lnTo>
                    <a:pt x="1917" y="0"/>
                  </a:lnTo>
                  <a:lnTo>
                    <a:pt x="0" y="0"/>
                  </a:lnTo>
                  <a:lnTo>
                    <a:pt x="0" y="90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3F56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386" name="Rectangle 99"/>
            <p:cNvSpPr>
              <a:spLocks noChangeArrowheads="1"/>
            </p:cNvSpPr>
            <p:nvPr/>
          </p:nvSpPr>
          <p:spPr bwMode="auto">
            <a:xfrm>
              <a:off x="1447" y="3356"/>
              <a:ext cx="10" cy="188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387" name="Rectangle 100"/>
            <p:cNvSpPr>
              <a:spLocks noChangeArrowheads="1"/>
            </p:cNvSpPr>
            <p:nvPr/>
          </p:nvSpPr>
          <p:spPr bwMode="auto">
            <a:xfrm>
              <a:off x="1523" y="3356"/>
              <a:ext cx="15" cy="188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388" name="Rectangle 101"/>
            <p:cNvSpPr>
              <a:spLocks noChangeArrowheads="1"/>
            </p:cNvSpPr>
            <p:nvPr/>
          </p:nvSpPr>
          <p:spPr bwMode="auto">
            <a:xfrm>
              <a:off x="1605" y="3356"/>
              <a:ext cx="10" cy="188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389" name="Rectangle 102"/>
            <p:cNvSpPr>
              <a:spLocks noChangeArrowheads="1"/>
            </p:cNvSpPr>
            <p:nvPr/>
          </p:nvSpPr>
          <p:spPr bwMode="auto">
            <a:xfrm>
              <a:off x="1681" y="3356"/>
              <a:ext cx="10" cy="188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390" name="Rectangle 103"/>
            <p:cNvSpPr>
              <a:spLocks noChangeArrowheads="1"/>
            </p:cNvSpPr>
            <p:nvPr/>
          </p:nvSpPr>
          <p:spPr bwMode="auto">
            <a:xfrm>
              <a:off x="1758" y="3356"/>
              <a:ext cx="15" cy="188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391" name="Rectangle 104"/>
            <p:cNvSpPr>
              <a:spLocks noChangeArrowheads="1"/>
            </p:cNvSpPr>
            <p:nvPr/>
          </p:nvSpPr>
          <p:spPr bwMode="auto">
            <a:xfrm>
              <a:off x="1375" y="3486"/>
              <a:ext cx="464" cy="9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392" name="Rectangle 105"/>
            <p:cNvSpPr>
              <a:spLocks noChangeArrowheads="1"/>
            </p:cNvSpPr>
            <p:nvPr/>
          </p:nvSpPr>
          <p:spPr bwMode="auto">
            <a:xfrm>
              <a:off x="1375" y="3442"/>
              <a:ext cx="464" cy="9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393" name="Rectangle 106"/>
            <p:cNvSpPr>
              <a:spLocks noChangeArrowheads="1"/>
            </p:cNvSpPr>
            <p:nvPr/>
          </p:nvSpPr>
          <p:spPr bwMode="auto">
            <a:xfrm>
              <a:off x="1375" y="3398"/>
              <a:ext cx="464" cy="9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</p:grpSp>
      <p:sp>
        <p:nvSpPr>
          <p:cNvPr id="394" name="Freeform 108"/>
          <p:cNvSpPr>
            <a:spLocks/>
          </p:cNvSpPr>
          <p:nvPr/>
        </p:nvSpPr>
        <p:spPr bwMode="auto">
          <a:xfrm rot="19981187">
            <a:off x="4435343" y="1908598"/>
            <a:ext cx="88190" cy="100208"/>
          </a:xfrm>
          <a:custGeom>
            <a:avLst/>
            <a:gdLst>
              <a:gd name="T0" fmla="*/ 249747102 w 117"/>
              <a:gd name="T1" fmla="*/ 101996156 h 100"/>
              <a:gd name="T2" fmla="*/ 943555548 w 117"/>
              <a:gd name="T3" fmla="*/ 127544153 h 100"/>
              <a:gd name="T4" fmla="*/ 1692458527 w 117"/>
              <a:gd name="T5" fmla="*/ 281578941 h 100"/>
              <a:gd name="T6" fmla="*/ 2012918950 w 117"/>
              <a:gd name="T7" fmla="*/ 434522144 h 100"/>
              <a:gd name="T8" fmla="*/ 1798576944 w 117"/>
              <a:gd name="T9" fmla="*/ 612989904 h 100"/>
              <a:gd name="T10" fmla="*/ 249747102 w 117"/>
              <a:gd name="T11" fmla="*/ 767176764 h 100"/>
              <a:gd name="T12" fmla="*/ 249747102 w 117"/>
              <a:gd name="T13" fmla="*/ 101996156 h 1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7" h="100">
                <a:moveTo>
                  <a:pt x="14" y="12"/>
                </a:moveTo>
                <a:cubicBezTo>
                  <a:pt x="20" y="0"/>
                  <a:pt x="40" y="12"/>
                  <a:pt x="53" y="15"/>
                </a:cubicBezTo>
                <a:cubicBezTo>
                  <a:pt x="66" y="18"/>
                  <a:pt x="85" y="27"/>
                  <a:pt x="95" y="33"/>
                </a:cubicBezTo>
                <a:cubicBezTo>
                  <a:pt x="105" y="39"/>
                  <a:pt x="112" y="45"/>
                  <a:pt x="113" y="51"/>
                </a:cubicBezTo>
                <a:cubicBezTo>
                  <a:pt x="114" y="57"/>
                  <a:pt x="117" y="66"/>
                  <a:pt x="101" y="72"/>
                </a:cubicBezTo>
                <a:cubicBezTo>
                  <a:pt x="85" y="78"/>
                  <a:pt x="28" y="100"/>
                  <a:pt x="14" y="90"/>
                </a:cubicBezTo>
                <a:cubicBezTo>
                  <a:pt x="0" y="80"/>
                  <a:pt x="8" y="24"/>
                  <a:pt x="14" y="12"/>
                </a:cubicBezTo>
                <a:close/>
              </a:path>
            </a:pathLst>
          </a:custGeom>
          <a:solidFill>
            <a:srgbClr val="003F56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879470" fontAlgn="auto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319" kern="0" dirty="0">
              <a:solidFill>
                <a:srgbClr val="000000"/>
              </a:solidFill>
              <a:latin typeface="Meiryo UI"/>
              <a:ea typeface="Meiryo UI"/>
              <a:cs typeface="メイリオ" pitchFamily="50" charset="-128"/>
            </a:endParaRPr>
          </a:p>
        </p:txBody>
      </p:sp>
      <p:grpSp>
        <p:nvGrpSpPr>
          <p:cNvPr id="4" name="Group 109"/>
          <p:cNvGrpSpPr>
            <a:grpSpLocks/>
          </p:cNvGrpSpPr>
          <p:nvPr/>
        </p:nvGrpSpPr>
        <p:grpSpPr bwMode="auto">
          <a:xfrm rot="19981187">
            <a:off x="4153278" y="1910053"/>
            <a:ext cx="402570" cy="237654"/>
            <a:chOff x="282" y="1861"/>
            <a:chExt cx="4300" cy="1755"/>
          </a:xfrm>
        </p:grpSpPr>
        <p:sp>
          <p:nvSpPr>
            <p:cNvPr id="396" name="Rectangle 110"/>
            <p:cNvSpPr>
              <a:spLocks noChangeArrowheads="1"/>
            </p:cNvSpPr>
            <p:nvPr/>
          </p:nvSpPr>
          <p:spPr bwMode="auto">
            <a:xfrm>
              <a:off x="1351" y="2354"/>
              <a:ext cx="2698" cy="618"/>
            </a:xfrm>
            <a:prstGeom prst="rect">
              <a:avLst/>
            </a:prstGeom>
            <a:solidFill>
              <a:srgbClr val="003F56"/>
            </a:solidFill>
            <a:ln>
              <a:noFill/>
            </a:ln>
            <a:effectLst/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397" name="Freeform 111"/>
            <p:cNvSpPr>
              <a:spLocks/>
            </p:cNvSpPr>
            <p:nvPr/>
          </p:nvSpPr>
          <p:spPr bwMode="auto">
            <a:xfrm>
              <a:off x="180" y="2242"/>
              <a:ext cx="1421" cy="695"/>
            </a:xfrm>
            <a:custGeom>
              <a:avLst/>
              <a:gdLst>
                <a:gd name="T0" fmla="*/ 2147483646 w 171"/>
                <a:gd name="T1" fmla="*/ 1244941785 h 89"/>
                <a:gd name="T2" fmla="*/ 1554946562 w 171"/>
                <a:gd name="T3" fmla="*/ 1119612767 h 89"/>
                <a:gd name="T4" fmla="*/ 291887747 w 171"/>
                <a:gd name="T5" fmla="*/ 447171312 h 89"/>
                <a:gd name="T6" fmla="*/ 403003596 w 171"/>
                <a:gd name="T7" fmla="*/ 194879007 h 89"/>
                <a:gd name="T8" fmla="*/ 2147483646 w 171"/>
                <a:gd name="T9" fmla="*/ 153932920 h 89"/>
                <a:gd name="T10" fmla="*/ 2147483646 w 171"/>
                <a:gd name="T11" fmla="*/ 1160794180 h 8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1" h="89">
                  <a:moveTo>
                    <a:pt x="142" y="89"/>
                  </a:moveTo>
                  <a:cubicBezTo>
                    <a:pt x="124" y="89"/>
                    <a:pt x="106" y="89"/>
                    <a:pt x="85" y="80"/>
                  </a:cubicBezTo>
                  <a:cubicBezTo>
                    <a:pt x="64" y="71"/>
                    <a:pt x="26" y="43"/>
                    <a:pt x="16" y="32"/>
                  </a:cubicBezTo>
                  <a:cubicBezTo>
                    <a:pt x="6" y="21"/>
                    <a:pt x="0" y="17"/>
                    <a:pt x="22" y="14"/>
                  </a:cubicBezTo>
                  <a:cubicBezTo>
                    <a:pt x="44" y="11"/>
                    <a:pt x="125" y="0"/>
                    <a:pt x="148" y="11"/>
                  </a:cubicBezTo>
                  <a:cubicBezTo>
                    <a:pt x="171" y="22"/>
                    <a:pt x="160" y="70"/>
                    <a:pt x="160" y="83"/>
                  </a:cubicBezTo>
                </a:path>
              </a:pathLst>
            </a:custGeom>
            <a:solidFill>
              <a:srgbClr val="003F56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398" name="Freeform 112"/>
            <p:cNvSpPr>
              <a:spLocks/>
            </p:cNvSpPr>
            <p:nvPr/>
          </p:nvSpPr>
          <p:spPr bwMode="auto">
            <a:xfrm>
              <a:off x="415" y="1418"/>
              <a:ext cx="766" cy="916"/>
            </a:xfrm>
            <a:custGeom>
              <a:avLst/>
              <a:gdLst>
                <a:gd name="T0" fmla="*/ 268083003 w 96"/>
                <a:gd name="T1" fmla="*/ 2033133479 h 114"/>
                <a:gd name="T2" fmla="*/ 53283571 w 96"/>
                <a:gd name="T3" fmla="*/ 482214439 h 114"/>
                <a:gd name="T4" fmla="*/ 0 w 96"/>
                <a:gd name="T5" fmla="*/ 0 h 114"/>
                <a:gd name="T6" fmla="*/ 803974875 w 96"/>
                <a:gd name="T7" fmla="*/ 0 h 114"/>
                <a:gd name="T8" fmla="*/ 1713967683 w 96"/>
                <a:gd name="T9" fmla="*/ 1980157619 h 1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6" h="114">
                  <a:moveTo>
                    <a:pt x="15" y="114"/>
                  </a:moveTo>
                  <a:lnTo>
                    <a:pt x="3" y="27"/>
                  </a:lnTo>
                  <a:lnTo>
                    <a:pt x="0" y="0"/>
                  </a:lnTo>
                  <a:lnTo>
                    <a:pt x="45" y="0"/>
                  </a:lnTo>
                  <a:lnTo>
                    <a:pt x="96" y="111"/>
                  </a:lnTo>
                </a:path>
              </a:pathLst>
            </a:custGeom>
            <a:solidFill>
              <a:srgbClr val="003F56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399" name="Rectangle 113"/>
            <p:cNvSpPr>
              <a:spLocks noChangeArrowheads="1"/>
            </p:cNvSpPr>
            <p:nvPr/>
          </p:nvSpPr>
          <p:spPr bwMode="auto">
            <a:xfrm>
              <a:off x="4125" y="2505"/>
              <a:ext cx="144" cy="1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00" name="Freeform 114"/>
            <p:cNvSpPr>
              <a:spLocks/>
            </p:cNvSpPr>
            <p:nvPr/>
          </p:nvSpPr>
          <p:spPr bwMode="auto">
            <a:xfrm>
              <a:off x="4267" y="2494"/>
              <a:ext cx="224" cy="132"/>
            </a:xfrm>
            <a:custGeom>
              <a:avLst/>
              <a:gdLst>
                <a:gd name="T0" fmla="*/ 0 w 52"/>
                <a:gd name="T1" fmla="*/ 12248139 h 28"/>
                <a:gd name="T2" fmla="*/ 0 w 52"/>
                <a:gd name="T3" fmla="*/ 0 h 28"/>
                <a:gd name="T4" fmla="*/ 1457961 w 52"/>
                <a:gd name="T5" fmla="*/ 0 h 28"/>
                <a:gd name="T6" fmla="*/ 2916090 w 52"/>
                <a:gd name="T7" fmla="*/ 12248139 h 28"/>
                <a:gd name="T8" fmla="*/ 0 w 52"/>
                <a:gd name="T9" fmla="*/ 12248139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2" h="28">
                  <a:moveTo>
                    <a:pt x="0" y="2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52" y="28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01" name="Rectangle 115"/>
            <p:cNvSpPr>
              <a:spLocks noChangeArrowheads="1"/>
            </p:cNvSpPr>
            <p:nvPr/>
          </p:nvSpPr>
          <p:spPr bwMode="auto">
            <a:xfrm>
              <a:off x="1311" y="2499"/>
              <a:ext cx="2714" cy="1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02" name="Line 116"/>
            <p:cNvSpPr>
              <a:spLocks noChangeShapeType="1"/>
            </p:cNvSpPr>
            <p:nvPr/>
          </p:nvSpPr>
          <p:spPr bwMode="auto">
            <a:xfrm flipV="1">
              <a:off x="1430" y="2486"/>
              <a:ext cx="0" cy="177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03" name="Line 117"/>
            <p:cNvSpPr>
              <a:spLocks noChangeShapeType="1"/>
            </p:cNvSpPr>
            <p:nvPr/>
          </p:nvSpPr>
          <p:spPr bwMode="auto">
            <a:xfrm flipV="1">
              <a:off x="1605" y="2437"/>
              <a:ext cx="0" cy="188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04" name="Line 118"/>
            <p:cNvSpPr>
              <a:spLocks noChangeShapeType="1"/>
            </p:cNvSpPr>
            <p:nvPr/>
          </p:nvSpPr>
          <p:spPr bwMode="auto">
            <a:xfrm flipV="1">
              <a:off x="1744" y="2473"/>
              <a:ext cx="0" cy="177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05" name="Line 119"/>
            <p:cNvSpPr>
              <a:spLocks noChangeShapeType="1"/>
            </p:cNvSpPr>
            <p:nvPr/>
          </p:nvSpPr>
          <p:spPr bwMode="auto">
            <a:xfrm flipV="1">
              <a:off x="1962" y="2464"/>
              <a:ext cx="0" cy="188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06" name="Line 120"/>
            <p:cNvSpPr>
              <a:spLocks noChangeShapeType="1"/>
            </p:cNvSpPr>
            <p:nvPr/>
          </p:nvSpPr>
          <p:spPr bwMode="auto">
            <a:xfrm flipV="1">
              <a:off x="2176" y="2490"/>
              <a:ext cx="0" cy="188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07" name="Line 121"/>
            <p:cNvSpPr>
              <a:spLocks noChangeShapeType="1"/>
            </p:cNvSpPr>
            <p:nvPr/>
          </p:nvSpPr>
          <p:spPr bwMode="auto">
            <a:xfrm flipV="1">
              <a:off x="2347" y="2476"/>
              <a:ext cx="0" cy="188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08" name="Line 122"/>
            <p:cNvSpPr>
              <a:spLocks noChangeShapeType="1"/>
            </p:cNvSpPr>
            <p:nvPr/>
          </p:nvSpPr>
          <p:spPr bwMode="auto">
            <a:xfrm flipV="1">
              <a:off x="2515" y="2486"/>
              <a:ext cx="0" cy="199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09" name="Line 123"/>
            <p:cNvSpPr>
              <a:spLocks noChangeShapeType="1"/>
            </p:cNvSpPr>
            <p:nvPr/>
          </p:nvSpPr>
          <p:spPr bwMode="auto">
            <a:xfrm flipV="1">
              <a:off x="2701" y="2452"/>
              <a:ext cx="0" cy="199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10" name="Line 124"/>
            <p:cNvSpPr>
              <a:spLocks noChangeShapeType="1"/>
            </p:cNvSpPr>
            <p:nvPr/>
          </p:nvSpPr>
          <p:spPr bwMode="auto">
            <a:xfrm flipV="1">
              <a:off x="3065" y="2430"/>
              <a:ext cx="0" cy="177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11" name="Line 125"/>
            <p:cNvSpPr>
              <a:spLocks noChangeShapeType="1"/>
            </p:cNvSpPr>
            <p:nvPr/>
          </p:nvSpPr>
          <p:spPr bwMode="auto">
            <a:xfrm flipV="1">
              <a:off x="2911" y="2488"/>
              <a:ext cx="0" cy="188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12" name="Line 126"/>
            <p:cNvSpPr>
              <a:spLocks noChangeShapeType="1"/>
            </p:cNvSpPr>
            <p:nvPr/>
          </p:nvSpPr>
          <p:spPr bwMode="auto">
            <a:xfrm flipV="1">
              <a:off x="3771" y="2493"/>
              <a:ext cx="0" cy="177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13" name="Line 127"/>
            <p:cNvSpPr>
              <a:spLocks noChangeShapeType="1"/>
            </p:cNvSpPr>
            <p:nvPr/>
          </p:nvSpPr>
          <p:spPr bwMode="auto">
            <a:xfrm flipV="1">
              <a:off x="3675" y="2497"/>
              <a:ext cx="0" cy="188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14" name="Line 128"/>
            <p:cNvSpPr>
              <a:spLocks noChangeShapeType="1"/>
            </p:cNvSpPr>
            <p:nvPr/>
          </p:nvSpPr>
          <p:spPr bwMode="auto">
            <a:xfrm flipV="1">
              <a:off x="3407" y="2477"/>
              <a:ext cx="0" cy="177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15" name="Line 129"/>
            <p:cNvSpPr>
              <a:spLocks noChangeShapeType="1"/>
            </p:cNvSpPr>
            <p:nvPr/>
          </p:nvSpPr>
          <p:spPr bwMode="auto">
            <a:xfrm flipV="1">
              <a:off x="3186" y="2461"/>
              <a:ext cx="0" cy="177"/>
            </a:xfrm>
            <a:prstGeom prst="line">
              <a:avLst/>
            </a:prstGeom>
            <a:noFill/>
            <a:ln w="38100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  <a:cs typeface="メイリオ" pitchFamily="50" charset="-128"/>
              </a:endParaRPr>
            </a:p>
          </p:txBody>
        </p:sp>
        <p:sp>
          <p:nvSpPr>
            <p:cNvPr id="416" name="Oval 130"/>
            <p:cNvSpPr>
              <a:spLocks noChangeArrowheads="1"/>
            </p:cNvSpPr>
            <p:nvPr/>
          </p:nvSpPr>
          <p:spPr bwMode="auto">
            <a:xfrm>
              <a:off x="3873" y="3047"/>
              <a:ext cx="144" cy="132"/>
            </a:xfrm>
            <a:prstGeom prst="ellipse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17" name="Oval 131"/>
            <p:cNvSpPr>
              <a:spLocks noChangeArrowheads="1"/>
            </p:cNvSpPr>
            <p:nvPr/>
          </p:nvSpPr>
          <p:spPr bwMode="auto">
            <a:xfrm>
              <a:off x="2072" y="3060"/>
              <a:ext cx="160" cy="132"/>
            </a:xfrm>
            <a:prstGeom prst="ellipse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18" name="Oval 132"/>
            <p:cNvSpPr>
              <a:spLocks noChangeArrowheads="1"/>
            </p:cNvSpPr>
            <p:nvPr/>
          </p:nvSpPr>
          <p:spPr bwMode="auto">
            <a:xfrm>
              <a:off x="2221" y="3078"/>
              <a:ext cx="176" cy="132"/>
            </a:xfrm>
            <a:prstGeom prst="ellipse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19" name="Rectangle 133"/>
            <p:cNvSpPr>
              <a:spLocks noChangeArrowheads="1"/>
            </p:cNvSpPr>
            <p:nvPr/>
          </p:nvSpPr>
          <p:spPr bwMode="auto">
            <a:xfrm flipH="1">
              <a:off x="3933" y="2763"/>
              <a:ext cx="48" cy="276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20" name="Rectangle 134"/>
            <p:cNvSpPr>
              <a:spLocks noChangeArrowheads="1"/>
            </p:cNvSpPr>
            <p:nvPr/>
          </p:nvSpPr>
          <p:spPr bwMode="auto">
            <a:xfrm flipH="1">
              <a:off x="2209" y="2775"/>
              <a:ext cx="48" cy="265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319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</p:grpSp>
      <p:sp>
        <p:nvSpPr>
          <p:cNvPr id="421" name="Text Box 142"/>
          <p:cNvSpPr txBox="1">
            <a:spLocks noChangeArrowheads="1"/>
          </p:cNvSpPr>
          <p:nvPr/>
        </p:nvSpPr>
        <p:spPr bwMode="auto">
          <a:xfrm>
            <a:off x="833560" y="2902772"/>
            <a:ext cx="964071" cy="211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97" tIns="35998" rIns="71997" bIns="35998">
            <a:spAutoFit/>
          </a:bodyPr>
          <a:lstStyle/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Supplier</a:t>
            </a:r>
          </a:p>
        </p:txBody>
      </p:sp>
      <p:sp>
        <p:nvSpPr>
          <p:cNvPr id="422" name="Text Box 147"/>
          <p:cNvSpPr txBox="1">
            <a:spLocks noChangeArrowheads="1"/>
          </p:cNvSpPr>
          <p:nvPr/>
        </p:nvSpPr>
        <p:spPr bwMode="auto">
          <a:xfrm>
            <a:off x="3207120" y="2884834"/>
            <a:ext cx="802644" cy="349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97" tIns="35998" rIns="71997" bIns="35998">
            <a:spAutoFit/>
          </a:bodyPr>
          <a:lstStyle/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Sea/Airport</a:t>
            </a:r>
          </a:p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(</a:t>
            </a:r>
            <a:r>
              <a:rPr lang="en-US" altLang="ja-JP" sz="900" dirty="0" err="1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Exp</a:t>
            </a: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)</a:t>
            </a:r>
            <a:endParaRPr lang="ja-JP" altLang="en-US" sz="900" dirty="0">
              <a:solidFill>
                <a:schemeClr val="accent4"/>
              </a:solidFill>
              <a:latin typeface="Meiryo UI"/>
              <a:ea typeface="Meiryo UI"/>
              <a:cs typeface="メイリオ"/>
            </a:endParaRPr>
          </a:p>
        </p:txBody>
      </p:sp>
      <p:grpSp>
        <p:nvGrpSpPr>
          <p:cNvPr id="5" name="グループ化 1"/>
          <p:cNvGrpSpPr>
            <a:grpSpLocks/>
          </p:cNvGrpSpPr>
          <p:nvPr/>
        </p:nvGrpSpPr>
        <p:grpSpPr bwMode="auto">
          <a:xfrm>
            <a:off x="2422409" y="2026287"/>
            <a:ext cx="508192" cy="339293"/>
            <a:chOff x="9015413" y="5886451"/>
            <a:chExt cx="1108074" cy="849314"/>
          </a:xfrm>
        </p:grpSpPr>
        <p:sp>
          <p:nvSpPr>
            <p:cNvPr id="424" name="AutoShape 94"/>
            <p:cNvSpPr>
              <a:spLocks noChangeAspect="1" noChangeArrowheads="1"/>
            </p:cNvSpPr>
            <p:nvPr/>
          </p:nvSpPr>
          <p:spPr bwMode="auto">
            <a:xfrm flipV="1">
              <a:off x="9015413" y="5886451"/>
              <a:ext cx="619218" cy="849314"/>
            </a:xfrm>
            <a:prstGeom prst="downArrow">
              <a:avLst>
                <a:gd name="adj1" fmla="val 79315"/>
                <a:gd name="adj2" fmla="val 27148"/>
              </a:avLst>
            </a:prstGeom>
            <a:solidFill>
              <a:srgbClr val="003F56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wrap="none" lIns="64531" tIns="32266" rIns="64531" bIns="32266" anchor="ctr"/>
            <a:lstStyle/>
            <a:p>
              <a:pPr defTabSz="879470" eaLnBrk="0" hangingPunct="0">
                <a:defRPr/>
              </a:pPr>
              <a:endParaRPr lang="ja-JP" altLang="en-US" sz="1047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25" name="AutoShape 95"/>
            <p:cNvSpPr>
              <a:spLocks noChangeAspect="1" noChangeArrowheads="1"/>
            </p:cNvSpPr>
            <p:nvPr/>
          </p:nvSpPr>
          <p:spPr bwMode="auto">
            <a:xfrm flipV="1">
              <a:off x="9504269" y="5886451"/>
              <a:ext cx="619218" cy="849314"/>
            </a:xfrm>
            <a:prstGeom prst="downArrow">
              <a:avLst>
                <a:gd name="adj1" fmla="val 79315"/>
                <a:gd name="adj2" fmla="val 27148"/>
              </a:avLst>
            </a:prstGeom>
            <a:solidFill>
              <a:srgbClr val="003F56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wrap="none" lIns="64531" tIns="32266" rIns="64531" bIns="32266" anchor="ctr"/>
            <a:lstStyle/>
            <a:p>
              <a:pPr defTabSz="879470" eaLnBrk="0" hangingPunct="0">
                <a:defRPr/>
              </a:pPr>
              <a:endParaRPr lang="ja-JP" altLang="en-US" sz="1047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26" name="Rectangle 96"/>
            <p:cNvSpPr>
              <a:spLocks noChangeAspect="1" noChangeArrowheads="1"/>
            </p:cNvSpPr>
            <p:nvPr/>
          </p:nvSpPr>
          <p:spPr bwMode="auto">
            <a:xfrm>
              <a:off x="9263100" y="6477604"/>
              <a:ext cx="52145" cy="231972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27" name="Rectangle 97"/>
            <p:cNvSpPr>
              <a:spLocks noChangeAspect="1" noChangeArrowheads="1"/>
            </p:cNvSpPr>
            <p:nvPr/>
          </p:nvSpPr>
          <p:spPr bwMode="auto">
            <a:xfrm>
              <a:off x="9341317" y="6477604"/>
              <a:ext cx="52145" cy="231972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28" name="Rectangle 98"/>
            <p:cNvSpPr>
              <a:spLocks noChangeAspect="1" noChangeArrowheads="1"/>
            </p:cNvSpPr>
            <p:nvPr/>
          </p:nvSpPr>
          <p:spPr bwMode="auto">
            <a:xfrm>
              <a:off x="9735662" y="6477604"/>
              <a:ext cx="52145" cy="231972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29" name="Rectangle 99"/>
            <p:cNvSpPr>
              <a:spLocks noChangeAspect="1" noChangeArrowheads="1"/>
            </p:cNvSpPr>
            <p:nvPr/>
          </p:nvSpPr>
          <p:spPr bwMode="auto">
            <a:xfrm>
              <a:off x="9817137" y="6477604"/>
              <a:ext cx="52145" cy="231972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</p:grpSp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044309" y="1722866"/>
            <a:ext cx="339294" cy="236161"/>
            <a:chOff x="317" y="856"/>
            <a:chExt cx="447" cy="409"/>
          </a:xfrm>
        </p:grpSpPr>
        <p:sp>
          <p:nvSpPr>
            <p:cNvPr id="431" name="Rectangle 18"/>
            <p:cNvSpPr>
              <a:spLocks noChangeArrowheads="1"/>
            </p:cNvSpPr>
            <p:nvPr/>
          </p:nvSpPr>
          <p:spPr bwMode="auto">
            <a:xfrm>
              <a:off x="317" y="1142"/>
              <a:ext cx="447" cy="123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メイリオ"/>
              </a:endParaRPr>
            </a:p>
          </p:txBody>
        </p:sp>
        <p:sp>
          <p:nvSpPr>
            <p:cNvPr id="432" name="Rectangle 19"/>
            <p:cNvSpPr>
              <a:spLocks noChangeArrowheads="1"/>
            </p:cNvSpPr>
            <p:nvPr/>
          </p:nvSpPr>
          <p:spPr bwMode="auto">
            <a:xfrm>
              <a:off x="722" y="856"/>
              <a:ext cx="42" cy="296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メイリオ"/>
              </a:endParaRPr>
            </a:p>
          </p:txBody>
        </p:sp>
        <p:sp>
          <p:nvSpPr>
            <p:cNvPr id="433" name="Freeform 20"/>
            <p:cNvSpPr>
              <a:spLocks/>
            </p:cNvSpPr>
            <p:nvPr/>
          </p:nvSpPr>
          <p:spPr bwMode="auto">
            <a:xfrm>
              <a:off x="317" y="1086"/>
              <a:ext cx="71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1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34" name="Freeform 21"/>
            <p:cNvSpPr>
              <a:spLocks/>
            </p:cNvSpPr>
            <p:nvPr/>
          </p:nvSpPr>
          <p:spPr bwMode="auto">
            <a:xfrm>
              <a:off x="381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35" name="Freeform 22"/>
            <p:cNvSpPr>
              <a:spLocks/>
            </p:cNvSpPr>
            <p:nvPr/>
          </p:nvSpPr>
          <p:spPr bwMode="auto">
            <a:xfrm>
              <a:off x="445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36" name="Freeform 23"/>
            <p:cNvSpPr>
              <a:spLocks/>
            </p:cNvSpPr>
            <p:nvPr/>
          </p:nvSpPr>
          <p:spPr bwMode="auto">
            <a:xfrm>
              <a:off x="508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37" name="Freeform 24"/>
            <p:cNvSpPr>
              <a:spLocks/>
            </p:cNvSpPr>
            <p:nvPr/>
          </p:nvSpPr>
          <p:spPr bwMode="auto">
            <a:xfrm>
              <a:off x="573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38" name="Rectangle 25"/>
            <p:cNvSpPr>
              <a:spLocks noChangeArrowheads="1"/>
            </p:cNvSpPr>
            <p:nvPr/>
          </p:nvSpPr>
          <p:spPr bwMode="auto">
            <a:xfrm>
              <a:off x="657" y="891"/>
              <a:ext cx="43" cy="261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メイリオ"/>
              </a:endParaRPr>
            </a:p>
          </p:txBody>
        </p:sp>
      </p:grpSp>
      <p:grpSp>
        <p:nvGrpSpPr>
          <p:cNvPr id="7" name="Group 17"/>
          <p:cNvGrpSpPr>
            <a:grpSpLocks/>
          </p:cNvGrpSpPr>
          <p:nvPr/>
        </p:nvGrpSpPr>
        <p:grpSpPr bwMode="auto">
          <a:xfrm>
            <a:off x="6863117" y="1951553"/>
            <a:ext cx="406555" cy="406555"/>
            <a:chOff x="317" y="856"/>
            <a:chExt cx="447" cy="409"/>
          </a:xfrm>
        </p:grpSpPr>
        <p:sp>
          <p:nvSpPr>
            <p:cNvPr id="440" name="Rectangle 18"/>
            <p:cNvSpPr>
              <a:spLocks noChangeArrowheads="1"/>
            </p:cNvSpPr>
            <p:nvPr/>
          </p:nvSpPr>
          <p:spPr bwMode="auto">
            <a:xfrm>
              <a:off x="317" y="1142"/>
              <a:ext cx="447" cy="123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メイリオ"/>
              </a:endParaRPr>
            </a:p>
          </p:txBody>
        </p:sp>
        <p:sp>
          <p:nvSpPr>
            <p:cNvPr id="441" name="Rectangle 19"/>
            <p:cNvSpPr>
              <a:spLocks noChangeArrowheads="1"/>
            </p:cNvSpPr>
            <p:nvPr/>
          </p:nvSpPr>
          <p:spPr bwMode="auto">
            <a:xfrm>
              <a:off x="722" y="856"/>
              <a:ext cx="42" cy="296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メイリオ"/>
              </a:endParaRPr>
            </a:p>
          </p:txBody>
        </p:sp>
        <p:sp>
          <p:nvSpPr>
            <p:cNvPr id="442" name="Freeform 20"/>
            <p:cNvSpPr>
              <a:spLocks/>
            </p:cNvSpPr>
            <p:nvPr/>
          </p:nvSpPr>
          <p:spPr bwMode="auto">
            <a:xfrm>
              <a:off x="317" y="1086"/>
              <a:ext cx="71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1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43" name="Freeform 21"/>
            <p:cNvSpPr>
              <a:spLocks/>
            </p:cNvSpPr>
            <p:nvPr/>
          </p:nvSpPr>
          <p:spPr bwMode="auto">
            <a:xfrm>
              <a:off x="381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44" name="Freeform 22"/>
            <p:cNvSpPr>
              <a:spLocks/>
            </p:cNvSpPr>
            <p:nvPr/>
          </p:nvSpPr>
          <p:spPr bwMode="auto">
            <a:xfrm>
              <a:off x="445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45" name="Freeform 23"/>
            <p:cNvSpPr>
              <a:spLocks/>
            </p:cNvSpPr>
            <p:nvPr/>
          </p:nvSpPr>
          <p:spPr bwMode="auto">
            <a:xfrm>
              <a:off x="508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46" name="Freeform 24"/>
            <p:cNvSpPr>
              <a:spLocks/>
            </p:cNvSpPr>
            <p:nvPr/>
          </p:nvSpPr>
          <p:spPr bwMode="auto">
            <a:xfrm>
              <a:off x="573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47" name="Rectangle 25"/>
            <p:cNvSpPr>
              <a:spLocks noChangeArrowheads="1"/>
            </p:cNvSpPr>
            <p:nvPr/>
          </p:nvSpPr>
          <p:spPr bwMode="auto">
            <a:xfrm>
              <a:off x="657" y="891"/>
              <a:ext cx="43" cy="261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メイリオ"/>
              </a:endParaRPr>
            </a:p>
          </p:txBody>
        </p:sp>
      </p:grpSp>
      <p:grpSp>
        <p:nvGrpSpPr>
          <p:cNvPr id="8" name="グループ化 7"/>
          <p:cNvGrpSpPr>
            <a:grpSpLocks/>
          </p:cNvGrpSpPr>
          <p:nvPr/>
        </p:nvGrpSpPr>
        <p:grpSpPr bwMode="auto">
          <a:xfrm>
            <a:off x="3422353" y="1985930"/>
            <a:ext cx="541075" cy="339294"/>
            <a:chOff x="4235411" y="4190045"/>
            <a:chExt cx="779840" cy="496321"/>
          </a:xfrm>
        </p:grpSpPr>
        <p:grpSp>
          <p:nvGrpSpPr>
            <p:cNvPr id="9" name="Group 94"/>
            <p:cNvGrpSpPr>
              <a:grpSpLocks/>
            </p:cNvGrpSpPr>
            <p:nvPr/>
          </p:nvGrpSpPr>
          <p:grpSpPr bwMode="auto">
            <a:xfrm>
              <a:off x="4235411" y="4410217"/>
              <a:ext cx="479048" cy="276149"/>
              <a:chOff x="676" y="3333"/>
              <a:chExt cx="1388" cy="315"/>
            </a:xfrm>
          </p:grpSpPr>
          <p:sp>
            <p:nvSpPr>
              <p:cNvPr id="458" name="AutoShape 95"/>
              <p:cNvSpPr>
                <a:spLocks noChangeAspect="1" noChangeArrowheads="1" noTextEdit="1"/>
              </p:cNvSpPr>
              <p:nvPr/>
            </p:nvSpPr>
            <p:spPr bwMode="auto">
              <a:xfrm>
                <a:off x="676" y="3329"/>
                <a:ext cx="1386" cy="31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/>
              <a:lstStyle/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  <a:cs typeface="メイリオ" pitchFamily="50" charset="-128"/>
                </a:endParaRPr>
              </a:p>
            </p:txBody>
          </p:sp>
          <p:sp>
            <p:nvSpPr>
              <p:cNvPr id="459" name="Rectangle 96"/>
              <p:cNvSpPr>
                <a:spLocks noChangeArrowheads="1"/>
              </p:cNvSpPr>
              <p:nvPr/>
            </p:nvSpPr>
            <p:spPr bwMode="auto">
              <a:xfrm>
                <a:off x="1375" y="3359"/>
                <a:ext cx="462" cy="172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460" name="Freeform 97"/>
              <p:cNvSpPr>
                <a:spLocks/>
              </p:cNvSpPr>
              <p:nvPr/>
            </p:nvSpPr>
            <p:spPr bwMode="auto">
              <a:xfrm>
                <a:off x="676" y="3369"/>
                <a:ext cx="1373" cy="277"/>
              </a:xfrm>
              <a:custGeom>
                <a:avLst/>
                <a:gdLst>
                  <a:gd name="T0" fmla="*/ 0 w 5497"/>
                  <a:gd name="T1" fmla="*/ 0 h 1392"/>
                  <a:gd name="T2" fmla="*/ 0 w 5497"/>
                  <a:gd name="T3" fmla="*/ 0 h 1392"/>
                  <a:gd name="T4" fmla="*/ 0 w 5497"/>
                  <a:gd name="T5" fmla="*/ 0 h 1392"/>
                  <a:gd name="T6" fmla="*/ 0 w 5497"/>
                  <a:gd name="T7" fmla="*/ 0 h 1392"/>
                  <a:gd name="T8" fmla="*/ 0 w 5497"/>
                  <a:gd name="T9" fmla="*/ 0 h 1392"/>
                  <a:gd name="T10" fmla="*/ 0 w 5497"/>
                  <a:gd name="T11" fmla="*/ 0 h 1392"/>
                  <a:gd name="T12" fmla="*/ 0 w 5497"/>
                  <a:gd name="T13" fmla="*/ 0 h 1392"/>
                  <a:gd name="T14" fmla="*/ 0 w 5497"/>
                  <a:gd name="T15" fmla="*/ 0 h 1392"/>
                  <a:gd name="T16" fmla="*/ 0 w 5497"/>
                  <a:gd name="T17" fmla="*/ 0 h 1392"/>
                  <a:gd name="T18" fmla="*/ 0 w 5497"/>
                  <a:gd name="T19" fmla="*/ 0 h 1392"/>
                  <a:gd name="T20" fmla="*/ 0 w 5497"/>
                  <a:gd name="T21" fmla="*/ 0 h 1392"/>
                  <a:gd name="T22" fmla="*/ 0 w 5497"/>
                  <a:gd name="T23" fmla="*/ 0 h 1392"/>
                  <a:gd name="T24" fmla="*/ 0 w 5497"/>
                  <a:gd name="T25" fmla="*/ 0 h 1392"/>
                  <a:gd name="T26" fmla="*/ 0 w 5497"/>
                  <a:gd name="T27" fmla="*/ 0 h 1392"/>
                  <a:gd name="T28" fmla="*/ 0 w 5497"/>
                  <a:gd name="T29" fmla="*/ 0 h 1392"/>
                  <a:gd name="T30" fmla="*/ 0 w 5497"/>
                  <a:gd name="T31" fmla="*/ 0 h 1392"/>
                  <a:gd name="T32" fmla="*/ 0 w 5497"/>
                  <a:gd name="T33" fmla="*/ 0 h 1392"/>
                  <a:gd name="T34" fmla="*/ 0 w 5497"/>
                  <a:gd name="T35" fmla="*/ 0 h 1392"/>
                  <a:gd name="T36" fmla="*/ 0 w 5497"/>
                  <a:gd name="T37" fmla="*/ 0 h 1392"/>
                  <a:gd name="T38" fmla="*/ 0 w 5497"/>
                  <a:gd name="T39" fmla="*/ 0 h 1392"/>
                  <a:gd name="T40" fmla="*/ 0 w 5497"/>
                  <a:gd name="T41" fmla="*/ 0 h 1392"/>
                  <a:gd name="T42" fmla="*/ 0 w 5497"/>
                  <a:gd name="T43" fmla="*/ 0 h 1392"/>
                  <a:gd name="T44" fmla="*/ 0 w 5497"/>
                  <a:gd name="T45" fmla="*/ 0 h 1392"/>
                  <a:gd name="T46" fmla="*/ 0 w 5497"/>
                  <a:gd name="T47" fmla="*/ 0 h 1392"/>
                  <a:gd name="T48" fmla="*/ 0 w 5497"/>
                  <a:gd name="T49" fmla="*/ 0 h 1392"/>
                  <a:gd name="T50" fmla="*/ 0 w 5497"/>
                  <a:gd name="T51" fmla="*/ 0 h 1392"/>
                  <a:gd name="T52" fmla="*/ 0 w 5497"/>
                  <a:gd name="T53" fmla="*/ 0 h 1392"/>
                  <a:gd name="T54" fmla="*/ 0 w 5497"/>
                  <a:gd name="T55" fmla="*/ 0 h 1392"/>
                  <a:gd name="T56" fmla="*/ 0 w 5497"/>
                  <a:gd name="T57" fmla="*/ 0 h 1392"/>
                  <a:gd name="T58" fmla="*/ 0 w 5497"/>
                  <a:gd name="T59" fmla="*/ 0 h 1392"/>
                  <a:gd name="T60" fmla="*/ 0 w 5497"/>
                  <a:gd name="T61" fmla="*/ 0 h 1392"/>
                  <a:gd name="T62" fmla="*/ 0 w 5497"/>
                  <a:gd name="T63" fmla="*/ 0 h 139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5497" h="1392">
                    <a:moveTo>
                      <a:pt x="0" y="574"/>
                    </a:moveTo>
                    <a:lnTo>
                      <a:pt x="42" y="574"/>
                    </a:lnTo>
                    <a:lnTo>
                      <a:pt x="42" y="880"/>
                    </a:lnTo>
                    <a:lnTo>
                      <a:pt x="355" y="880"/>
                    </a:lnTo>
                    <a:lnTo>
                      <a:pt x="355" y="623"/>
                    </a:lnTo>
                    <a:lnTo>
                      <a:pt x="461" y="623"/>
                    </a:lnTo>
                    <a:lnTo>
                      <a:pt x="461" y="268"/>
                    </a:lnTo>
                    <a:lnTo>
                      <a:pt x="505" y="268"/>
                    </a:lnTo>
                    <a:lnTo>
                      <a:pt x="505" y="623"/>
                    </a:lnTo>
                    <a:lnTo>
                      <a:pt x="570" y="623"/>
                    </a:lnTo>
                    <a:lnTo>
                      <a:pt x="570" y="0"/>
                    </a:lnTo>
                    <a:lnTo>
                      <a:pt x="612" y="0"/>
                    </a:lnTo>
                    <a:lnTo>
                      <a:pt x="612" y="623"/>
                    </a:lnTo>
                    <a:lnTo>
                      <a:pt x="808" y="623"/>
                    </a:lnTo>
                    <a:lnTo>
                      <a:pt x="808" y="439"/>
                    </a:lnTo>
                    <a:lnTo>
                      <a:pt x="733" y="439"/>
                    </a:lnTo>
                    <a:lnTo>
                      <a:pt x="733" y="390"/>
                    </a:lnTo>
                    <a:lnTo>
                      <a:pt x="1010" y="390"/>
                    </a:lnTo>
                    <a:lnTo>
                      <a:pt x="1010" y="0"/>
                    </a:lnTo>
                    <a:lnTo>
                      <a:pt x="1237" y="0"/>
                    </a:lnTo>
                    <a:lnTo>
                      <a:pt x="1237" y="390"/>
                    </a:lnTo>
                    <a:lnTo>
                      <a:pt x="1494" y="390"/>
                    </a:lnTo>
                    <a:lnTo>
                      <a:pt x="1494" y="439"/>
                    </a:lnTo>
                    <a:lnTo>
                      <a:pt x="1431" y="439"/>
                    </a:lnTo>
                    <a:lnTo>
                      <a:pt x="1431" y="623"/>
                    </a:lnTo>
                    <a:lnTo>
                      <a:pt x="1635" y="623"/>
                    </a:lnTo>
                    <a:lnTo>
                      <a:pt x="1635" y="880"/>
                    </a:lnTo>
                    <a:lnTo>
                      <a:pt x="1807" y="880"/>
                    </a:lnTo>
                    <a:lnTo>
                      <a:pt x="1807" y="513"/>
                    </a:lnTo>
                    <a:lnTo>
                      <a:pt x="1850" y="513"/>
                    </a:lnTo>
                    <a:lnTo>
                      <a:pt x="1850" y="880"/>
                    </a:lnTo>
                    <a:lnTo>
                      <a:pt x="4775" y="880"/>
                    </a:lnTo>
                    <a:lnTo>
                      <a:pt x="4775" y="697"/>
                    </a:lnTo>
                    <a:lnTo>
                      <a:pt x="5119" y="697"/>
                    </a:lnTo>
                    <a:lnTo>
                      <a:pt x="5119" y="880"/>
                    </a:lnTo>
                    <a:lnTo>
                      <a:pt x="5216" y="880"/>
                    </a:lnTo>
                    <a:lnTo>
                      <a:pt x="5216" y="587"/>
                    </a:lnTo>
                    <a:lnTo>
                      <a:pt x="5260" y="587"/>
                    </a:lnTo>
                    <a:lnTo>
                      <a:pt x="5260" y="880"/>
                    </a:lnTo>
                    <a:lnTo>
                      <a:pt x="5497" y="880"/>
                    </a:lnTo>
                    <a:lnTo>
                      <a:pt x="4916" y="1392"/>
                    </a:lnTo>
                    <a:lnTo>
                      <a:pt x="421" y="1392"/>
                    </a:lnTo>
                    <a:lnTo>
                      <a:pt x="389" y="1386"/>
                    </a:lnTo>
                    <a:lnTo>
                      <a:pt x="360" y="1376"/>
                    </a:lnTo>
                    <a:lnTo>
                      <a:pt x="329" y="1364"/>
                    </a:lnTo>
                    <a:lnTo>
                      <a:pt x="300" y="1351"/>
                    </a:lnTo>
                    <a:lnTo>
                      <a:pt x="271" y="1335"/>
                    </a:lnTo>
                    <a:lnTo>
                      <a:pt x="244" y="1317"/>
                    </a:lnTo>
                    <a:lnTo>
                      <a:pt x="218" y="1298"/>
                    </a:lnTo>
                    <a:lnTo>
                      <a:pt x="192" y="1276"/>
                    </a:lnTo>
                    <a:lnTo>
                      <a:pt x="168" y="1254"/>
                    </a:lnTo>
                    <a:lnTo>
                      <a:pt x="145" y="1229"/>
                    </a:lnTo>
                    <a:lnTo>
                      <a:pt x="124" y="1203"/>
                    </a:lnTo>
                    <a:lnTo>
                      <a:pt x="103" y="1175"/>
                    </a:lnTo>
                    <a:lnTo>
                      <a:pt x="85" y="1146"/>
                    </a:lnTo>
                    <a:lnTo>
                      <a:pt x="68" y="1115"/>
                    </a:lnTo>
                    <a:lnTo>
                      <a:pt x="53" y="1083"/>
                    </a:lnTo>
                    <a:lnTo>
                      <a:pt x="39" y="1051"/>
                    </a:lnTo>
                    <a:lnTo>
                      <a:pt x="27" y="1019"/>
                    </a:lnTo>
                    <a:lnTo>
                      <a:pt x="18" y="985"/>
                    </a:lnTo>
                    <a:lnTo>
                      <a:pt x="11" y="950"/>
                    </a:lnTo>
                    <a:lnTo>
                      <a:pt x="3" y="914"/>
                    </a:lnTo>
                    <a:lnTo>
                      <a:pt x="0" y="880"/>
                    </a:lnTo>
                    <a:lnTo>
                      <a:pt x="0" y="574"/>
                    </a:lnTo>
                    <a:close/>
                  </a:path>
                </a:pathLst>
              </a:custGeom>
              <a:solidFill>
                <a:srgbClr val="003F56"/>
              </a:solidFill>
              <a:ln w="0">
                <a:solidFill>
                  <a:srgbClr val="256885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  <a:cs typeface="メイリオ" pitchFamily="50" charset="-128"/>
                </a:endParaRPr>
              </a:p>
            </p:txBody>
          </p:sp>
          <p:sp>
            <p:nvSpPr>
              <p:cNvPr id="461" name="Freeform 98"/>
              <p:cNvSpPr>
                <a:spLocks/>
              </p:cNvSpPr>
              <p:nvPr/>
            </p:nvSpPr>
            <p:spPr bwMode="auto">
              <a:xfrm>
                <a:off x="1369" y="3356"/>
                <a:ext cx="474" cy="180"/>
              </a:xfrm>
              <a:custGeom>
                <a:avLst/>
                <a:gdLst>
                  <a:gd name="T0" fmla="*/ 0 w 1917"/>
                  <a:gd name="T1" fmla="*/ 0 h 903"/>
                  <a:gd name="T2" fmla="*/ 0 w 1917"/>
                  <a:gd name="T3" fmla="*/ 0 h 903"/>
                  <a:gd name="T4" fmla="*/ 0 w 1917"/>
                  <a:gd name="T5" fmla="*/ 0 h 903"/>
                  <a:gd name="T6" fmla="*/ 0 w 1917"/>
                  <a:gd name="T7" fmla="*/ 0 h 903"/>
                  <a:gd name="T8" fmla="*/ 0 w 1917"/>
                  <a:gd name="T9" fmla="*/ 0 h 903"/>
                  <a:gd name="T10" fmla="*/ 0 w 1917"/>
                  <a:gd name="T11" fmla="*/ 0 h 903"/>
                  <a:gd name="T12" fmla="*/ 0 w 1917"/>
                  <a:gd name="T13" fmla="*/ 0 h 903"/>
                  <a:gd name="T14" fmla="*/ 0 w 1917"/>
                  <a:gd name="T15" fmla="*/ 0 h 903"/>
                  <a:gd name="T16" fmla="*/ 0 w 1917"/>
                  <a:gd name="T17" fmla="*/ 0 h 90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917" h="903">
                    <a:moveTo>
                      <a:pt x="0" y="903"/>
                    </a:moveTo>
                    <a:lnTo>
                      <a:pt x="44" y="903"/>
                    </a:lnTo>
                    <a:lnTo>
                      <a:pt x="44" y="49"/>
                    </a:lnTo>
                    <a:lnTo>
                      <a:pt x="1872" y="49"/>
                    </a:lnTo>
                    <a:lnTo>
                      <a:pt x="1872" y="903"/>
                    </a:lnTo>
                    <a:lnTo>
                      <a:pt x="1917" y="903"/>
                    </a:lnTo>
                    <a:lnTo>
                      <a:pt x="1917" y="0"/>
                    </a:lnTo>
                    <a:lnTo>
                      <a:pt x="0" y="0"/>
                    </a:lnTo>
                    <a:lnTo>
                      <a:pt x="0" y="903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003F5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  <a:cs typeface="メイリオ" pitchFamily="50" charset="-128"/>
                </a:endParaRPr>
              </a:p>
            </p:txBody>
          </p:sp>
          <p:sp>
            <p:nvSpPr>
              <p:cNvPr id="462" name="Rectangle 99"/>
              <p:cNvSpPr>
                <a:spLocks noChangeArrowheads="1"/>
              </p:cNvSpPr>
              <p:nvPr/>
            </p:nvSpPr>
            <p:spPr bwMode="auto">
              <a:xfrm>
                <a:off x="1444" y="3356"/>
                <a:ext cx="12" cy="187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463" name="Rectangle 100"/>
              <p:cNvSpPr>
                <a:spLocks noChangeArrowheads="1"/>
              </p:cNvSpPr>
              <p:nvPr/>
            </p:nvSpPr>
            <p:spPr bwMode="auto">
              <a:xfrm>
                <a:off x="1525" y="3356"/>
                <a:ext cx="6" cy="187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464" name="Rectangle 101"/>
              <p:cNvSpPr>
                <a:spLocks noChangeArrowheads="1"/>
              </p:cNvSpPr>
              <p:nvPr/>
            </p:nvSpPr>
            <p:spPr bwMode="auto">
              <a:xfrm>
                <a:off x="1600" y="3356"/>
                <a:ext cx="12" cy="187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465" name="Rectangle 102"/>
              <p:cNvSpPr>
                <a:spLocks noChangeArrowheads="1"/>
              </p:cNvSpPr>
              <p:nvPr/>
            </p:nvSpPr>
            <p:spPr bwMode="auto">
              <a:xfrm>
                <a:off x="1681" y="3356"/>
                <a:ext cx="6" cy="187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466" name="Rectangle 103"/>
              <p:cNvSpPr>
                <a:spLocks noChangeArrowheads="1"/>
              </p:cNvSpPr>
              <p:nvPr/>
            </p:nvSpPr>
            <p:spPr bwMode="auto">
              <a:xfrm>
                <a:off x="1756" y="3356"/>
                <a:ext cx="12" cy="187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467" name="Rectangle 104"/>
              <p:cNvSpPr>
                <a:spLocks noChangeArrowheads="1"/>
              </p:cNvSpPr>
              <p:nvPr/>
            </p:nvSpPr>
            <p:spPr bwMode="auto">
              <a:xfrm>
                <a:off x="1375" y="3488"/>
                <a:ext cx="462" cy="7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468" name="Rectangle 105"/>
              <p:cNvSpPr>
                <a:spLocks noChangeArrowheads="1"/>
              </p:cNvSpPr>
              <p:nvPr/>
            </p:nvSpPr>
            <p:spPr bwMode="auto">
              <a:xfrm>
                <a:off x="1375" y="3441"/>
                <a:ext cx="462" cy="12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469" name="Rectangle 106"/>
              <p:cNvSpPr>
                <a:spLocks noChangeArrowheads="1"/>
              </p:cNvSpPr>
              <p:nvPr/>
            </p:nvSpPr>
            <p:spPr bwMode="auto">
              <a:xfrm>
                <a:off x="1375" y="3399"/>
                <a:ext cx="462" cy="10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</p:grpSp>
        <p:grpSp>
          <p:nvGrpSpPr>
            <p:cNvPr id="10" name="グループ化 6"/>
            <p:cNvGrpSpPr>
              <a:grpSpLocks/>
            </p:cNvGrpSpPr>
            <p:nvPr/>
          </p:nvGrpSpPr>
          <p:grpSpPr bwMode="auto">
            <a:xfrm>
              <a:off x="4481147" y="4190045"/>
              <a:ext cx="534104" cy="493374"/>
              <a:chOff x="4082569" y="3459992"/>
              <a:chExt cx="534104" cy="493374"/>
            </a:xfrm>
          </p:grpSpPr>
          <p:sp>
            <p:nvSpPr>
              <p:cNvPr id="451" name="正方形/長方形 1"/>
              <p:cNvSpPr>
                <a:spLocks noChangeArrowheads="1"/>
              </p:cNvSpPr>
              <p:nvPr/>
            </p:nvSpPr>
            <p:spPr bwMode="auto">
              <a:xfrm>
                <a:off x="4475308" y="3683001"/>
                <a:ext cx="27914" cy="270365"/>
              </a:xfrm>
              <a:prstGeom prst="rect">
                <a:avLst/>
              </a:prstGeom>
              <a:solidFill>
                <a:srgbClr val="003F56"/>
              </a:solidFill>
              <a:ln w="2540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 wrap="none" lIns="74569" tIns="37285" rIns="74569" bIns="37285" anchor="ctr"/>
              <a:lstStyle/>
              <a:p>
                <a:pPr algn="ctr" defTabSz="854934">
                  <a:spcBef>
                    <a:spcPct val="50000"/>
                  </a:spcBef>
                  <a:spcAft>
                    <a:spcPct val="30000"/>
                  </a:spcAft>
                  <a:buClr>
                    <a:srgbClr val="DDDDDD"/>
                  </a:buClr>
                </a:pPr>
                <a:endParaRPr lang="ja-JP" altLang="en-US" sz="1319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452" name="正方形/長方形 264"/>
              <p:cNvSpPr>
                <a:spLocks noChangeArrowheads="1"/>
              </p:cNvSpPr>
              <p:nvPr/>
            </p:nvSpPr>
            <p:spPr bwMode="auto">
              <a:xfrm>
                <a:off x="4373375" y="3683001"/>
                <a:ext cx="27914" cy="270365"/>
              </a:xfrm>
              <a:prstGeom prst="rect">
                <a:avLst/>
              </a:prstGeom>
              <a:solidFill>
                <a:srgbClr val="003F56"/>
              </a:solidFill>
              <a:ln w="2540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 wrap="none" lIns="74569" tIns="37285" rIns="74569" bIns="37285" anchor="ctr"/>
              <a:lstStyle/>
              <a:p>
                <a:pPr algn="ctr" defTabSz="854934">
                  <a:spcBef>
                    <a:spcPct val="50000"/>
                  </a:spcBef>
                  <a:spcAft>
                    <a:spcPct val="30000"/>
                  </a:spcAft>
                  <a:buClr>
                    <a:srgbClr val="DDDDDD"/>
                  </a:buClr>
                </a:pPr>
                <a:endParaRPr lang="ja-JP" altLang="en-US" sz="1319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453" name="正方形/長方形 265"/>
              <p:cNvSpPr>
                <a:spLocks noChangeArrowheads="1"/>
              </p:cNvSpPr>
              <p:nvPr/>
            </p:nvSpPr>
            <p:spPr bwMode="auto">
              <a:xfrm flipH="1">
                <a:off x="4336958" y="3657639"/>
                <a:ext cx="279715" cy="23461"/>
              </a:xfrm>
              <a:prstGeom prst="rect">
                <a:avLst/>
              </a:prstGeom>
              <a:solidFill>
                <a:srgbClr val="003F56"/>
              </a:solidFill>
              <a:ln w="2540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 wrap="none" lIns="74569" tIns="37285" rIns="74569" bIns="37285" anchor="ctr"/>
              <a:lstStyle/>
              <a:p>
                <a:pPr algn="ctr" defTabSz="854934">
                  <a:spcBef>
                    <a:spcPct val="50000"/>
                  </a:spcBef>
                  <a:spcAft>
                    <a:spcPct val="30000"/>
                  </a:spcAft>
                  <a:buClr>
                    <a:srgbClr val="DDDDDD"/>
                  </a:buClr>
                </a:pPr>
                <a:endParaRPr lang="ja-JP" altLang="en-US" sz="1319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cxnSp>
            <p:nvCxnSpPr>
              <p:cNvPr id="454" name="直線コネクタ 3"/>
              <p:cNvCxnSpPr>
                <a:cxnSpLocks noChangeShapeType="1"/>
              </p:cNvCxnSpPr>
              <p:nvPr/>
            </p:nvCxnSpPr>
            <p:spPr bwMode="auto">
              <a:xfrm>
                <a:off x="4082569" y="3471820"/>
                <a:ext cx="307284" cy="0"/>
              </a:xfrm>
              <a:prstGeom prst="line">
                <a:avLst/>
              </a:prstGeom>
              <a:noFill/>
              <a:ln w="28575" algn="ctr">
                <a:solidFill>
                  <a:srgbClr val="003F56"/>
                </a:solidFill>
                <a:round/>
                <a:headEnd/>
                <a:tailEnd/>
              </a:ln>
            </p:spPr>
          </p:cxnSp>
          <p:cxnSp>
            <p:nvCxnSpPr>
              <p:cNvPr id="455" name="直線コネクタ 269"/>
              <p:cNvCxnSpPr>
                <a:cxnSpLocks noChangeShapeType="1"/>
              </p:cNvCxnSpPr>
              <p:nvPr/>
            </p:nvCxnSpPr>
            <p:spPr bwMode="auto">
              <a:xfrm>
                <a:off x="4384243" y="3465978"/>
                <a:ext cx="129151" cy="191219"/>
              </a:xfrm>
              <a:prstGeom prst="line">
                <a:avLst/>
              </a:prstGeom>
              <a:noFill/>
              <a:ln w="28575" algn="ctr">
                <a:solidFill>
                  <a:srgbClr val="003F56"/>
                </a:solidFill>
                <a:round/>
                <a:headEnd/>
                <a:tailEnd/>
              </a:ln>
            </p:spPr>
          </p:cxnSp>
          <p:cxnSp>
            <p:nvCxnSpPr>
              <p:cNvPr id="456" name="直線コネクタ 270"/>
              <p:cNvCxnSpPr>
                <a:cxnSpLocks noChangeShapeType="1"/>
              </p:cNvCxnSpPr>
              <p:nvPr/>
            </p:nvCxnSpPr>
            <p:spPr bwMode="auto">
              <a:xfrm>
                <a:off x="4373375" y="3459992"/>
                <a:ext cx="0" cy="198172"/>
              </a:xfrm>
              <a:prstGeom prst="line">
                <a:avLst/>
              </a:prstGeom>
              <a:noFill/>
              <a:ln w="28575" algn="ctr">
                <a:solidFill>
                  <a:srgbClr val="003F56"/>
                </a:solidFill>
                <a:round/>
                <a:headEnd/>
                <a:tailEnd/>
              </a:ln>
            </p:spPr>
          </p:cxnSp>
          <p:cxnSp>
            <p:nvCxnSpPr>
              <p:cNvPr id="457" name="直線コネクタ 271"/>
              <p:cNvCxnSpPr>
                <a:cxnSpLocks noChangeShapeType="1"/>
              </p:cNvCxnSpPr>
              <p:nvPr/>
            </p:nvCxnSpPr>
            <p:spPr bwMode="auto">
              <a:xfrm>
                <a:off x="4374775" y="3844960"/>
                <a:ext cx="130318" cy="0"/>
              </a:xfrm>
              <a:prstGeom prst="line">
                <a:avLst/>
              </a:prstGeom>
              <a:noFill/>
              <a:ln w="28575" algn="ctr">
                <a:solidFill>
                  <a:srgbClr val="003F56"/>
                </a:solidFill>
                <a:round/>
                <a:headEnd/>
                <a:tailEnd/>
              </a:ln>
            </p:spPr>
          </p:cxnSp>
        </p:grpSp>
      </p:grpSp>
      <p:grpSp>
        <p:nvGrpSpPr>
          <p:cNvPr id="11" name="Group 17"/>
          <p:cNvGrpSpPr>
            <a:grpSpLocks/>
          </p:cNvGrpSpPr>
          <p:nvPr/>
        </p:nvGrpSpPr>
        <p:grpSpPr bwMode="auto">
          <a:xfrm>
            <a:off x="1044309" y="2127927"/>
            <a:ext cx="339294" cy="237654"/>
            <a:chOff x="317" y="856"/>
            <a:chExt cx="447" cy="409"/>
          </a:xfrm>
        </p:grpSpPr>
        <p:sp>
          <p:nvSpPr>
            <p:cNvPr id="471" name="Rectangle 18"/>
            <p:cNvSpPr>
              <a:spLocks noChangeArrowheads="1"/>
            </p:cNvSpPr>
            <p:nvPr/>
          </p:nvSpPr>
          <p:spPr bwMode="auto">
            <a:xfrm>
              <a:off x="317" y="1142"/>
              <a:ext cx="447" cy="123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メイリオ"/>
              </a:endParaRPr>
            </a:p>
          </p:txBody>
        </p:sp>
        <p:sp>
          <p:nvSpPr>
            <p:cNvPr id="472" name="Rectangle 19"/>
            <p:cNvSpPr>
              <a:spLocks noChangeArrowheads="1"/>
            </p:cNvSpPr>
            <p:nvPr/>
          </p:nvSpPr>
          <p:spPr bwMode="auto">
            <a:xfrm>
              <a:off x="722" y="856"/>
              <a:ext cx="42" cy="296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メイリオ"/>
              </a:endParaRPr>
            </a:p>
          </p:txBody>
        </p:sp>
        <p:sp>
          <p:nvSpPr>
            <p:cNvPr id="473" name="Freeform 20"/>
            <p:cNvSpPr>
              <a:spLocks/>
            </p:cNvSpPr>
            <p:nvPr/>
          </p:nvSpPr>
          <p:spPr bwMode="auto">
            <a:xfrm>
              <a:off x="317" y="1086"/>
              <a:ext cx="71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1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74" name="Freeform 21"/>
            <p:cNvSpPr>
              <a:spLocks/>
            </p:cNvSpPr>
            <p:nvPr/>
          </p:nvSpPr>
          <p:spPr bwMode="auto">
            <a:xfrm>
              <a:off x="381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75" name="Freeform 22"/>
            <p:cNvSpPr>
              <a:spLocks/>
            </p:cNvSpPr>
            <p:nvPr/>
          </p:nvSpPr>
          <p:spPr bwMode="auto">
            <a:xfrm>
              <a:off x="445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76" name="Freeform 23"/>
            <p:cNvSpPr>
              <a:spLocks/>
            </p:cNvSpPr>
            <p:nvPr/>
          </p:nvSpPr>
          <p:spPr bwMode="auto">
            <a:xfrm>
              <a:off x="508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77" name="Freeform 24"/>
            <p:cNvSpPr>
              <a:spLocks/>
            </p:cNvSpPr>
            <p:nvPr/>
          </p:nvSpPr>
          <p:spPr bwMode="auto">
            <a:xfrm>
              <a:off x="573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78" name="Rectangle 25"/>
            <p:cNvSpPr>
              <a:spLocks noChangeArrowheads="1"/>
            </p:cNvSpPr>
            <p:nvPr/>
          </p:nvSpPr>
          <p:spPr bwMode="auto">
            <a:xfrm>
              <a:off x="657" y="891"/>
              <a:ext cx="43" cy="261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メイリオ"/>
              </a:endParaRPr>
            </a:p>
          </p:txBody>
        </p:sp>
      </p:grpSp>
      <p:grpSp>
        <p:nvGrpSpPr>
          <p:cNvPr id="12" name="Group 17"/>
          <p:cNvGrpSpPr>
            <a:grpSpLocks/>
          </p:cNvGrpSpPr>
          <p:nvPr/>
        </p:nvGrpSpPr>
        <p:grpSpPr bwMode="auto">
          <a:xfrm>
            <a:off x="1044309" y="2535976"/>
            <a:ext cx="339294" cy="237655"/>
            <a:chOff x="317" y="856"/>
            <a:chExt cx="447" cy="409"/>
          </a:xfrm>
        </p:grpSpPr>
        <p:sp>
          <p:nvSpPr>
            <p:cNvPr id="480" name="Rectangle 18"/>
            <p:cNvSpPr>
              <a:spLocks noChangeArrowheads="1"/>
            </p:cNvSpPr>
            <p:nvPr/>
          </p:nvSpPr>
          <p:spPr bwMode="auto">
            <a:xfrm>
              <a:off x="317" y="1142"/>
              <a:ext cx="447" cy="123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メイリオ"/>
              </a:endParaRPr>
            </a:p>
          </p:txBody>
        </p:sp>
        <p:sp>
          <p:nvSpPr>
            <p:cNvPr id="481" name="Rectangle 19"/>
            <p:cNvSpPr>
              <a:spLocks noChangeArrowheads="1"/>
            </p:cNvSpPr>
            <p:nvPr/>
          </p:nvSpPr>
          <p:spPr bwMode="auto">
            <a:xfrm>
              <a:off x="722" y="856"/>
              <a:ext cx="42" cy="296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メイリオ"/>
              </a:endParaRPr>
            </a:p>
          </p:txBody>
        </p:sp>
        <p:sp>
          <p:nvSpPr>
            <p:cNvPr id="482" name="Freeform 20"/>
            <p:cNvSpPr>
              <a:spLocks/>
            </p:cNvSpPr>
            <p:nvPr/>
          </p:nvSpPr>
          <p:spPr bwMode="auto">
            <a:xfrm>
              <a:off x="317" y="1086"/>
              <a:ext cx="71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1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83" name="Freeform 21"/>
            <p:cNvSpPr>
              <a:spLocks/>
            </p:cNvSpPr>
            <p:nvPr/>
          </p:nvSpPr>
          <p:spPr bwMode="auto">
            <a:xfrm>
              <a:off x="381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84" name="Freeform 22"/>
            <p:cNvSpPr>
              <a:spLocks/>
            </p:cNvSpPr>
            <p:nvPr/>
          </p:nvSpPr>
          <p:spPr bwMode="auto">
            <a:xfrm>
              <a:off x="445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85" name="Freeform 23"/>
            <p:cNvSpPr>
              <a:spLocks/>
            </p:cNvSpPr>
            <p:nvPr/>
          </p:nvSpPr>
          <p:spPr bwMode="auto">
            <a:xfrm>
              <a:off x="508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86" name="Freeform 24"/>
            <p:cNvSpPr>
              <a:spLocks/>
            </p:cNvSpPr>
            <p:nvPr/>
          </p:nvSpPr>
          <p:spPr bwMode="auto">
            <a:xfrm>
              <a:off x="573" y="1086"/>
              <a:ext cx="70" cy="64"/>
            </a:xfrm>
            <a:custGeom>
              <a:avLst/>
              <a:gdLst>
                <a:gd name="T0" fmla="*/ 0 w 141"/>
                <a:gd name="T1" fmla="*/ 1 h 128"/>
                <a:gd name="T2" fmla="*/ 0 w 141"/>
                <a:gd name="T3" fmla="*/ 0 h 128"/>
                <a:gd name="T4" fmla="*/ 0 w 141"/>
                <a:gd name="T5" fmla="*/ 1 h 128"/>
                <a:gd name="T6" fmla="*/ 0 w 141"/>
                <a:gd name="T7" fmla="*/ 1 h 1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128"/>
                <a:gd name="T14" fmla="*/ 141 w 141"/>
                <a:gd name="T15" fmla="*/ 128 h 1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128">
                  <a:moveTo>
                    <a:pt x="0" y="128"/>
                  </a:moveTo>
                  <a:lnTo>
                    <a:pt x="0" y="0"/>
                  </a:lnTo>
                  <a:lnTo>
                    <a:pt x="141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003F56"/>
            </a:solidFill>
            <a:ln w="9525">
              <a:solidFill>
                <a:srgbClr val="003F56"/>
              </a:solidFill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319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487" name="Rectangle 25"/>
            <p:cNvSpPr>
              <a:spLocks noChangeArrowheads="1"/>
            </p:cNvSpPr>
            <p:nvPr/>
          </p:nvSpPr>
          <p:spPr bwMode="auto">
            <a:xfrm>
              <a:off x="657" y="891"/>
              <a:ext cx="43" cy="261"/>
            </a:xfrm>
            <a:prstGeom prst="rect">
              <a:avLst/>
            </a:prstGeom>
            <a:solidFill>
              <a:srgbClr val="003F56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メイリオ"/>
              </a:endParaRPr>
            </a:p>
          </p:txBody>
        </p:sp>
      </p:grpSp>
      <p:sp>
        <p:nvSpPr>
          <p:cNvPr id="488" name="Text Box 142"/>
          <p:cNvSpPr txBox="1">
            <a:spLocks noChangeArrowheads="1"/>
          </p:cNvSpPr>
          <p:nvPr/>
        </p:nvSpPr>
        <p:spPr bwMode="auto">
          <a:xfrm>
            <a:off x="1583891" y="2892307"/>
            <a:ext cx="986491" cy="349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97" tIns="35998" rIns="71997" bIns="35998">
            <a:spAutoFit/>
          </a:bodyPr>
          <a:lstStyle/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Warehouse</a:t>
            </a:r>
          </a:p>
          <a:p>
            <a:pPr algn="ctr" defTabSz="816074">
              <a:buClr>
                <a:srgbClr val="DDDDDD"/>
              </a:buClr>
            </a:pPr>
            <a:r>
              <a:rPr lang="ja-JP" altLang="en-US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（</a:t>
            </a: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Stock</a:t>
            </a:r>
            <a:r>
              <a:rPr lang="ja-JP" altLang="en-US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）</a:t>
            </a:r>
          </a:p>
        </p:txBody>
      </p:sp>
      <p:grpSp>
        <p:nvGrpSpPr>
          <p:cNvPr id="13" name="グループ化 7"/>
          <p:cNvGrpSpPr>
            <a:grpSpLocks/>
          </p:cNvGrpSpPr>
          <p:nvPr/>
        </p:nvGrpSpPr>
        <p:grpSpPr bwMode="auto">
          <a:xfrm>
            <a:off x="4755613" y="1985930"/>
            <a:ext cx="542569" cy="339294"/>
            <a:chOff x="4235411" y="4190045"/>
            <a:chExt cx="779840" cy="496321"/>
          </a:xfrm>
        </p:grpSpPr>
        <p:grpSp>
          <p:nvGrpSpPr>
            <p:cNvPr id="14" name="Group 94"/>
            <p:cNvGrpSpPr>
              <a:grpSpLocks/>
            </p:cNvGrpSpPr>
            <p:nvPr/>
          </p:nvGrpSpPr>
          <p:grpSpPr bwMode="auto">
            <a:xfrm>
              <a:off x="4235411" y="4410217"/>
              <a:ext cx="479048" cy="276149"/>
              <a:chOff x="676" y="3333"/>
              <a:chExt cx="1388" cy="315"/>
            </a:xfrm>
          </p:grpSpPr>
          <p:sp>
            <p:nvSpPr>
              <p:cNvPr id="499" name="AutoShape 95"/>
              <p:cNvSpPr>
                <a:spLocks noChangeAspect="1" noChangeArrowheads="1" noTextEdit="1"/>
              </p:cNvSpPr>
              <p:nvPr/>
            </p:nvSpPr>
            <p:spPr bwMode="auto">
              <a:xfrm>
                <a:off x="676" y="3329"/>
                <a:ext cx="1388" cy="31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/>
              <a:lstStyle/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  <a:cs typeface="メイリオ" pitchFamily="50" charset="-128"/>
                </a:endParaRPr>
              </a:p>
            </p:txBody>
          </p:sp>
          <p:sp>
            <p:nvSpPr>
              <p:cNvPr id="500" name="Rectangle 96"/>
              <p:cNvSpPr>
                <a:spLocks noChangeArrowheads="1"/>
              </p:cNvSpPr>
              <p:nvPr/>
            </p:nvSpPr>
            <p:spPr bwMode="auto">
              <a:xfrm>
                <a:off x="1373" y="3359"/>
                <a:ext cx="467" cy="172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501" name="Freeform 97"/>
              <p:cNvSpPr>
                <a:spLocks/>
              </p:cNvSpPr>
              <p:nvPr/>
            </p:nvSpPr>
            <p:spPr bwMode="auto">
              <a:xfrm>
                <a:off x="676" y="3369"/>
                <a:ext cx="1376" cy="277"/>
              </a:xfrm>
              <a:custGeom>
                <a:avLst/>
                <a:gdLst>
                  <a:gd name="T0" fmla="*/ 0 w 5497"/>
                  <a:gd name="T1" fmla="*/ 0 h 1392"/>
                  <a:gd name="T2" fmla="*/ 0 w 5497"/>
                  <a:gd name="T3" fmla="*/ 0 h 1392"/>
                  <a:gd name="T4" fmla="*/ 0 w 5497"/>
                  <a:gd name="T5" fmla="*/ 0 h 1392"/>
                  <a:gd name="T6" fmla="*/ 0 w 5497"/>
                  <a:gd name="T7" fmla="*/ 0 h 1392"/>
                  <a:gd name="T8" fmla="*/ 0 w 5497"/>
                  <a:gd name="T9" fmla="*/ 0 h 1392"/>
                  <a:gd name="T10" fmla="*/ 0 w 5497"/>
                  <a:gd name="T11" fmla="*/ 0 h 1392"/>
                  <a:gd name="T12" fmla="*/ 0 w 5497"/>
                  <a:gd name="T13" fmla="*/ 0 h 1392"/>
                  <a:gd name="T14" fmla="*/ 0 w 5497"/>
                  <a:gd name="T15" fmla="*/ 0 h 1392"/>
                  <a:gd name="T16" fmla="*/ 0 w 5497"/>
                  <a:gd name="T17" fmla="*/ 0 h 1392"/>
                  <a:gd name="T18" fmla="*/ 0 w 5497"/>
                  <a:gd name="T19" fmla="*/ 0 h 1392"/>
                  <a:gd name="T20" fmla="*/ 0 w 5497"/>
                  <a:gd name="T21" fmla="*/ 0 h 1392"/>
                  <a:gd name="T22" fmla="*/ 0 w 5497"/>
                  <a:gd name="T23" fmla="*/ 0 h 1392"/>
                  <a:gd name="T24" fmla="*/ 0 w 5497"/>
                  <a:gd name="T25" fmla="*/ 0 h 1392"/>
                  <a:gd name="T26" fmla="*/ 0 w 5497"/>
                  <a:gd name="T27" fmla="*/ 0 h 1392"/>
                  <a:gd name="T28" fmla="*/ 0 w 5497"/>
                  <a:gd name="T29" fmla="*/ 0 h 1392"/>
                  <a:gd name="T30" fmla="*/ 0 w 5497"/>
                  <a:gd name="T31" fmla="*/ 0 h 1392"/>
                  <a:gd name="T32" fmla="*/ 0 w 5497"/>
                  <a:gd name="T33" fmla="*/ 0 h 1392"/>
                  <a:gd name="T34" fmla="*/ 0 w 5497"/>
                  <a:gd name="T35" fmla="*/ 0 h 1392"/>
                  <a:gd name="T36" fmla="*/ 0 w 5497"/>
                  <a:gd name="T37" fmla="*/ 0 h 1392"/>
                  <a:gd name="T38" fmla="*/ 0 w 5497"/>
                  <a:gd name="T39" fmla="*/ 0 h 1392"/>
                  <a:gd name="T40" fmla="*/ 0 w 5497"/>
                  <a:gd name="T41" fmla="*/ 0 h 1392"/>
                  <a:gd name="T42" fmla="*/ 0 w 5497"/>
                  <a:gd name="T43" fmla="*/ 0 h 1392"/>
                  <a:gd name="T44" fmla="*/ 0 w 5497"/>
                  <a:gd name="T45" fmla="*/ 0 h 1392"/>
                  <a:gd name="T46" fmla="*/ 0 w 5497"/>
                  <a:gd name="T47" fmla="*/ 0 h 1392"/>
                  <a:gd name="T48" fmla="*/ 0 w 5497"/>
                  <a:gd name="T49" fmla="*/ 0 h 1392"/>
                  <a:gd name="T50" fmla="*/ 0 w 5497"/>
                  <a:gd name="T51" fmla="*/ 0 h 1392"/>
                  <a:gd name="T52" fmla="*/ 0 w 5497"/>
                  <a:gd name="T53" fmla="*/ 0 h 1392"/>
                  <a:gd name="T54" fmla="*/ 0 w 5497"/>
                  <a:gd name="T55" fmla="*/ 0 h 1392"/>
                  <a:gd name="T56" fmla="*/ 0 w 5497"/>
                  <a:gd name="T57" fmla="*/ 0 h 1392"/>
                  <a:gd name="T58" fmla="*/ 0 w 5497"/>
                  <a:gd name="T59" fmla="*/ 0 h 1392"/>
                  <a:gd name="T60" fmla="*/ 0 w 5497"/>
                  <a:gd name="T61" fmla="*/ 0 h 1392"/>
                  <a:gd name="T62" fmla="*/ 0 w 5497"/>
                  <a:gd name="T63" fmla="*/ 0 h 139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5497" h="1392">
                    <a:moveTo>
                      <a:pt x="0" y="574"/>
                    </a:moveTo>
                    <a:lnTo>
                      <a:pt x="42" y="574"/>
                    </a:lnTo>
                    <a:lnTo>
                      <a:pt x="42" y="880"/>
                    </a:lnTo>
                    <a:lnTo>
                      <a:pt x="355" y="880"/>
                    </a:lnTo>
                    <a:lnTo>
                      <a:pt x="355" y="623"/>
                    </a:lnTo>
                    <a:lnTo>
                      <a:pt x="461" y="623"/>
                    </a:lnTo>
                    <a:lnTo>
                      <a:pt x="461" y="268"/>
                    </a:lnTo>
                    <a:lnTo>
                      <a:pt x="505" y="268"/>
                    </a:lnTo>
                    <a:lnTo>
                      <a:pt x="505" y="623"/>
                    </a:lnTo>
                    <a:lnTo>
                      <a:pt x="570" y="623"/>
                    </a:lnTo>
                    <a:lnTo>
                      <a:pt x="570" y="0"/>
                    </a:lnTo>
                    <a:lnTo>
                      <a:pt x="612" y="0"/>
                    </a:lnTo>
                    <a:lnTo>
                      <a:pt x="612" y="623"/>
                    </a:lnTo>
                    <a:lnTo>
                      <a:pt x="808" y="623"/>
                    </a:lnTo>
                    <a:lnTo>
                      <a:pt x="808" y="439"/>
                    </a:lnTo>
                    <a:lnTo>
                      <a:pt x="733" y="439"/>
                    </a:lnTo>
                    <a:lnTo>
                      <a:pt x="733" y="390"/>
                    </a:lnTo>
                    <a:lnTo>
                      <a:pt x="1010" y="390"/>
                    </a:lnTo>
                    <a:lnTo>
                      <a:pt x="1010" y="0"/>
                    </a:lnTo>
                    <a:lnTo>
                      <a:pt x="1237" y="0"/>
                    </a:lnTo>
                    <a:lnTo>
                      <a:pt x="1237" y="390"/>
                    </a:lnTo>
                    <a:lnTo>
                      <a:pt x="1494" y="390"/>
                    </a:lnTo>
                    <a:lnTo>
                      <a:pt x="1494" y="439"/>
                    </a:lnTo>
                    <a:lnTo>
                      <a:pt x="1431" y="439"/>
                    </a:lnTo>
                    <a:lnTo>
                      <a:pt x="1431" y="623"/>
                    </a:lnTo>
                    <a:lnTo>
                      <a:pt x="1635" y="623"/>
                    </a:lnTo>
                    <a:lnTo>
                      <a:pt x="1635" y="880"/>
                    </a:lnTo>
                    <a:lnTo>
                      <a:pt x="1807" y="880"/>
                    </a:lnTo>
                    <a:lnTo>
                      <a:pt x="1807" y="513"/>
                    </a:lnTo>
                    <a:lnTo>
                      <a:pt x="1850" y="513"/>
                    </a:lnTo>
                    <a:lnTo>
                      <a:pt x="1850" y="880"/>
                    </a:lnTo>
                    <a:lnTo>
                      <a:pt x="4775" y="880"/>
                    </a:lnTo>
                    <a:lnTo>
                      <a:pt x="4775" y="697"/>
                    </a:lnTo>
                    <a:lnTo>
                      <a:pt x="5119" y="697"/>
                    </a:lnTo>
                    <a:lnTo>
                      <a:pt x="5119" y="880"/>
                    </a:lnTo>
                    <a:lnTo>
                      <a:pt x="5216" y="880"/>
                    </a:lnTo>
                    <a:lnTo>
                      <a:pt x="5216" y="587"/>
                    </a:lnTo>
                    <a:lnTo>
                      <a:pt x="5260" y="587"/>
                    </a:lnTo>
                    <a:lnTo>
                      <a:pt x="5260" y="880"/>
                    </a:lnTo>
                    <a:lnTo>
                      <a:pt x="5497" y="880"/>
                    </a:lnTo>
                    <a:lnTo>
                      <a:pt x="4916" y="1392"/>
                    </a:lnTo>
                    <a:lnTo>
                      <a:pt x="421" y="1392"/>
                    </a:lnTo>
                    <a:lnTo>
                      <a:pt x="389" y="1386"/>
                    </a:lnTo>
                    <a:lnTo>
                      <a:pt x="360" y="1376"/>
                    </a:lnTo>
                    <a:lnTo>
                      <a:pt x="329" y="1364"/>
                    </a:lnTo>
                    <a:lnTo>
                      <a:pt x="300" y="1351"/>
                    </a:lnTo>
                    <a:lnTo>
                      <a:pt x="271" y="1335"/>
                    </a:lnTo>
                    <a:lnTo>
                      <a:pt x="244" y="1317"/>
                    </a:lnTo>
                    <a:lnTo>
                      <a:pt x="218" y="1298"/>
                    </a:lnTo>
                    <a:lnTo>
                      <a:pt x="192" y="1276"/>
                    </a:lnTo>
                    <a:lnTo>
                      <a:pt x="168" y="1254"/>
                    </a:lnTo>
                    <a:lnTo>
                      <a:pt x="145" y="1229"/>
                    </a:lnTo>
                    <a:lnTo>
                      <a:pt x="124" y="1203"/>
                    </a:lnTo>
                    <a:lnTo>
                      <a:pt x="103" y="1175"/>
                    </a:lnTo>
                    <a:lnTo>
                      <a:pt x="85" y="1146"/>
                    </a:lnTo>
                    <a:lnTo>
                      <a:pt x="68" y="1115"/>
                    </a:lnTo>
                    <a:lnTo>
                      <a:pt x="53" y="1083"/>
                    </a:lnTo>
                    <a:lnTo>
                      <a:pt x="39" y="1051"/>
                    </a:lnTo>
                    <a:lnTo>
                      <a:pt x="27" y="1019"/>
                    </a:lnTo>
                    <a:lnTo>
                      <a:pt x="18" y="985"/>
                    </a:lnTo>
                    <a:lnTo>
                      <a:pt x="11" y="950"/>
                    </a:lnTo>
                    <a:lnTo>
                      <a:pt x="3" y="914"/>
                    </a:lnTo>
                    <a:lnTo>
                      <a:pt x="0" y="880"/>
                    </a:lnTo>
                    <a:lnTo>
                      <a:pt x="0" y="574"/>
                    </a:lnTo>
                    <a:close/>
                  </a:path>
                </a:pathLst>
              </a:custGeom>
              <a:solidFill>
                <a:srgbClr val="003F56"/>
              </a:solidFill>
              <a:ln w="0">
                <a:solidFill>
                  <a:srgbClr val="256885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  <a:cs typeface="メイリオ" pitchFamily="50" charset="-128"/>
                </a:endParaRPr>
              </a:p>
            </p:txBody>
          </p:sp>
          <p:sp>
            <p:nvSpPr>
              <p:cNvPr id="502" name="Freeform 98"/>
              <p:cNvSpPr>
                <a:spLocks/>
              </p:cNvSpPr>
              <p:nvPr/>
            </p:nvSpPr>
            <p:spPr bwMode="auto">
              <a:xfrm>
                <a:off x="1367" y="3356"/>
                <a:ext cx="479" cy="180"/>
              </a:xfrm>
              <a:custGeom>
                <a:avLst/>
                <a:gdLst>
                  <a:gd name="T0" fmla="*/ 0 w 1917"/>
                  <a:gd name="T1" fmla="*/ 0 h 903"/>
                  <a:gd name="T2" fmla="*/ 0 w 1917"/>
                  <a:gd name="T3" fmla="*/ 0 h 903"/>
                  <a:gd name="T4" fmla="*/ 0 w 1917"/>
                  <a:gd name="T5" fmla="*/ 0 h 903"/>
                  <a:gd name="T6" fmla="*/ 0 w 1917"/>
                  <a:gd name="T7" fmla="*/ 0 h 903"/>
                  <a:gd name="T8" fmla="*/ 0 w 1917"/>
                  <a:gd name="T9" fmla="*/ 0 h 903"/>
                  <a:gd name="T10" fmla="*/ 0 w 1917"/>
                  <a:gd name="T11" fmla="*/ 0 h 903"/>
                  <a:gd name="T12" fmla="*/ 0 w 1917"/>
                  <a:gd name="T13" fmla="*/ 0 h 903"/>
                  <a:gd name="T14" fmla="*/ 0 w 1917"/>
                  <a:gd name="T15" fmla="*/ 0 h 903"/>
                  <a:gd name="T16" fmla="*/ 0 w 1917"/>
                  <a:gd name="T17" fmla="*/ 0 h 90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917" h="903">
                    <a:moveTo>
                      <a:pt x="0" y="903"/>
                    </a:moveTo>
                    <a:lnTo>
                      <a:pt x="44" y="903"/>
                    </a:lnTo>
                    <a:lnTo>
                      <a:pt x="44" y="49"/>
                    </a:lnTo>
                    <a:lnTo>
                      <a:pt x="1872" y="49"/>
                    </a:lnTo>
                    <a:lnTo>
                      <a:pt x="1872" y="903"/>
                    </a:lnTo>
                    <a:lnTo>
                      <a:pt x="1917" y="903"/>
                    </a:lnTo>
                    <a:lnTo>
                      <a:pt x="1917" y="0"/>
                    </a:lnTo>
                    <a:lnTo>
                      <a:pt x="0" y="0"/>
                    </a:lnTo>
                    <a:lnTo>
                      <a:pt x="0" y="903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003F5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  <a:cs typeface="メイリオ" pitchFamily="50" charset="-128"/>
                </a:endParaRPr>
              </a:p>
            </p:txBody>
          </p:sp>
          <p:sp>
            <p:nvSpPr>
              <p:cNvPr id="503" name="Rectangle 99"/>
              <p:cNvSpPr>
                <a:spLocks noChangeArrowheads="1"/>
              </p:cNvSpPr>
              <p:nvPr/>
            </p:nvSpPr>
            <p:spPr bwMode="auto">
              <a:xfrm>
                <a:off x="1448" y="3356"/>
                <a:ext cx="6" cy="187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504" name="Rectangle 100"/>
              <p:cNvSpPr>
                <a:spLocks noChangeArrowheads="1"/>
              </p:cNvSpPr>
              <p:nvPr/>
            </p:nvSpPr>
            <p:spPr bwMode="auto">
              <a:xfrm>
                <a:off x="1529" y="3356"/>
                <a:ext cx="6" cy="187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505" name="Rectangle 101"/>
              <p:cNvSpPr>
                <a:spLocks noChangeArrowheads="1"/>
              </p:cNvSpPr>
              <p:nvPr/>
            </p:nvSpPr>
            <p:spPr bwMode="auto">
              <a:xfrm>
                <a:off x="1603" y="3356"/>
                <a:ext cx="12" cy="187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506" name="Rectangle 102"/>
              <p:cNvSpPr>
                <a:spLocks noChangeArrowheads="1"/>
              </p:cNvSpPr>
              <p:nvPr/>
            </p:nvSpPr>
            <p:spPr bwMode="auto">
              <a:xfrm>
                <a:off x="1684" y="3356"/>
                <a:ext cx="6" cy="187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507" name="Rectangle 103"/>
              <p:cNvSpPr>
                <a:spLocks noChangeArrowheads="1"/>
              </p:cNvSpPr>
              <p:nvPr/>
            </p:nvSpPr>
            <p:spPr bwMode="auto">
              <a:xfrm>
                <a:off x="1759" y="3356"/>
                <a:ext cx="12" cy="187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508" name="Rectangle 104"/>
              <p:cNvSpPr>
                <a:spLocks noChangeArrowheads="1"/>
              </p:cNvSpPr>
              <p:nvPr/>
            </p:nvSpPr>
            <p:spPr bwMode="auto">
              <a:xfrm>
                <a:off x="1373" y="3488"/>
                <a:ext cx="467" cy="7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509" name="Rectangle 105"/>
              <p:cNvSpPr>
                <a:spLocks noChangeArrowheads="1"/>
              </p:cNvSpPr>
              <p:nvPr/>
            </p:nvSpPr>
            <p:spPr bwMode="auto">
              <a:xfrm>
                <a:off x="1373" y="3441"/>
                <a:ext cx="467" cy="12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510" name="Rectangle 106"/>
              <p:cNvSpPr>
                <a:spLocks noChangeArrowheads="1"/>
              </p:cNvSpPr>
              <p:nvPr/>
            </p:nvSpPr>
            <p:spPr bwMode="auto">
              <a:xfrm>
                <a:off x="1373" y="3399"/>
                <a:ext cx="467" cy="10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メイリオ" pitchFamily="50" charset="-128"/>
                    <a:cs typeface="メイリオ" pitchFamily="50" charset="-128"/>
                  </a:defRPr>
                </a:lvl9pPr>
              </a:lstStyle>
              <a:p>
                <a:pPr defTabSz="8794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319" kern="0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</p:grpSp>
        <p:grpSp>
          <p:nvGrpSpPr>
            <p:cNvPr id="15" name="グループ化 6"/>
            <p:cNvGrpSpPr>
              <a:grpSpLocks/>
            </p:cNvGrpSpPr>
            <p:nvPr/>
          </p:nvGrpSpPr>
          <p:grpSpPr bwMode="auto">
            <a:xfrm>
              <a:off x="4481147" y="4190045"/>
              <a:ext cx="534104" cy="493374"/>
              <a:chOff x="4082569" y="3459992"/>
              <a:chExt cx="534104" cy="493374"/>
            </a:xfrm>
          </p:grpSpPr>
          <p:sp>
            <p:nvSpPr>
              <p:cNvPr id="492" name="正方形/長方形 1"/>
              <p:cNvSpPr>
                <a:spLocks noChangeArrowheads="1"/>
              </p:cNvSpPr>
              <p:nvPr/>
            </p:nvSpPr>
            <p:spPr bwMode="auto">
              <a:xfrm>
                <a:off x="4475308" y="3683001"/>
                <a:ext cx="27914" cy="270365"/>
              </a:xfrm>
              <a:prstGeom prst="rect">
                <a:avLst/>
              </a:prstGeom>
              <a:solidFill>
                <a:srgbClr val="003F56"/>
              </a:solidFill>
              <a:ln w="2540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 wrap="none" lIns="74569" tIns="37285" rIns="74569" bIns="37285" anchor="ctr"/>
              <a:lstStyle/>
              <a:p>
                <a:pPr algn="ctr" defTabSz="854934">
                  <a:spcBef>
                    <a:spcPct val="50000"/>
                  </a:spcBef>
                  <a:spcAft>
                    <a:spcPct val="30000"/>
                  </a:spcAft>
                  <a:buClr>
                    <a:srgbClr val="DDDDDD"/>
                  </a:buClr>
                </a:pPr>
                <a:endParaRPr lang="ja-JP" altLang="en-US" sz="1319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493" name="正方形/長方形 264"/>
              <p:cNvSpPr>
                <a:spLocks noChangeArrowheads="1"/>
              </p:cNvSpPr>
              <p:nvPr/>
            </p:nvSpPr>
            <p:spPr bwMode="auto">
              <a:xfrm>
                <a:off x="4373375" y="3683001"/>
                <a:ext cx="27914" cy="270365"/>
              </a:xfrm>
              <a:prstGeom prst="rect">
                <a:avLst/>
              </a:prstGeom>
              <a:solidFill>
                <a:srgbClr val="003F56"/>
              </a:solidFill>
              <a:ln w="2540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 wrap="none" lIns="74569" tIns="37285" rIns="74569" bIns="37285" anchor="ctr"/>
              <a:lstStyle/>
              <a:p>
                <a:pPr algn="ctr" defTabSz="854934">
                  <a:spcBef>
                    <a:spcPct val="50000"/>
                  </a:spcBef>
                  <a:spcAft>
                    <a:spcPct val="30000"/>
                  </a:spcAft>
                  <a:buClr>
                    <a:srgbClr val="DDDDDD"/>
                  </a:buClr>
                </a:pPr>
                <a:endParaRPr lang="ja-JP" altLang="en-US" sz="1319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sp>
            <p:nvSpPr>
              <p:cNvPr id="494" name="正方形/長方形 265"/>
              <p:cNvSpPr>
                <a:spLocks noChangeArrowheads="1"/>
              </p:cNvSpPr>
              <p:nvPr/>
            </p:nvSpPr>
            <p:spPr bwMode="auto">
              <a:xfrm flipH="1">
                <a:off x="4336958" y="3657639"/>
                <a:ext cx="279715" cy="23461"/>
              </a:xfrm>
              <a:prstGeom prst="rect">
                <a:avLst/>
              </a:prstGeom>
              <a:solidFill>
                <a:srgbClr val="003F56"/>
              </a:solidFill>
              <a:ln w="25400">
                <a:solidFill>
                  <a:srgbClr val="003F56"/>
                </a:solidFill>
                <a:miter lim="800000"/>
                <a:headEnd/>
                <a:tailEnd/>
              </a:ln>
            </p:spPr>
            <p:txBody>
              <a:bodyPr wrap="none" lIns="74569" tIns="37285" rIns="74569" bIns="37285" anchor="ctr"/>
              <a:lstStyle/>
              <a:p>
                <a:pPr algn="ctr" defTabSz="854934">
                  <a:spcBef>
                    <a:spcPct val="50000"/>
                  </a:spcBef>
                  <a:spcAft>
                    <a:spcPct val="30000"/>
                  </a:spcAft>
                  <a:buClr>
                    <a:srgbClr val="DDDDDD"/>
                  </a:buClr>
                </a:pPr>
                <a:endParaRPr lang="ja-JP" altLang="en-US" sz="1319" dirty="0">
                  <a:solidFill>
                    <a:srgbClr val="000000"/>
                  </a:solidFill>
                  <a:latin typeface="Meiryo UI"/>
                  <a:ea typeface="Meiryo UI"/>
                </a:endParaRPr>
              </a:p>
            </p:txBody>
          </p:sp>
          <p:cxnSp>
            <p:nvCxnSpPr>
              <p:cNvPr id="495" name="直線コネクタ 3"/>
              <p:cNvCxnSpPr>
                <a:cxnSpLocks noChangeShapeType="1"/>
              </p:cNvCxnSpPr>
              <p:nvPr/>
            </p:nvCxnSpPr>
            <p:spPr bwMode="auto">
              <a:xfrm>
                <a:off x="4082569" y="3471820"/>
                <a:ext cx="307284" cy="0"/>
              </a:xfrm>
              <a:prstGeom prst="line">
                <a:avLst/>
              </a:prstGeom>
              <a:noFill/>
              <a:ln w="28575" algn="ctr">
                <a:solidFill>
                  <a:srgbClr val="003F56"/>
                </a:solidFill>
                <a:round/>
                <a:headEnd/>
                <a:tailEnd/>
              </a:ln>
            </p:spPr>
          </p:cxnSp>
          <p:cxnSp>
            <p:nvCxnSpPr>
              <p:cNvPr id="496" name="直線コネクタ 269"/>
              <p:cNvCxnSpPr>
                <a:cxnSpLocks noChangeShapeType="1"/>
              </p:cNvCxnSpPr>
              <p:nvPr/>
            </p:nvCxnSpPr>
            <p:spPr bwMode="auto">
              <a:xfrm>
                <a:off x="4384243" y="3465978"/>
                <a:ext cx="129151" cy="191219"/>
              </a:xfrm>
              <a:prstGeom prst="line">
                <a:avLst/>
              </a:prstGeom>
              <a:noFill/>
              <a:ln w="28575" algn="ctr">
                <a:solidFill>
                  <a:srgbClr val="003F56"/>
                </a:solidFill>
                <a:round/>
                <a:headEnd/>
                <a:tailEnd/>
              </a:ln>
            </p:spPr>
          </p:cxnSp>
          <p:cxnSp>
            <p:nvCxnSpPr>
              <p:cNvPr id="497" name="直線コネクタ 270"/>
              <p:cNvCxnSpPr>
                <a:cxnSpLocks noChangeShapeType="1"/>
              </p:cNvCxnSpPr>
              <p:nvPr/>
            </p:nvCxnSpPr>
            <p:spPr bwMode="auto">
              <a:xfrm>
                <a:off x="4373375" y="3459992"/>
                <a:ext cx="0" cy="198172"/>
              </a:xfrm>
              <a:prstGeom prst="line">
                <a:avLst/>
              </a:prstGeom>
              <a:noFill/>
              <a:ln w="28575" algn="ctr">
                <a:solidFill>
                  <a:srgbClr val="003F56"/>
                </a:solidFill>
                <a:round/>
                <a:headEnd/>
                <a:tailEnd/>
              </a:ln>
            </p:spPr>
          </p:cxnSp>
          <p:cxnSp>
            <p:nvCxnSpPr>
              <p:cNvPr id="498" name="直線コネクタ 271"/>
              <p:cNvCxnSpPr>
                <a:cxnSpLocks noChangeShapeType="1"/>
              </p:cNvCxnSpPr>
              <p:nvPr/>
            </p:nvCxnSpPr>
            <p:spPr bwMode="auto">
              <a:xfrm>
                <a:off x="4374775" y="3844960"/>
                <a:ext cx="130318" cy="0"/>
              </a:xfrm>
              <a:prstGeom prst="line">
                <a:avLst/>
              </a:prstGeom>
              <a:noFill/>
              <a:ln w="28575" algn="ctr">
                <a:solidFill>
                  <a:srgbClr val="003F56"/>
                </a:solidFill>
                <a:round/>
                <a:headEnd/>
                <a:tailEnd/>
              </a:ln>
            </p:spPr>
          </p:cxnSp>
        </p:grpSp>
      </p:grpSp>
      <p:grpSp>
        <p:nvGrpSpPr>
          <p:cNvPr id="16" name="グループ化 1"/>
          <p:cNvGrpSpPr>
            <a:grpSpLocks/>
          </p:cNvGrpSpPr>
          <p:nvPr/>
        </p:nvGrpSpPr>
        <p:grpSpPr bwMode="auto">
          <a:xfrm>
            <a:off x="5822818" y="2018814"/>
            <a:ext cx="508192" cy="339294"/>
            <a:chOff x="9015413" y="5886451"/>
            <a:chExt cx="1108074" cy="849314"/>
          </a:xfrm>
        </p:grpSpPr>
        <p:sp>
          <p:nvSpPr>
            <p:cNvPr id="512" name="AutoShape 94"/>
            <p:cNvSpPr>
              <a:spLocks noChangeAspect="1" noChangeArrowheads="1"/>
            </p:cNvSpPr>
            <p:nvPr/>
          </p:nvSpPr>
          <p:spPr bwMode="auto">
            <a:xfrm flipV="1">
              <a:off x="9015413" y="5886451"/>
              <a:ext cx="619218" cy="849314"/>
            </a:xfrm>
            <a:prstGeom prst="downArrow">
              <a:avLst>
                <a:gd name="adj1" fmla="val 79315"/>
                <a:gd name="adj2" fmla="val 27148"/>
              </a:avLst>
            </a:prstGeom>
            <a:solidFill>
              <a:srgbClr val="003F56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wrap="none" lIns="64531" tIns="32266" rIns="64531" bIns="32266" anchor="ctr"/>
            <a:lstStyle/>
            <a:p>
              <a:pPr defTabSz="879470" eaLnBrk="0" hangingPunct="0">
                <a:defRPr/>
              </a:pPr>
              <a:endParaRPr lang="ja-JP" altLang="en-US" sz="1047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13" name="AutoShape 95"/>
            <p:cNvSpPr>
              <a:spLocks noChangeAspect="1" noChangeArrowheads="1"/>
            </p:cNvSpPr>
            <p:nvPr/>
          </p:nvSpPr>
          <p:spPr bwMode="auto">
            <a:xfrm flipV="1">
              <a:off x="9504269" y="5886451"/>
              <a:ext cx="619218" cy="849314"/>
            </a:xfrm>
            <a:prstGeom prst="downArrow">
              <a:avLst>
                <a:gd name="adj1" fmla="val 79315"/>
                <a:gd name="adj2" fmla="val 27148"/>
              </a:avLst>
            </a:prstGeom>
            <a:solidFill>
              <a:srgbClr val="003F56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wrap="none" lIns="64531" tIns="32266" rIns="64531" bIns="32266" anchor="ctr"/>
            <a:lstStyle/>
            <a:p>
              <a:pPr defTabSz="879470" eaLnBrk="0" hangingPunct="0">
                <a:defRPr/>
              </a:pPr>
              <a:endParaRPr lang="ja-JP" altLang="en-US" sz="1047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14" name="Rectangle 96"/>
            <p:cNvSpPr>
              <a:spLocks noChangeAspect="1" noChangeArrowheads="1"/>
            </p:cNvSpPr>
            <p:nvPr/>
          </p:nvSpPr>
          <p:spPr bwMode="auto">
            <a:xfrm>
              <a:off x="9263100" y="6477603"/>
              <a:ext cx="52145" cy="231971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15" name="Rectangle 97"/>
            <p:cNvSpPr>
              <a:spLocks noChangeAspect="1" noChangeArrowheads="1"/>
            </p:cNvSpPr>
            <p:nvPr/>
          </p:nvSpPr>
          <p:spPr bwMode="auto">
            <a:xfrm>
              <a:off x="9341317" y="6477603"/>
              <a:ext cx="52145" cy="231971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16" name="Rectangle 98"/>
            <p:cNvSpPr>
              <a:spLocks noChangeAspect="1" noChangeArrowheads="1"/>
            </p:cNvSpPr>
            <p:nvPr/>
          </p:nvSpPr>
          <p:spPr bwMode="auto">
            <a:xfrm>
              <a:off x="9735660" y="6477603"/>
              <a:ext cx="52145" cy="231971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17" name="Rectangle 99"/>
            <p:cNvSpPr>
              <a:spLocks noChangeAspect="1" noChangeArrowheads="1"/>
            </p:cNvSpPr>
            <p:nvPr/>
          </p:nvSpPr>
          <p:spPr bwMode="auto">
            <a:xfrm>
              <a:off x="9817137" y="6477603"/>
              <a:ext cx="52145" cy="231971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</p:grpSp>
      <p:grpSp>
        <p:nvGrpSpPr>
          <p:cNvPr id="17" name="グループ化 1"/>
          <p:cNvGrpSpPr>
            <a:grpSpLocks/>
          </p:cNvGrpSpPr>
          <p:nvPr/>
        </p:nvGrpSpPr>
        <p:grpSpPr bwMode="auto">
          <a:xfrm>
            <a:off x="8366771" y="2026287"/>
            <a:ext cx="509687" cy="339293"/>
            <a:chOff x="9015413" y="5886451"/>
            <a:chExt cx="1108074" cy="849314"/>
          </a:xfrm>
        </p:grpSpPr>
        <p:sp>
          <p:nvSpPr>
            <p:cNvPr id="519" name="AutoShape 94"/>
            <p:cNvSpPr>
              <a:spLocks noChangeAspect="1" noChangeArrowheads="1"/>
            </p:cNvSpPr>
            <p:nvPr/>
          </p:nvSpPr>
          <p:spPr bwMode="auto">
            <a:xfrm flipV="1">
              <a:off x="9015413" y="5886451"/>
              <a:ext cx="620651" cy="849314"/>
            </a:xfrm>
            <a:prstGeom prst="downArrow">
              <a:avLst>
                <a:gd name="adj1" fmla="val 79315"/>
                <a:gd name="adj2" fmla="val 27148"/>
              </a:avLst>
            </a:prstGeom>
            <a:solidFill>
              <a:srgbClr val="003F56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wrap="none" lIns="64531" tIns="32266" rIns="64531" bIns="32266" anchor="ctr"/>
            <a:lstStyle/>
            <a:p>
              <a:pPr defTabSz="879470" eaLnBrk="0" hangingPunct="0">
                <a:defRPr/>
              </a:pPr>
              <a:endParaRPr lang="ja-JP" altLang="en-US" sz="1047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20" name="AutoShape 95"/>
            <p:cNvSpPr>
              <a:spLocks noChangeAspect="1" noChangeArrowheads="1"/>
            </p:cNvSpPr>
            <p:nvPr/>
          </p:nvSpPr>
          <p:spPr bwMode="auto">
            <a:xfrm flipV="1">
              <a:off x="9502836" y="5886451"/>
              <a:ext cx="620651" cy="849314"/>
            </a:xfrm>
            <a:prstGeom prst="downArrow">
              <a:avLst>
                <a:gd name="adj1" fmla="val 79315"/>
                <a:gd name="adj2" fmla="val 27148"/>
              </a:avLst>
            </a:prstGeom>
            <a:solidFill>
              <a:srgbClr val="003F56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wrap="none" lIns="64531" tIns="32266" rIns="64531" bIns="32266" anchor="ctr"/>
            <a:lstStyle/>
            <a:p>
              <a:pPr defTabSz="879470" eaLnBrk="0" hangingPunct="0">
                <a:defRPr/>
              </a:pPr>
              <a:endParaRPr lang="ja-JP" altLang="en-US" sz="1047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21" name="Rectangle 96"/>
            <p:cNvSpPr>
              <a:spLocks noChangeAspect="1" noChangeArrowheads="1"/>
            </p:cNvSpPr>
            <p:nvPr/>
          </p:nvSpPr>
          <p:spPr bwMode="auto">
            <a:xfrm>
              <a:off x="9262374" y="6477604"/>
              <a:ext cx="51992" cy="231972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22" name="Rectangle 97"/>
            <p:cNvSpPr>
              <a:spLocks noChangeAspect="1" noChangeArrowheads="1"/>
            </p:cNvSpPr>
            <p:nvPr/>
          </p:nvSpPr>
          <p:spPr bwMode="auto">
            <a:xfrm>
              <a:off x="9340362" y="6477604"/>
              <a:ext cx="51992" cy="231972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23" name="Rectangle 98"/>
            <p:cNvSpPr>
              <a:spLocks noChangeAspect="1" noChangeArrowheads="1"/>
            </p:cNvSpPr>
            <p:nvPr/>
          </p:nvSpPr>
          <p:spPr bwMode="auto">
            <a:xfrm>
              <a:off x="9736799" y="6477604"/>
              <a:ext cx="51992" cy="231972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24" name="Rectangle 99"/>
            <p:cNvSpPr>
              <a:spLocks noChangeAspect="1" noChangeArrowheads="1"/>
            </p:cNvSpPr>
            <p:nvPr/>
          </p:nvSpPr>
          <p:spPr bwMode="auto">
            <a:xfrm>
              <a:off x="9814787" y="6477604"/>
              <a:ext cx="51992" cy="231972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</p:grpSp>
      <p:grpSp>
        <p:nvGrpSpPr>
          <p:cNvPr id="18" name="Group 148"/>
          <p:cNvGrpSpPr>
            <a:grpSpLocks/>
          </p:cNvGrpSpPr>
          <p:nvPr/>
        </p:nvGrpSpPr>
        <p:grpSpPr bwMode="auto">
          <a:xfrm>
            <a:off x="9171607" y="1703932"/>
            <a:ext cx="505128" cy="234170"/>
            <a:chOff x="1607" y="998"/>
            <a:chExt cx="489" cy="228"/>
          </a:xfrm>
        </p:grpSpPr>
        <p:sp>
          <p:nvSpPr>
            <p:cNvPr id="526" name="Rectangle 149"/>
            <p:cNvSpPr>
              <a:spLocks noChangeArrowheads="1"/>
            </p:cNvSpPr>
            <p:nvPr/>
          </p:nvSpPr>
          <p:spPr bwMode="auto">
            <a:xfrm>
              <a:off x="1656" y="998"/>
              <a:ext cx="389" cy="55"/>
            </a:xfrm>
            <a:prstGeom prst="rect">
              <a:avLst/>
            </a:prstGeom>
            <a:solidFill>
              <a:srgbClr val="003F5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  <p:sp>
          <p:nvSpPr>
            <p:cNvPr id="527" name="Rectangle 150"/>
            <p:cNvSpPr>
              <a:spLocks noChangeArrowheads="1"/>
            </p:cNvSpPr>
            <p:nvPr/>
          </p:nvSpPr>
          <p:spPr bwMode="auto">
            <a:xfrm>
              <a:off x="1607" y="1064"/>
              <a:ext cx="489" cy="162"/>
            </a:xfrm>
            <a:prstGeom prst="rect">
              <a:avLst/>
            </a:prstGeom>
            <a:solidFill>
              <a:srgbClr val="003F5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  <p:sp>
          <p:nvSpPr>
            <p:cNvPr id="528" name="Rectangle 151"/>
            <p:cNvSpPr>
              <a:spLocks noChangeArrowheads="1"/>
            </p:cNvSpPr>
            <p:nvPr/>
          </p:nvSpPr>
          <p:spPr bwMode="auto">
            <a:xfrm>
              <a:off x="1661" y="1100"/>
              <a:ext cx="114" cy="7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  <p:sp>
          <p:nvSpPr>
            <p:cNvPr id="529" name="Rectangle 152"/>
            <p:cNvSpPr>
              <a:spLocks noChangeArrowheads="1"/>
            </p:cNvSpPr>
            <p:nvPr/>
          </p:nvSpPr>
          <p:spPr bwMode="auto">
            <a:xfrm>
              <a:off x="1796" y="1100"/>
              <a:ext cx="114" cy="10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  <p:sp>
          <p:nvSpPr>
            <p:cNvPr id="530" name="Rectangle 153"/>
            <p:cNvSpPr>
              <a:spLocks noChangeArrowheads="1"/>
            </p:cNvSpPr>
            <p:nvPr/>
          </p:nvSpPr>
          <p:spPr bwMode="auto">
            <a:xfrm>
              <a:off x="1929" y="1100"/>
              <a:ext cx="113" cy="7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</p:grpSp>
      <p:grpSp>
        <p:nvGrpSpPr>
          <p:cNvPr id="19" name="Group 148"/>
          <p:cNvGrpSpPr>
            <a:grpSpLocks/>
          </p:cNvGrpSpPr>
          <p:nvPr/>
        </p:nvGrpSpPr>
        <p:grpSpPr bwMode="auto">
          <a:xfrm>
            <a:off x="9171607" y="2095042"/>
            <a:ext cx="505128" cy="235653"/>
            <a:chOff x="1607" y="998"/>
            <a:chExt cx="489" cy="228"/>
          </a:xfrm>
        </p:grpSpPr>
        <p:sp>
          <p:nvSpPr>
            <p:cNvPr id="532" name="Rectangle 149"/>
            <p:cNvSpPr>
              <a:spLocks noChangeArrowheads="1"/>
            </p:cNvSpPr>
            <p:nvPr/>
          </p:nvSpPr>
          <p:spPr bwMode="auto">
            <a:xfrm>
              <a:off x="1656" y="998"/>
              <a:ext cx="389" cy="55"/>
            </a:xfrm>
            <a:prstGeom prst="rect">
              <a:avLst/>
            </a:prstGeom>
            <a:solidFill>
              <a:srgbClr val="003F5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  <p:sp>
          <p:nvSpPr>
            <p:cNvPr id="533" name="Rectangle 150"/>
            <p:cNvSpPr>
              <a:spLocks noChangeArrowheads="1"/>
            </p:cNvSpPr>
            <p:nvPr/>
          </p:nvSpPr>
          <p:spPr bwMode="auto">
            <a:xfrm>
              <a:off x="1607" y="1064"/>
              <a:ext cx="489" cy="162"/>
            </a:xfrm>
            <a:prstGeom prst="rect">
              <a:avLst/>
            </a:prstGeom>
            <a:solidFill>
              <a:srgbClr val="003F5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  <p:sp>
          <p:nvSpPr>
            <p:cNvPr id="534" name="Rectangle 151"/>
            <p:cNvSpPr>
              <a:spLocks noChangeArrowheads="1"/>
            </p:cNvSpPr>
            <p:nvPr/>
          </p:nvSpPr>
          <p:spPr bwMode="auto">
            <a:xfrm>
              <a:off x="1661" y="1100"/>
              <a:ext cx="114" cy="7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  <p:sp>
          <p:nvSpPr>
            <p:cNvPr id="535" name="Rectangle 152"/>
            <p:cNvSpPr>
              <a:spLocks noChangeArrowheads="1"/>
            </p:cNvSpPr>
            <p:nvPr/>
          </p:nvSpPr>
          <p:spPr bwMode="auto">
            <a:xfrm>
              <a:off x="1796" y="1100"/>
              <a:ext cx="114" cy="10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  <p:sp>
          <p:nvSpPr>
            <p:cNvPr id="536" name="Rectangle 153"/>
            <p:cNvSpPr>
              <a:spLocks noChangeArrowheads="1"/>
            </p:cNvSpPr>
            <p:nvPr/>
          </p:nvSpPr>
          <p:spPr bwMode="auto">
            <a:xfrm>
              <a:off x="1929" y="1100"/>
              <a:ext cx="113" cy="7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</p:grpSp>
      <p:grpSp>
        <p:nvGrpSpPr>
          <p:cNvPr id="20" name="Group 148"/>
          <p:cNvGrpSpPr>
            <a:grpSpLocks/>
          </p:cNvGrpSpPr>
          <p:nvPr/>
        </p:nvGrpSpPr>
        <p:grpSpPr bwMode="auto">
          <a:xfrm>
            <a:off x="9171607" y="2501597"/>
            <a:ext cx="505128" cy="235653"/>
            <a:chOff x="1607" y="998"/>
            <a:chExt cx="489" cy="228"/>
          </a:xfrm>
        </p:grpSpPr>
        <p:sp>
          <p:nvSpPr>
            <p:cNvPr id="538" name="Rectangle 149"/>
            <p:cNvSpPr>
              <a:spLocks noChangeArrowheads="1"/>
            </p:cNvSpPr>
            <p:nvPr/>
          </p:nvSpPr>
          <p:spPr bwMode="auto">
            <a:xfrm>
              <a:off x="1656" y="998"/>
              <a:ext cx="389" cy="55"/>
            </a:xfrm>
            <a:prstGeom prst="rect">
              <a:avLst/>
            </a:prstGeom>
            <a:solidFill>
              <a:srgbClr val="003F5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  <p:sp>
          <p:nvSpPr>
            <p:cNvPr id="539" name="Rectangle 150"/>
            <p:cNvSpPr>
              <a:spLocks noChangeArrowheads="1"/>
            </p:cNvSpPr>
            <p:nvPr/>
          </p:nvSpPr>
          <p:spPr bwMode="auto">
            <a:xfrm>
              <a:off x="1607" y="1064"/>
              <a:ext cx="489" cy="162"/>
            </a:xfrm>
            <a:prstGeom prst="rect">
              <a:avLst/>
            </a:prstGeom>
            <a:solidFill>
              <a:srgbClr val="003F5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  <p:sp>
          <p:nvSpPr>
            <p:cNvPr id="540" name="Rectangle 151"/>
            <p:cNvSpPr>
              <a:spLocks noChangeArrowheads="1"/>
            </p:cNvSpPr>
            <p:nvPr/>
          </p:nvSpPr>
          <p:spPr bwMode="auto">
            <a:xfrm>
              <a:off x="1661" y="1100"/>
              <a:ext cx="114" cy="7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  <p:sp>
          <p:nvSpPr>
            <p:cNvPr id="541" name="Rectangle 152"/>
            <p:cNvSpPr>
              <a:spLocks noChangeArrowheads="1"/>
            </p:cNvSpPr>
            <p:nvPr/>
          </p:nvSpPr>
          <p:spPr bwMode="auto">
            <a:xfrm>
              <a:off x="1796" y="1100"/>
              <a:ext cx="114" cy="10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  <p:sp>
          <p:nvSpPr>
            <p:cNvPr id="542" name="Rectangle 153"/>
            <p:cNvSpPr>
              <a:spLocks noChangeArrowheads="1"/>
            </p:cNvSpPr>
            <p:nvPr/>
          </p:nvSpPr>
          <p:spPr bwMode="auto">
            <a:xfrm>
              <a:off x="1929" y="1100"/>
              <a:ext cx="113" cy="7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3F5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879470"/>
              <a:endParaRPr lang="ja-JP" altLang="en-US" sz="1223" dirty="0">
                <a:solidFill>
                  <a:srgbClr val="000000"/>
                </a:solidFill>
                <a:latin typeface="Meiryo UI"/>
                <a:ea typeface="Meiryo UI"/>
                <a:cs typeface="平成角ゴシック W5"/>
              </a:endParaRPr>
            </a:p>
          </p:txBody>
        </p:sp>
      </p:grpSp>
      <p:cxnSp>
        <p:nvCxnSpPr>
          <p:cNvPr id="543" name="直線コネクタ 3"/>
          <p:cNvCxnSpPr>
            <a:cxnSpLocks noChangeShapeType="1"/>
          </p:cNvCxnSpPr>
          <p:nvPr/>
        </p:nvCxnSpPr>
        <p:spPr bwMode="auto">
          <a:xfrm>
            <a:off x="1055108" y="2864804"/>
            <a:ext cx="8867936" cy="0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544" name="Text Box 147"/>
          <p:cNvSpPr txBox="1">
            <a:spLocks noChangeArrowheads="1"/>
          </p:cNvSpPr>
          <p:nvPr/>
        </p:nvSpPr>
        <p:spPr bwMode="auto">
          <a:xfrm>
            <a:off x="4724225" y="2884834"/>
            <a:ext cx="802645" cy="349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97" tIns="35998" rIns="71997" bIns="35998">
            <a:spAutoFit/>
          </a:bodyPr>
          <a:lstStyle/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Sa/Airport</a:t>
            </a:r>
          </a:p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(Imp)</a:t>
            </a:r>
            <a:endParaRPr lang="ja-JP" altLang="en-US" sz="900" dirty="0">
              <a:solidFill>
                <a:schemeClr val="accent4"/>
              </a:solidFill>
              <a:latin typeface="Meiryo UI"/>
              <a:ea typeface="Meiryo UI"/>
              <a:cs typeface="メイリオ"/>
            </a:endParaRPr>
          </a:p>
        </p:txBody>
      </p:sp>
      <p:sp>
        <p:nvSpPr>
          <p:cNvPr id="545" name="Text Box 142"/>
          <p:cNvSpPr txBox="1">
            <a:spLocks noChangeArrowheads="1"/>
          </p:cNvSpPr>
          <p:nvPr/>
        </p:nvSpPr>
        <p:spPr bwMode="auto">
          <a:xfrm>
            <a:off x="5717405" y="2884835"/>
            <a:ext cx="781793" cy="211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1997" tIns="35998" rIns="71997" bIns="35998">
            <a:spAutoFit/>
          </a:bodyPr>
          <a:lstStyle/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Warehouse</a:t>
            </a:r>
            <a:endParaRPr lang="ja-JP" altLang="en-US" sz="900" dirty="0">
              <a:solidFill>
                <a:schemeClr val="accent4"/>
              </a:solidFill>
              <a:latin typeface="Meiryo UI"/>
              <a:ea typeface="Meiryo UI"/>
              <a:cs typeface="メイリオ"/>
            </a:endParaRPr>
          </a:p>
        </p:txBody>
      </p:sp>
      <p:sp>
        <p:nvSpPr>
          <p:cNvPr id="546" name="Text Box 142"/>
          <p:cNvSpPr txBox="1">
            <a:spLocks noChangeArrowheads="1"/>
          </p:cNvSpPr>
          <p:nvPr/>
        </p:nvSpPr>
        <p:spPr bwMode="auto">
          <a:xfrm>
            <a:off x="6693171" y="2884835"/>
            <a:ext cx="746446" cy="211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97" tIns="35998" rIns="71997" bIns="35998">
            <a:spAutoFit/>
          </a:bodyPr>
          <a:lstStyle/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Plant</a:t>
            </a:r>
            <a:endParaRPr lang="ja-JP" altLang="en-US" sz="900" dirty="0">
              <a:solidFill>
                <a:schemeClr val="accent4"/>
              </a:solidFill>
              <a:latin typeface="Meiryo UI"/>
              <a:ea typeface="Meiryo UI"/>
              <a:cs typeface="メイリオ"/>
            </a:endParaRPr>
          </a:p>
        </p:txBody>
      </p:sp>
      <p:sp>
        <p:nvSpPr>
          <p:cNvPr id="547" name="Text Box 142"/>
          <p:cNvSpPr txBox="1">
            <a:spLocks noChangeArrowheads="1"/>
          </p:cNvSpPr>
          <p:nvPr/>
        </p:nvSpPr>
        <p:spPr bwMode="auto">
          <a:xfrm>
            <a:off x="9047187" y="2888997"/>
            <a:ext cx="687555" cy="211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97" tIns="35998" rIns="71997" bIns="35998">
            <a:spAutoFit/>
          </a:bodyPr>
          <a:lstStyle/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End-User</a:t>
            </a:r>
            <a:endParaRPr lang="ja-JP" altLang="en-US" sz="900" dirty="0">
              <a:solidFill>
                <a:schemeClr val="accent4"/>
              </a:solidFill>
              <a:latin typeface="Meiryo UI"/>
              <a:ea typeface="Meiryo UI"/>
              <a:cs typeface="メイリオ"/>
            </a:endParaRPr>
          </a:p>
        </p:txBody>
      </p:sp>
      <p:sp>
        <p:nvSpPr>
          <p:cNvPr id="548" name="Text Box 142"/>
          <p:cNvSpPr txBox="1">
            <a:spLocks noChangeArrowheads="1"/>
          </p:cNvSpPr>
          <p:nvPr/>
        </p:nvSpPr>
        <p:spPr bwMode="auto">
          <a:xfrm>
            <a:off x="8089804" y="2892308"/>
            <a:ext cx="1062123" cy="349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97" tIns="35998" rIns="71997" bIns="35998">
            <a:spAutoFit/>
          </a:bodyPr>
          <a:lstStyle/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Warehouse</a:t>
            </a:r>
          </a:p>
          <a:p>
            <a:pPr algn="ctr" defTabSz="816074">
              <a:buClr>
                <a:srgbClr val="DDDDDD"/>
              </a:buClr>
            </a:pPr>
            <a:endParaRPr lang="ja-JP" altLang="en-US" sz="900" dirty="0">
              <a:solidFill>
                <a:schemeClr val="accent4"/>
              </a:solidFill>
              <a:latin typeface="Meiryo UI"/>
              <a:ea typeface="Meiryo UI"/>
              <a:cs typeface="メイリオ"/>
            </a:endParaRPr>
          </a:p>
        </p:txBody>
      </p:sp>
      <p:sp>
        <p:nvSpPr>
          <p:cNvPr id="549" name="ホームベース 3"/>
          <p:cNvSpPr>
            <a:spLocks/>
          </p:cNvSpPr>
          <p:nvPr/>
        </p:nvSpPr>
        <p:spPr bwMode="auto">
          <a:xfrm>
            <a:off x="1416078" y="3343088"/>
            <a:ext cx="4749021" cy="270539"/>
          </a:xfrm>
          <a:prstGeom prst="homePlate">
            <a:avLst>
              <a:gd name="adj" fmla="val 50125"/>
            </a:avLst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74569" tIns="37285" rIns="74569" bIns="37285" anchor="ctr"/>
          <a:lstStyle/>
          <a:p>
            <a:pPr algn="ctr" defTabSz="854934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</a:pPr>
            <a:r>
              <a:rPr lang="en-US" altLang="ja-JP" sz="1129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Procurement</a:t>
            </a:r>
          </a:p>
        </p:txBody>
      </p:sp>
      <p:sp>
        <p:nvSpPr>
          <p:cNvPr id="550" name="山形 4"/>
          <p:cNvSpPr>
            <a:spLocks/>
          </p:cNvSpPr>
          <p:nvPr/>
        </p:nvSpPr>
        <p:spPr bwMode="auto">
          <a:xfrm>
            <a:off x="6097839" y="3343088"/>
            <a:ext cx="2114979" cy="270539"/>
          </a:xfrm>
          <a:prstGeom prst="chevron">
            <a:avLst>
              <a:gd name="adj" fmla="val 50164"/>
            </a:avLst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74569" tIns="37285" rIns="74569" bIns="37285" anchor="ctr"/>
          <a:lstStyle/>
          <a:p>
            <a:pPr algn="ctr" defTabSz="854934">
              <a:spcBef>
                <a:spcPct val="50000"/>
              </a:spcBef>
              <a:spcAft>
                <a:spcPct val="30000"/>
              </a:spcAft>
              <a:buClr>
                <a:srgbClr val="DDDDDD"/>
              </a:buClr>
            </a:pPr>
            <a:r>
              <a:rPr lang="en-US" altLang="ja-JP" sz="1154" dirty="0">
                <a:solidFill>
                  <a:srgbClr val="FFFFFF"/>
                </a:solidFill>
                <a:latin typeface="+mj-lt"/>
                <a:ea typeface="HG丸ｺﾞｼｯｸM-PRO" panose="020F0600000000000000" pitchFamily="50" charset="-128"/>
              </a:rPr>
              <a:t>Production</a:t>
            </a:r>
            <a:endParaRPr lang="ja-JP" altLang="en-US" sz="1154" dirty="0">
              <a:solidFill>
                <a:srgbClr val="FFFFFF"/>
              </a:solidFill>
              <a:latin typeface="+mj-lt"/>
              <a:ea typeface="HG丸ｺﾞｼｯｸM-PRO" panose="020F0600000000000000" pitchFamily="50" charset="-128"/>
            </a:endParaRPr>
          </a:p>
        </p:txBody>
      </p:sp>
      <p:sp>
        <p:nvSpPr>
          <p:cNvPr id="551" name="山形 5"/>
          <p:cNvSpPr>
            <a:spLocks/>
          </p:cNvSpPr>
          <p:nvPr/>
        </p:nvSpPr>
        <p:spPr bwMode="auto">
          <a:xfrm>
            <a:off x="8147051" y="3343088"/>
            <a:ext cx="1775993" cy="270539"/>
          </a:xfrm>
          <a:prstGeom prst="chevron">
            <a:avLst>
              <a:gd name="adj" fmla="val 50139"/>
            </a:avLst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74569" tIns="37285" rIns="74569" bIns="37285" anchor="ctr"/>
          <a:lstStyle/>
          <a:p>
            <a:pPr algn="ctr" defTabSz="854934">
              <a:buClr>
                <a:srgbClr val="DDDDDD"/>
              </a:buClr>
            </a:pPr>
            <a:r>
              <a:rPr lang="en-US" altLang="ja-JP" sz="1154" dirty="0">
                <a:solidFill>
                  <a:srgbClr val="FFFFFF"/>
                </a:solidFill>
                <a:latin typeface="+mj-lt"/>
                <a:ea typeface="HG丸ｺﾞｼｯｸM-PRO" panose="020F0600000000000000" pitchFamily="50" charset="-128"/>
              </a:rPr>
              <a:t>Stock/Sales</a:t>
            </a:r>
            <a:endParaRPr lang="ja-JP" altLang="en-US" sz="1154" dirty="0">
              <a:solidFill>
                <a:srgbClr val="FFFFFF"/>
              </a:solidFill>
              <a:latin typeface="+mj-lt"/>
              <a:ea typeface="HG丸ｺﾞｼｯｸM-PRO" panose="020F0600000000000000" pitchFamily="50" charset="-128"/>
            </a:endParaRPr>
          </a:p>
        </p:txBody>
      </p:sp>
      <p:sp>
        <p:nvSpPr>
          <p:cNvPr id="552" name="Text Box 147"/>
          <p:cNvSpPr txBox="1">
            <a:spLocks noChangeArrowheads="1"/>
          </p:cNvSpPr>
          <p:nvPr/>
        </p:nvSpPr>
        <p:spPr bwMode="auto">
          <a:xfrm>
            <a:off x="3836529" y="2889320"/>
            <a:ext cx="1048970" cy="211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97" tIns="35998" rIns="71997" bIns="35998">
            <a:spAutoFit/>
          </a:bodyPr>
          <a:lstStyle/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Shipping</a:t>
            </a:r>
            <a:endParaRPr lang="ja-JP" altLang="en-US" sz="900" dirty="0">
              <a:solidFill>
                <a:schemeClr val="accent4"/>
              </a:solidFill>
              <a:latin typeface="Meiryo UI"/>
              <a:ea typeface="Meiryo UI"/>
              <a:cs typeface="メイリオ"/>
            </a:endParaRPr>
          </a:p>
        </p:txBody>
      </p:sp>
      <p:cxnSp>
        <p:nvCxnSpPr>
          <p:cNvPr id="553" name="直線矢印コネクタ 552"/>
          <p:cNvCxnSpPr/>
          <p:nvPr/>
        </p:nvCxnSpPr>
        <p:spPr bwMode="auto">
          <a:xfrm>
            <a:off x="1467305" y="1932123"/>
            <a:ext cx="168899" cy="272033"/>
          </a:xfrm>
          <a:prstGeom prst="straightConnector1">
            <a:avLst/>
          </a:prstGeom>
          <a:solidFill>
            <a:schemeClr val="hlink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554" name="直線矢印コネクタ 553"/>
          <p:cNvCxnSpPr/>
          <p:nvPr/>
        </p:nvCxnSpPr>
        <p:spPr bwMode="auto">
          <a:xfrm flipV="1">
            <a:off x="1488233" y="2425369"/>
            <a:ext cx="162920" cy="243634"/>
          </a:xfrm>
          <a:prstGeom prst="straightConnector1">
            <a:avLst/>
          </a:prstGeom>
          <a:solidFill>
            <a:schemeClr val="hlink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555" name="直線矢印コネクタ 554"/>
          <p:cNvCxnSpPr/>
          <p:nvPr/>
        </p:nvCxnSpPr>
        <p:spPr bwMode="auto">
          <a:xfrm>
            <a:off x="1467305" y="2277393"/>
            <a:ext cx="189824" cy="0"/>
          </a:xfrm>
          <a:prstGeom prst="straightConnector1">
            <a:avLst/>
          </a:prstGeom>
          <a:solidFill>
            <a:schemeClr val="hlink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556" name="直線矢印コネクタ 555"/>
          <p:cNvCxnSpPr/>
          <p:nvPr/>
        </p:nvCxnSpPr>
        <p:spPr bwMode="auto">
          <a:xfrm>
            <a:off x="2923129" y="2277393"/>
            <a:ext cx="475310" cy="0"/>
          </a:xfrm>
          <a:prstGeom prst="straightConnector1">
            <a:avLst/>
          </a:prstGeom>
          <a:solidFill>
            <a:schemeClr val="hlink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557" name="直線矢印コネクタ 556"/>
          <p:cNvCxnSpPr/>
          <p:nvPr/>
        </p:nvCxnSpPr>
        <p:spPr bwMode="auto">
          <a:xfrm>
            <a:off x="5317613" y="2277393"/>
            <a:ext cx="475310" cy="0"/>
          </a:xfrm>
          <a:prstGeom prst="straightConnector1">
            <a:avLst/>
          </a:prstGeom>
          <a:solidFill>
            <a:schemeClr val="hlink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558" name="直線矢印コネクタ 557"/>
          <p:cNvCxnSpPr/>
          <p:nvPr/>
        </p:nvCxnSpPr>
        <p:spPr bwMode="auto">
          <a:xfrm>
            <a:off x="6331009" y="2277393"/>
            <a:ext cx="473815" cy="0"/>
          </a:xfrm>
          <a:prstGeom prst="straightConnector1">
            <a:avLst/>
          </a:prstGeom>
          <a:solidFill>
            <a:schemeClr val="hlink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559" name="直線矢印コネクタ 558"/>
          <p:cNvCxnSpPr/>
          <p:nvPr/>
        </p:nvCxnSpPr>
        <p:spPr bwMode="auto">
          <a:xfrm>
            <a:off x="7292091" y="2277393"/>
            <a:ext cx="203277" cy="0"/>
          </a:xfrm>
          <a:prstGeom prst="straightConnector1">
            <a:avLst/>
          </a:prstGeom>
          <a:solidFill>
            <a:schemeClr val="hlink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560" name="直線矢印コネクタ 559"/>
          <p:cNvCxnSpPr>
            <a:cxnSpLocks/>
          </p:cNvCxnSpPr>
          <p:nvPr/>
        </p:nvCxnSpPr>
        <p:spPr bwMode="auto">
          <a:xfrm flipV="1">
            <a:off x="8889911" y="1913798"/>
            <a:ext cx="210750" cy="226088"/>
          </a:xfrm>
          <a:prstGeom prst="straightConnector1">
            <a:avLst/>
          </a:prstGeom>
          <a:solidFill>
            <a:schemeClr val="hlink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561" name="直線矢印コネクタ 560"/>
          <p:cNvCxnSpPr>
            <a:cxnSpLocks/>
          </p:cNvCxnSpPr>
          <p:nvPr/>
        </p:nvCxnSpPr>
        <p:spPr bwMode="auto">
          <a:xfrm>
            <a:off x="8891405" y="2361097"/>
            <a:ext cx="224188" cy="279327"/>
          </a:xfrm>
          <a:prstGeom prst="straightConnector1">
            <a:avLst/>
          </a:prstGeom>
          <a:solidFill>
            <a:schemeClr val="hlink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562" name="直線矢印コネクタ 561"/>
          <p:cNvCxnSpPr>
            <a:cxnSpLocks/>
          </p:cNvCxnSpPr>
          <p:nvPr/>
        </p:nvCxnSpPr>
        <p:spPr bwMode="auto">
          <a:xfrm flipV="1">
            <a:off x="8880943" y="2272292"/>
            <a:ext cx="251532" cy="10203"/>
          </a:xfrm>
          <a:prstGeom prst="straightConnector1">
            <a:avLst/>
          </a:prstGeom>
          <a:solidFill>
            <a:schemeClr val="hlink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grpSp>
        <p:nvGrpSpPr>
          <p:cNvPr id="21" name="Group 76"/>
          <p:cNvGrpSpPr>
            <a:grpSpLocks/>
          </p:cNvGrpSpPr>
          <p:nvPr/>
        </p:nvGrpSpPr>
        <p:grpSpPr bwMode="auto">
          <a:xfrm flipH="1">
            <a:off x="3057651" y="2141677"/>
            <a:ext cx="203277" cy="130340"/>
            <a:chOff x="2885" y="2075"/>
            <a:chExt cx="404" cy="192"/>
          </a:xfrm>
        </p:grpSpPr>
        <p:sp>
          <p:nvSpPr>
            <p:cNvPr id="564" name="Freeform 77"/>
            <p:cNvSpPr>
              <a:spLocks/>
            </p:cNvSpPr>
            <p:nvPr/>
          </p:nvSpPr>
          <p:spPr bwMode="auto">
            <a:xfrm>
              <a:off x="2888" y="2077"/>
              <a:ext cx="401" cy="150"/>
            </a:xfrm>
            <a:custGeom>
              <a:avLst/>
              <a:gdLst>
                <a:gd name="T0" fmla="*/ 0 w 798"/>
                <a:gd name="T1" fmla="*/ 1 h 300"/>
                <a:gd name="T2" fmla="*/ 0 w 798"/>
                <a:gd name="T3" fmla="*/ 0 h 300"/>
                <a:gd name="T4" fmla="*/ 0 w 798"/>
                <a:gd name="T5" fmla="*/ 0 h 300"/>
                <a:gd name="T6" fmla="*/ 0 w 798"/>
                <a:gd name="T7" fmla="*/ 1 h 300"/>
                <a:gd name="T8" fmla="*/ 0 w 798"/>
                <a:gd name="T9" fmla="*/ 1 h 300"/>
                <a:gd name="T10" fmla="*/ 0 w 798"/>
                <a:gd name="T11" fmla="*/ 1 h 300"/>
                <a:gd name="T12" fmla="*/ 0 w 798"/>
                <a:gd name="T13" fmla="*/ 1 h 3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98" h="300">
                  <a:moveTo>
                    <a:pt x="193" y="73"/>
                  </a:moveTo>
                  <a:lnTo>
                    <a:pt x="193" y="0"/>
                  </a:lnTo>
                  <a:lnTo>
                    <a:pt x="798" y="0"/>
                  </a:lnTo>
                  <a:lnTo>
                    <a:pt x="798" y="300"/>
                  </a:lnTo>
                  <a:lnTo>
                    <a:pt x="2" y="300"/>
                  </a:lnTo>
                  <a:lnTo>
                    <a:pt x="0" y="73"/>
                  </a:lnTo>
                  <a:lnTo>
                    <a:pt x="193" y="73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65" name="Rectangle 78"/>
            <p:cNvSpPr>
              <a:spLocks noChangeArrowheads="1"/>
            </p:cNvSpPr>
            <p:nvPr/>
          </p:nvSpPr>
          <p:spPr bwMode="auto">
            <a:xfrm>
              <a:off x="2983" y="2077"/>
              <a:ext cx="3" cy="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66" name="Rectangle 79"/>
            <p:cNvSpPr>
              <a:spLocks noChangeArrowheads="1"/>
            </p:cNvSpPr>
            <p:nvPr/>
          </p:nvSpPr>
          <p:spPr bwMode="auto">
            <a:xfrm>
              <a:off x="2983" y="2075"/>
              <a:ext cx="303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67" name="Freeform 80"/>
            <p:cNvSpPr>
              <a:spLocks/>
            </p:cNvSpPr>
            <p:nvPr/>
          </p:nvSpPr>
          <p:spPr bwMode="auto">
            <a:xfrm>
              <a:off x="2983" y="2075"/>
              <a:ext cx="3" cy="5"/>
            </a:xfrm>
            <a:custGeom>
              <a:avLst/>
              <a:gdLst>
                <a:gd name="T0" fmla="*/ 0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0 h 11"/>
                <a:gd name="T8" fmla="*/ 0 w 11"/>
                <a:gd name="T9" fmla="*/ 0 h 11"/>
                <a:gd name="T10" fmla="*/ 0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0" y="5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5" y="11"/>
                  </a:lnTo>
                  <a:lnTo>
                    <a:pt x="11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68" name="Rectangle 81"/>
            <p:cNvSpPr>
              <a:spLocks noChangeArrowheads="1"/>
            </p:cNvSpPr>
            <p:nvPr/>
          </p:nvSpPr>
          <p:spPr bwMode="auto">
            <a:xfrm>
              <a:off x="3283" y="2077"/>
              <a:ext cx="6" cy="1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69" name="Freeform 82"/>
            <p:cNvSpPr>
              <a:spLocks/>
            </p:cNvSpPr>
            <p:nvPr/>
          </p:nvSpPr>
          <p:spPr bwMode="auto">
            <a:xfrm>
              <a:off x="3283" y="2075"/>
              <a:ext cx="6" cy="5"/>
            </a:xfrm>
            <a:custGeom>
              <a:avLst/>
              <a:gdLst>
                <a:gd name="T0" fmla="*/ 0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0 h 11"/>
                <a:gd name="T8" fmla="*/ 0 w 11"/>
                <a:gd name="T9" fmla="*/ 0 h 11"/>
                <a:gd name="T10" fmla="*/ 0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5" y="0"/>
                  </a:moveTo>
                  <a:lnTo>
                    <a:pt x="11" y="0"/>
                  </a:lnTo>
                  <a:lnTo>
                    <a:pt x="11" y="5"/>
                  </a:lnTo>
                  <a:lnTo>
                    <a:pt x="0" y="5"/>
                  </a:lnTo>
                  <a:lnTo>
                    <a:pt x="5" y="1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70" name="Rectangle 83"/>
            <p:cNvSpPr>
              <a:spLocks noChangeArrowheads="1"/>
            </p:cNvSpPr>
            <p:nvPr/>
          </p:nvSpPr>
          <p:spPr bwMode="auto">
            <a:xfrm>
              <a:off x="2888" y="2225"/>
              <a:ext cx="401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71" name="Freeform 84"/>
            <p:cNvSpPr>
              <a:spLocks/>
            </p:cNvSpPr>
            <p:nvPr/>
          </p:nvSpPr>
          <p:spPr bwMode="auto">
            <a:xfrm>
              <a:off x="3283" y="2225"/>
              <a:ext cx="6" cy="5"/>
            </a:xfrm>
            <a:custGeom>
              <a:avLst/>
              <a:gdLst>
                <a:gd name="T0" fmla="*/ 0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0 h 11"/>
                <a:gd name="T8" fmla="*/ 0 w 11"/>
                <a:gd name="T9" fmla="*/ 0 h 11"/>
                <a:gd name="T10" fmla="*/ 0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11" y="5"/>
                  </a:moveTo>
                  <a:lnTo>
                    <a:pt x="11" y="11"/>
                  </a:lnTo>
                  <a:lnTo>
                    <a:pt x="5" y="11"/>
                  </a:lnTo>
                  <a:lnTo>
                    <a:pt x="5" y="0"/>
                  </a:lnTo>
                  <a:lnTo>
                    <a:pt x="0" y="5"/>
                  </a:lnTo>
                  <a:lnTo>
                    <a:pt x="1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72" name="Freeform 85"/>
            <p:cNvSpPr>
              <a:spLocks/>
            </p:cNvSpPr>
            <p:nvPr/>
          </p:nvSpPr>
          <p:spPr bwMode="auto">
            <a:xfrm>
              <a:off x="2885" y="2114"/>
              <a:ext cx="6" cy="113"/>
            </a:xfrm>
            <a:custGeom>
              <a:avLst/>
              <a:gdLst>
                <a:gd name="T0" fmla="*/ 0 w 13"/>
                <a:gd name="T1" fmla="*/ 0 h 227"/>
                <a:gd name="T2" fmla="*/ 0 w 13"/>
                <a:gd name="T3" fmla="*/ 0 h 227"/>
                <a:gd name="T4" fmla="*/ 0 w 13"/>
                <a:gd name="T5" fmla="*/ 0 h 227"/>
                <a:gd name="T6" fmla="*/ 0 w 13"/>
                <a:gd name="T7" fmla="*/ 0 h 227"/>
                <a:gd name="T8" fmla="*/ 0 w 13"/>
                <a:gd name="T9" fmla="*/ 0 h 2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27">
                  <a:moveTo>
                    <a:pt x="2" y="227"/>
                  </a:moveTo>
                  <a:lnTo>
                    <a:pt x="13" y="227"/>
                  </a:lnTo>
                  <a:lnTo>
                    <a:pt x="11" y="0"/>
                  </a:lnTo>
                  <a:lnTo>
                    <a:pt x="0" y="0"/>
                  </a:lnTo>
                  <a:lnTo>
                    <a:pt x="2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73" name="Freeform 86"/>
            <p:cNvSpPr>
              <a:spLocks/>
            </p:cNvSpPr>
            <p:nvPr/>
          </p:nvSpPr>
          <p:spPr bwMode="auto">
            <a:xfrm>
              <a:off x="2885" y="2225"/>
              <a:ext cx="6" cy="5"/>
            </a:xfrm>
            <a:custGeom>
              <a:avLst/>
              <a:gdLst>
                <a:gd name="T0" fmla="*/ 1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1 w 11"/>
                <a:gd name="T7" fmla="*/ 0 h 11"/>
                <a:gd name="T8" fmla="*/ 1 w 11"/>
                <a:gd name="T9" fmla="*/ 0 h 11"/>
                <a:gd name="T10" fmla="*/ 1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lnTo>
                    <a:pt x="0" y="11"/>
                  </a:lnTo>
                  <a:lnTo>
                    <a:pt x="0" y="5"/>
                  </a:lnTo>
                  <a:lnTo>
                    <a:pt x="11" y="5"/>
                  </a:lnTo>
                  <a:lnTo>
                    <a:pt x="6" y="0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74" name="Rectangle 87"/>
            <p:cNvSpPr>
              <a:spLocks noChangeArrowheads="1"/>
            </p:cNvSpPr>
            <p:nvPr/>
          </p:nvSpPr>
          <p:spPr bwMode="auto">
            <a:xfrm>
              <a:off x="2888" y="2110"/>
              <a:ext cx="95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75" name="Freeform 88"/>
            <p:cNvSpPr>
              <a:spLocks/>
            </p:cNvSpPr>
            <p:nvPr/>
          </p:nvSpPr>
          <p:spPr bwMode="auto">
            <a:xfrm>
              <a:off x="2885" y="2110"/>
              <a:ext cx="6" cy="5"/>
            </a:xfrm>
            <a:custGeom>
              <a:avLst/>
              <a:gdLst>
                <a:gd name="T0" fmla="*/ 0 w 11"/>
                <a:gd name="T1" fmla="*/ 1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1 h 11"/>
                <a:gd name="T8" fmla="*/ 0 w 11"/>
                <a:gd name="T9" fmla="*/ 1 h 11"/>
                <a:gd name="T10" fmla="*/ 0 w 11"/>
                <a:gd name="T11" fmla="*/ 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0" y="4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11"/>
                  </a:lnTo>
                  <a:lnTo>
                    <a:pt x="11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76" name="Freeform 89"/>
            <p:cNvSpPr>
              <a:spLocks/>
            </p:cNvSpPr>
            <p:nvPr/>
          </p:nvSpPr>
          <p:spPr bwMode="auto">
            <a:xfrm>
              <a:off x="2983" y="2110"/>
              <a:ext cx="3" cy="5"/>
            </a:xfrm>
            <a:custGeom>
              <a:avLst/>
              <a:gdLst>
                <a:gd name="T0" fmla="*/ 0 w 11"/>
                <a:gd name="T1" fmla="*/ 1 h 11"/>
                <a:gd name="T2" fmla="*/ 0 w 11"/>
                <a:gd name="T3" fmla="*/ 1 h 11"/>
                <a:gd name="T4" fmla="*/ 0 w 11"/>
                <a:gd name="T5" fmla="*/ 1 h 11"/>
                <a:gd name="T6" fmla="*/ 0 w 11"/>
                <a:gd name="T7" fmla="*/ 1 h 11"/>
                <a:gd name="T8" fmla="*/ 0 w 11"/>
                <a:gd name="T9" fmla="*/ 0 h 11"/>
                <a:gd name="T10" fmla="*/ 0 w 11"/>
                <a:gd name="T11" fmla="*/ 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5" y="11"/>
                  </a:moveTo>
                  <a:lnTo>
                    <a:pt x="11" y="11"/>
                  </a:lnTo>
                  <a:lnTo>
                    <a:pt x="11" y="4"/>
                  </a:lnTo>
                  <a:lnTo>
                    <a:pt x="0" y="4"/>
                  </a:lnTo>
                  <a:lnTo>
                    <a:pt x="5" y="0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77" name="Freeform 90"/>
            <p:cNvSpPr>
              <a:spLocks/>
            </p:cNvSpPr>
            <p:nvPr/>
          </p:nvSpPr>
          <p:spPr bwMode="auto">
            <a:xfrm>
              <a:off x="2927" y="2200"/>
              <a:ext cx="62" cy="64"/>
            </a:xfrm>
            <a:custGeom>
              <a:avLst/>
              <a:gdLst>
                <a:gd name="T0" fmla="*/ 0 w 127"/>
                <a:gd name="T1" fmla="*/ 1 h 127"/>
                <a:gd name="T2" fmla="*/ 0 w 127"/>
                <a:gd name="T3" fmla="*/ 1 h 127"/>
                <a:gd name="T4" fmla="*/ 0 w 127"/>
                <a:gd name="T5" fmla="*/ 1 h 127"/>
                <a:gd name="T6" fmla="*/ 0 w 127"/>
                <a:gd name="T7" fmla="*/ 1 h 127"/>
                <a:gd name="T8" fmla="*/ 0 w 127"/>
                <a:gd name="T9" fmla="*/ 1 h 127"/>
                <a:gd name="T10" fmla="*/ 0 w 127"/>
                <a:gd name="T11" fmla="*/ 1 h 127"/>
                <a:gd name="T12" fmla="*/ 0 w 127"/>
                <a:gd name="T13" fmla="*/ 1 h 127"/>
                <a:gd name="T14" fmla="*/ 0 w 127"/>
                <a:gd name="T15" fmla="*/ 1 h 127"/>
                <a:gd name="T16" fmla="*/ 0 w 127"/>
                <a:gd name="T17" fmla="*/ 1 h 127"/>
                <a:gd name="T18" fmla="*/ 0 w 127"/>
                <a:gd name="T19" fmla="*/ 1 h 127"/>
                <a:gd name="T20" fmla="*/ 0 w 127"/>
                <a:gd name="T21" fmla="*/ 1 h 127"/>
                <a:gd name="T22" fmla="*/ 0 w 127"/>
                <a:gd name="T23" fmla="*/ 1 h 127"/>
                <a:gd name="T24" fmla="*/ 0 w 127"/>
                <a:gd name="T25" fmla="*/ 0 h 127"/>
                <a:gd name="T26" fmla="*/ 0 w 127"/>
                <a:gd name="T27" fmla="*/ 1 h 127"/>
                <a:gd name="T28" fmla="*/ 0 w 127"/>
                <a:gd name="T29" fmla="*/ 1 h 127"/>
                <a:gd name="T30" fmla="*/ 0 w 127"/>
                <a:gd name="T31" fmla="*/ 1 h 127"/>
                <a:gd name="T32" fmla="*/ 0 w 127"/>
                <a:gd name="T33" fmla="*/ 1 h 127"/>
                <a:gd name="T34" fmla="*/ 0 w 127"/>
                <a:gd name="T35" fmla="*/ 1 h 127"/>
                <a:gd name="T36" fmla="*/ 0 w 127"/>
                <a:gd name="T37" fmla="*/ 1 h 127"/>
                <a:gd name="T38" fmla="*/ 0 w 127"/>
                <a:gd name="T39" fmla="*/ 1 h 127"/>
                <a:gd name="T40" fmla="*/ 0 w 127"/>
                <a:gd name="T41" fmla="*/ 1 h 127"/>
                <a:gd name="T42" fmla="*/ 0 w 127"/>
                <a:gd name="T43" fmla="*/ 1 h 127"/>
                <a:gd name="T44" fmla="*/ 0 w 127"/>
                <a:gd name="T45" fmla="*/ 1 h 127"/>
                <a:gd name="T46" fmla="*/ 0 w 127"/>
                <a:gd name="T47" fmla="*/ 1 h 127"/>
                <a:gd name="T48" fmla="*/ 0 w 127"/>
                <a:gd name="T49" fmla="*/ 1 h 127"/>
                <a:gd name="T50" fmla="*/ 0 w 127"/>
                <a:gd name="T51" fmla="*/ 1 h 127"/>
                <a:gd name="T52" fmla="*/ 0 w 127"/>
                <a:gd name="T53" fmla="*/ 1 h 127"/>
                <a:gd name="T54" fmla="*/ 0 w 127"/>
                <a:gd name="T55" fmla="*/ 1 h 127"/>
                <a:gd name="T56" fmla="*/ 0 w 127"/>
                <a:gd name="T57" fmla="*/ 1 h 127"/>
                <a:gd name="T58" fmla="*/ 0 w 127"/>
                <a:gd name="T59" fmla="*/ 1 h 127"/>
                <a:gd name="T60" fmla="*/ 0 w 127"/>
                <a:gd name="T61" fmla="*/ 1 h 127"/>
                <a:gd name="T62" fmla="*/ 0 w 127"/>
                <a:gd name="T63" fmla="*/ 1 h 127"/>
                <a:gd name="T64" fmla="*/ 0 w 127"/>
                <a:gd name="T65" fmla="*/ 1 h 127"/>
                <a:gd name="T66" fmla="*/ 0 w 127"/>
                <a:gd name="T67" fmla="*/ 1 h 127"/>
                <a:gd name="T68" fmla="*/ 0 w 127"/>
                <a:gd name="T69" fmla="*/ 1 h 127"/>
                <a:gd name="T70" fmla="*/ 0 w 127"/>
                <a:gd name="T71" fmla="*/ 1 h 127"/>
                <a:gd name="T72" fmla="*/ 0 w 127"/>
                <a:gd name="T73" fmla="*/ 1 h 127"/>
                <a:gd name="T74" fmla="*/ 0 w 127"/>
                <a:gd name="T75" fmla="*/ 1 h 127"/>
                <a:gd name="T76" fmla="*/ 0 w 127"/>
                <a:gd name="T77" fmla="*/ 1 h 127"/>
                <a:gd name="T78" fmla="*/ 0 w 127"/>
                <a:gd name="T79" fmla="*/ 1 h 127"/>
                <a:gd name="T80" fmla="*/ 0 w 127"/>
                <a:gd name="T81" fmla="*/ 1 h 127"/>
                <a:gd name="T82" fmla="*/ 0 w 127"/>
                <a:gd name="T83" fmla="*/ 1 h 127"/>
                <a:gd name="T84" fmla="*/ 0 w 127"/>
                <a:gd name="T85" fmla="*/ 1 h 127"/>
                <a:gd name="T86" fmla="*/ 0 w 127"/>
                <a:gd name="T87" fmla="*/ 1 h 127"/>
                <a:gd name="T88" fmla="*/ 0 w 127"/>
                <a:gd name="T89" fmla="*/ 1 h 127"/>
                <a:gd name="T90" fmla="*/ 0 w 127"/>
                <a:gd name="T91" fmla="*/ 1 h 127"/>
                <a:gd name="T92" fmla="*/ 0 w 127"/>
                <a:gd name="T93" fmla="*/ 1 h 127"/>
                <a:gd name="T94" fmla="*/ 0 w 127"/>
                <a:gd name="T95" fmla="*/ 1 h 127"/>
                <a:gd name="T96" fmla="*/ 0 w 127"/>
                <a:gd name="T97" fmla="*/ 1 h 127"/>
                <a:gd name="T98" fmla="*/ 0 w 127"/>
                <a:gd name="T99" fmla="*/ 1 h 127"/>
                <a:gd name="T100" fmla="*/ 0 w 127"/>
                <a:gd name="T101" fmla="*/ 1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7" h="127">
                  <a:moveTo>
                    <a:pt x="0" y="65"/>
                  </a:moveTo>
                  <a:lnTo>
                    <a:pt x="0" y="51"/>
                  </a:lnTo>
                  <a:lnTo>
                    <a:pt x="2" y="45"/>
                  </a:lnTo>
                  <a:lnTo>
                    <a:pt x="5" y="39"/>
                  </a:lnTo>
                  <a:lnTo>
                    <a:pt x="8" y="34"/>
                  </a:lnTo>
                  <a:lnTo>
                    <a:pt x="11" y="28"/>
                  </a:lnTo>
                  <a:lnTo>
                    <a:pt x="19" y="19"/>
                  </a:lnTo>
                  <a:lnTo>
                    <a:pt x="23" y="16"/>
                  </a:lnTo>
                  <a:lnTo>
                    <a:pt x="28" y="11"/>
                  </a:lnTo>
                  <a:lnTo>
                    <a:pt x="32" y="8"/>
                  </a:lnTo>
                  <a:lnTo>
                    <a:pt x="39" y="5"/>
                  </a:lnTo>
                  <a:lnTo>
                    <a:pt x="51" y="2"/>
                  </a:lnTo>
                  <a:lnTo>
                    <a:pt x="63" y="0"/>
                  </a:lnTo>
                  <a:lnTo>
                    <a:pt x="75" y="2"/>
                  </a:lnTo>
                  <a:lnTo>
                    <a:pt x="81" y="3"/>
                  </a:lnTo>
                  <a:lnTo>
                    <a:pt x="87" y="5"/>
                  </a:lnTo>
                  <a:lnTo>
                    <a:pt x="94" y="8"/>
                  </a:lnTo>
                  <a:lnTo>
                    <a:pt x="98" y="11"/>
                  </a:lnTo>
                  <a:lnTo>
                    <a:pt x="107" y="19"/>
                  </a:lnTo>
                  <a:lnTo>
                    <a:pt x="112" y="23"/>
                  </a:lnTo>
                  <a:lnTo>
                    <a:pt x="116" y="28"/>
                  </a:lnTo>
                  <a:lnTo>
                    <a:pt x="120" y="34"/>
                  </a:lnTo>
                  <a:lnTo>
                    <a:pt x="121" y="39"/>
                  </a:lnTo>
                  <a:lnTo>
                    <a:pt x="126" y="51"/>
                  </a:lnTo>
                  <a:lnTo>
                    <a:pt x="126" y="57"/>
                  </a:lnTo>
                  <a:lnTo>
                    <a:pt x="127" y="65"/>
                  </a:lnTo>
                  <a:lnTo>
                    <a:pt x="126" y="77"/>
                  </a:lnTo>
                  <a:lnTo>
                    <a:pt x="124" y="83"/>
                  </a:lnTo>
                  <a:lnTo>
                    <a:pt x="121" y="89"/>
                  </a:lnTo>
                  <a:lnTo>
                    <a:pt x="120" y="94"/>
                  </a:lnTo>
                  <a:lnTo>
                    <a:pt x="116" y="100"/>
                  </a:lnTo>
                  <a:lnTo>
                    <a:pt x="107" y="109"/>
                  </a:lnTo>
                  <a:lnTo>
                    <a:pt x="104" y="114"/>
                  </a:lnTo>
                  <a:lnTo>
                    <a:pt x="98" y="117"/>
                  </a:lnTo>
                  <a:lnTo>
                    <a:pt x="94" y="120"/>
                  </a:lnTo>
                  <a:lnTo>
                    <a:pt x="87" y="123"/>
                  </a:lnTo>
                  <a:lnTo>
                    <a:pt x="75" y="126"/>
                  </a:lnTo>
                  <a:lnTo>
                    <a:pt x="63" y="127"/>
                  </a:lnTo>
                  <a:lnTo>
                    <a:pt x="51" y="126"/>
                  </a:lnTo>
                  <a:lnTo>
                    <a:pt x="45" y="124"/>
                  </a:lnTo>
                  <a:lnTo>
                    <a:pt x="39" y="123"/>
                  </a:lnTo>
                  <a:lnTo>
                    <a:pt x="32" y="120"/>
                  </a:lnTo>
                  <a:lnTo>
                    <a:pt x="28" y="117"/>
                  </a:lnTo>
                  <a:lnTo>
                    <a:pt x="19" y="109"/>
                  </a:lnTo>
                  <a:lnTo>
                    <a:pt x="14" y="104"/>
                  </a:lnTo>
                  <a:lnTo>
                    <a:pt x="11" y="100"/>
                  </a:lnTo>
                  <a:lnTo>
                    <a:pt x="8" y="94"/>
                  </a:lnTo>
                  <a:lnTo>
                    <a:pt x="5" y="89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78" name="Freeform 91"/>
            <p:cNvSpPr>
              <a:spLocks/>
            </p:cNvSpPr>
            <p:nvPr/>
          </p:nvSpPr>
          <p:spPr bwMode="auto">
            <a:xfrm>
              <a:off x="2921" y="2196"/>
              <a:ext cx="39" cy="37"/>
            </a:xfrm>
            <a:custGeom>
              <a:avLst/>
              <a:gdLst>
                <a:gd name="T0" fmla="*/ 0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0 w 70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0" h="71">
                  <a:moveTo>
                    <a:pt x="0" y="69"/>
                  </a:moveTo>
                  <a:lnTo>
                    <a:pt x="1" y="55"/>
                  </a:lnTo>
                  <a:lnTo>
                    <a:pt x="3" y="49"/>
                  </a:lnTo>
                  <a:lnTo>
                    <a:pt x="6" y="43"/>
                  </a:lnTo>
                  <a:lnTo>
                    <a:pt x="9" y="37"/>
                  </a:lnTo>
                  <a:lnTo>
                    <a:pt x="12" y="31"/>
                  </a:lnTo>
                  <a:lnTo>
                    <a:pt x="20" y="20"/>
                  </a:lnTo>
                  <a:lnTo>
                    <a:pt x="26" y="16"/>
                  </a:lnTo>
                  <a:lnTo>
                    <a:pt x="30" y="13"/>
                  </a:lnTo>
                  <a:lnTo>
                    <a:pt x="36" y="8"/>
                  </a:lnTo>
                  <a:lnTo>
                    <a:pt x="43" y="5"/>
                  </a:lnTo>
                  <a:lnTo>
                    <a:pt x="56" y="2"/>
                  </a:lnTo>
                  <a:lnTo>
                    <a:pt x="70" y="0"/>
                  </a:lnTo>
                  <a:lnTo>
                    <a:pt x="70" y="14"/>
                  </a:lnTo>
                  <a:lnTo>
                    <a:pt x="58" y="14"/>
                  </a:lnTo>
                  <a:lnTo>
                    <a:pt x="47" y="19"/>
                  </a:lnTo>
                  <a:lnTo>
                    <a:pt x="43" y="20"/>
                  </a:lnTo>
                  <a:lnTo>
                    <a:pt x="38" y="23"/>
                  </a:lnTo>
                  <a:lnTo>
                    <a:pt x="33" y="26"/>
                  </a:lnTo>
                  <a:lnTo>
                    <a:pt x="30" y="29"/>
                  </a:lnTo>
                  <a:lnTo>
                    <a:pt x="23" y="39"/>
                  </a:lnTo>
                  <a:lnTo>
                    <a:pt x="20" y="43"/>
                  </a:lnTo>
                  <a:lnTo>
                    <a:pt x="18" y="48"/>
                  </a:lnTo>
                  <a:lnTo>
                    <a:pt x="15" y="54"/>
                  </a:lnTo>
                  <a:lnTo>
                    <a:pt x="15" y="58"/>
                  </a:lnTo>
                  <a:lnTo>
                    <a:pt x="13" y="71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79" name="Freeform 92"/>
            <p:cNvSpPr>
              <a:spLocks/>
            </p:cNvSpPr>
            <p:nvPr/>
          </p:nvSpPr>
          <p:spPr bwMode="auto">
            <a:xfrm>
              <a:off x="2959" y="2196"/>
              <a:ext cx="36" cy="37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w 70"/>
                <a:gd name="T55" fmla="*/ 0 h 71"/>
                <a:gd name="T56" fmla="*/ 1 w 70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0" h="71">
                  <a:moveTo>
                    <a:pt x="2" y="0"/>
                  </a:moveTo>
                  <a:lnTo>
                    <a:pt x="14" y="2"/>
                  </a:lnTo>
                  <a:lnTo>
                    <a:pt x="21" y="3"/>
                  </a:lnTo>
                  <a:lnTo>
                    <a:pt x="27" y="5"/>
                  </a:lnTo>
                  <a:lnTo>
                    <a:pt x="34" y="8"/>
                  </a:lnTo>
                  <a:lnTo>
                    <a:pt x="40" y="13"/>
                  </a:lnTo>
                  <a:lnTo>
                    <a:pt x="49" y="20"/>
                  </a:lnTo>
                  <a:lnTo>
                    <a:pt x="53" y="25"/>
                  </a:lnTo>
                  <a:lnTo>
                    <a:pt x="58" y="31"/>
                  </a:lnTo>
                  <a:lnTo>
                    <a:pt x="61" y="37"/>
                  </a:lnTo>
                  <a:lnTo>
                    <a:pt x="64" y="43"/>
                  </a:lnTo>
                  <a:lnTo>
                    <a:pt x="69" y="55"/>
                  </a:lnTo>
                  <a:lnTo>
                    <a:pt x="70" y="63"/>
                  </a:lnTo>
                  <a:lnTo>
                    <a:pt x="70" y="69"/>
                  </a:lnTo>
                  <a:lnTo>
                    <a:pt x="57" y="71"/>
                  </a:lnTo>
                  <a:lnTo>
                    <a:pt x="57" y="65"/>
                  </a:lnTo>
                  <a:lnTo>
                    <a:pt x="57" y="58"/>
                  </a:lnTo>
                  <a:lnTo>
                    <a:pt x="52" y="48"/>
                  </a:lnTo>
                  <a:lnTo>
                    <a:pt x="50" y="43"/>
                  </a:lnTo>
                  <a:lnTo>
                    <a:pt x="47" y="39"/>
                  </a:lnTo>
                  <a:lnTo>
                    <a:pt x="44" y="34"/>
                  </a:lnTo>
                  <a:lnTo>
                    <a:pt x="40" y="29"/>
                  </a:lnTo>
                  <a:lnTo>
                    <a:pt x="32" y="23"/>
                  </a:lnTo>
                  <a:lnTo>
                    <a:pt x="27" y="20"/>
                  </a:lnTo>
                  <a:lnTo>
                    <a:pt x="21" y="17"/>
                  </a:lnTo>
                  <a:lnTo>
                    <a:pt x="17" y="16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80" name="Freeform 93"/>
            <p:cNvSpPr>
              <a:spLocks/>
            </p:cNvSpPr>
            <p:nvPr/>
          </p:nvSpPr>
          <p:spPr bwMode="auto">
            <a:xfrm>
              <a:off x="2959" y="2196"/>
              <a:ext cx="0" cy="8"/>
            </a:xfrm>
            <a:custGeom>
              <a:avLst/>
              <a:gdLst>
                <a:gd name="T0" fmla="*/ 0 w 2"/>
                <a:gd name="T1" fmla="*/ 0 h 14"/>
                <a:gd name="T2" fmla="*/ 1 w 2"/>
                <a:gd name="T3" fmla="*/ 0 h 14"/>
                <a:gd name="T4" fmla="*/ 0 w 2"/>
                <a:gd name="T5" fmla="*/ 1 h 14"/>
                <a:gd name="T6" fmla="*/ 0 w 2"/>
                <a:gd name="T7" fmla="*/ 0 h 1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14">
                  <a:moveTo>
                    <a:pt x="0" y="0"/>
                  </a:moveTo>
                  <a:lnTo>
                    <a:pt x="2" y="0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81" name="Freeform 94"/>
            <p:cNvSpPr>
              <a:spLocks/>
            </p:cNvSpPr>
            <p:nvPr/>
          </p:nvSpPr>
          <p:spPr bwMode="auto">
            <a:xfrm>
              <a:off x="2956" y="2233"/>
              <a:ext cx="36" cy="34"/>
            </a:xfrm>
            <a:custGeom>
              <a:avLst/>
              <a:gdLst>
                <a:gd name="T0" fmla="*/ 1 w 72"/>
                <a:gd name="T1" fmla="*/ 0 h 71"/>
                <a:gd name="T2" fmla="*/ 1 w 72"/>
                <a:gd name="T3" fmla="*/ 0 h 71"/>
                <a:gd name="T4" fmla="*/ 1 w 72"/>
                <a:gd name="T5" fmla="*/ 0 h 71"/>
                <a:gd name="T6" fmla="*/ 1 w 72"/>
                <a:gd name="T7" fmla="*/ 0 h 71"/>
                <a:gd name="T8" fmla="*/ 1 w 72"/>
                <a:gd name="T9" fmla="*/ 0 h 71"/>
                <a:gd name="T10" fmla="*/ 1 w 72"/>
                <a:gd name="T11" fmla="*/ 0 h 71"/>
                <a:gd name="T12" fmla="*/ 1 w 72"/>
                <a:gd name="T13" fmla="*/ 0 h 71"/>
                <a:gd name="T14" fmla="*/ 1 w 72"/>
                <a:gd name="T15" fmla="*/ 0 h 71"/>
                <a:gd name="T16" fmla="*/ 1 w 72"/>
                <a:gd name="T17" fmla="*/ 0 h 71"/>
                <a:gd name="T18" fmla="*/ 1 w 72"/>
                <a:gd name="T19" fmla="*/ 0 h 71"/>
                <a:gd name="T20" fmla="*/ 1 w 72"/>
                <a:gd name="T21" fmla="*/ 0 h 71"/>
                <a:gd name="T22" fmla="*/ 1 w 72"/>
                <a:gd name="T23" fmla="*/ 0 h 71"/>
                <a:gd name="T24" fmla="*/ 1 w 72"/>
                <a:gd name="T25" fmla="*/ 0 h 71"/>
                <a:gd name="T26" fmla="*/ 0 w 72"/>
                <a:gd name="T27" fmla="*/ 0 h 71"/>
                <a:gd name="T28" fmla="*/ 1 w 72"/>
                <a:gd name="T29" fmla="*/ 0 h 71"/>
                <a:gd name="T30" fmla="*/ 1 w 72"/>
                <a:gd name="T31" fmla="*/ 0 h 71"/>
                <a:gd name="T32" fmla="*/ 1 w 72"/>
                <a:gd name="T33" fmla="*/ 0 h 71"/>
                <a:gd name="T34" fmla="*/ 1 w 72"/>
                <a:gd name="T35" fmla="*/ 0 h 71"/>
                <a:gd name="T36" fmla="*/ 1 w 72"/>
                <a:gd name="T37" fmla="*/ 0 h 71"/>
                <a:gd name="T38" fmla="*/ 1 w 72"/>
                <a:gd name="T39" fmla="*/ 0 h 71"/>
                <a:gd name="T40" fmla="*/ 1 w 72"/>
                <a:gd name="T41" fmla="*/ 0 h 71"/>
                <a:gd name="T42" fmla="*/ 1 w 72"/>
                <a:gd name="T43" fmla="*/ 0 h 71"/>
                <a:gd name="T44" fmla="*/ 1 w 72"/>
                <a:gd name="T45" fmla="*/ 0 h 71"/>
                <a:gd name="T46" fmla="*/ 1 w 72"/>
                <a:gd name="T47" fmla="*/ 0 h 71"/>
                <a:gd name="T48" fmla="*/ 1 w 72"/>
                <a:gd name="T49" fmla="*/ 0 h 71"/>
                <a:gd name="T50" fmla="*/ 1 w 72"/>
                <a:gd name="T51" fmla="*/ 0 h 71"/>
                <a:gd name="T52" fmla="*/ 1 w 72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2" h="71">
                  <a:moveTo>
                    <a:pt x="72" y="2"/>
                  </a:moveTo>
                  <a:lnTo>
                    <a:pt x="71" y="14"/>
                  </a:lnTo>
                  <a:lnTo>
                    <a:pt x="69" y="22"/>
                  </a:lnTo>
                  <a:lnTo>
                    <a:pt x="66" y="28"/>
                  </a:lnTo>
                  <a:lnTo>
                    <a:pt x="63" y="34"/>
                  </a:lnTo>
                  <a:lnTo>
                    <a:pt x="60" y="41"/>
                  </a:lnTo>
                  <a:lnTo>
                    <a:pt x="52" y="51"/>
                  </a:lnTo>
                  <a:lnTo>
                    <a:pt x="46" y="55"/>
                  </a:lnTo>
                  <a:lnTo>
                    <a:pt x="42" y="60"/>
                  </a:lnTo>
                  <a:lnTo>
                    <a:pt x="36" y="63"/>
                  </a:lnTo>
                  <a:lnTo>
                    <a:pt x="29" y="66"/>
                  </a:lnTo>
                  <a:lnTo>
                    <a:pt x="16" y="71"/>
                  </a:lnTo>
                  <a:lnTo>
                    <a:pt x="4" y="71"/>
                  </a:lnTo>
                  <a:lnTo>
                    <a:pt x="0" y="58"/>
                  </a:lnTo>
                  <a:lnTo>
                    <a:pt x="13" y="57"/>
                  </a:lnTo>
                  <a:lnTo>
                    <a:pt x="23" y="54"/>
                  </a:lnTo>
                  <a:lnTo>
                    <a:pt x="29" y="51"/>
                  </a:lnTo>
                  <a:lnTo>
                    <a:pt x="34" y="49"/>
                  </a:lnTo>
                  <a:lnTo>
                    <a:pt x="39" y="45"/>
                  </a:lnTo>
                  <a:lnTo>
                    <a:pt x="42" y="41"/>
                  </a:lnTo>
                  <a:lnTo>
                    <a:pt x="49" y="32"/>
                  </a:lnTo>
                  <a:lnTo>
                    <a:pt x="52" y="28"/>
                  </a:lnTo>
                  <a:lnTo>
                    <a:pt x="54" y="23"/>
                  </a:lnTo>
                  <a:lnTo>
                    <a:pt x="57" y="19"/>
                  </a:lnTo>
                  <a:lnTo>
                    <a:pt x="57" y="12"/>
                  </a:lnTo>
                  <a:lnTo>
                    <a:pt x="59" y="0"/>
                  </a:lnTo>
                  <a:lnTo>
                    <a:pt x="72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82" name="Freeform 95"/>
            <p:cNvSpPr>
              <a:spLocks/>
            </p:cNvSpPr>
            <p:nvPr/>
          </p:nvSpPr>
          <p:spPr bwMode="auto">
            <a:xfrm>
              <a:off x="2986" y="2233"/>
              <a:ext cx="9" cy="0"/>
            </a:xfrm>
            <a:custGeom>
              <a:avLst/>
              <a:gdLst>
                <a:gd name="T0" fmla="*/ 1 w 13"/>
                <a:gd name="T1" fmla="*/ 0 h 2"/>
                <a:gd name="T2" fmla="*/ 1 w 13"/>
                <a:gd name="T3" fmla="*/ 1 h 2"/>
                <a:gd name="T4" fmla="*/ 0 w 13"/>
                <a:gd name="T5" fmla="*/ 0 h 2"/>
                <a:gd name="T6" fmla="*/ 0 w 13"/>
                <a:gd name="T7" fmla="*/ 1 h 2"/>
                <a:gd name="T8" fmla="*/ 1 w 1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13" y="0"/>
                  </a:moveTo>
                  <a:lnTo>
                    <a:pt x="1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83" name="Freeform 96"/>
            <p:cNvSpPr>
              <a:spLocks/>
            </p:cNvSpPr>
            <p:nvPr/>
          </p:nvSpPr>
          <p:spPr bwMode="auto">
            <a:xfrm>
              <a:off x="2921" y="2233"/>
              <a:ext cx="39" cy="34"/>
            </a:xfrm>
            <a:custGeom>
              <a:avLst/>
              <a:gdLst>
                <a:gd name="T0" fmla="*/ 1 w 72"/>
                <a:gd name="T1" fmla="*/ 0 h 71"/>
                <a:gd name="T2" fmla="*/ 1 w 72"/>
                <a:gd name="T3" fmla="*/ 0 h 71"/>
                <a:gd name="T4" fmla="*/ 1 w 72"/>
                <a:gd name="T5" fmla="*/ 0 h 71"/>
                <a:gd name="T6" fmla="*/ 1 w 72"/>
                <a:gd name="T7" fmla="*/ 0 h 71"/>
                <a:gd name="T8" fmla="*/ 1 w 72"/>
                <a:gd name="T9" fmla="*/ 0 h 71"/>
                <a:gd name="T10" fmla="*/ 1 w 72"/>
                <a:gd name="T11" fmla="*/ 0 h 71"/>
                <a:gd name="T12" fmla="*/ 1 w 72"/>
                <a:gd name="T13" fmla="*/ 0 h 71"/>
                <a:gd name="T14" fmla="*/ 1 w 72"/>
                <a:gd name="T15" fmla="*/ 0 h 71"/>
                <a:gd name="T16" fmla="*/ 1 w 72"/>
                <a:gd name="T17" fmla="*/ 0 h 71"/>
                <a:gd name="T18" fmla="*/ 1 w 72"/>
                <a:gd name="T19" fmla="*/ 0 h 71"/>
                <a:gd name="T20" fmla="*/ 1 w 72"/>
                <a:gd name="T21" fmla="*/ 0 h 71"/>
                <a:gd name="T22" fmla="*/ 1 w 72"/>
                <a:gd name="T23" fmla="*/ 0 h 71"/>
                <a:gd name="T24" fmla="*/ 0 w 72"/>
                <a:gd name="T25" fmla="*/ 0 h 71"/>
                <a:gd name="T26" fmla="*/ 0 w 72"/>
                <a:gd name="T27" fmla="*/ 0 h 71"/>
                <a:gd name="T28" fmla="*/ 1 w 72"/>
                <a:gd name="T29" fmla="*/ 0 h 71"/>
                <a:gd name="T30" fmla="*/ 1 w 72"/>
                <a:gd name="T31" fmla="*/ 0 h 71"/>
                <a:gd name="T32" fmla="*/ 1 w 72"/>
                <a:gd name="T33" fmla="*/ 0 h 71"/>
                <a:gd name="T34" fmla="*/ 1 w 72"/>
                <a:gd name="T35" fmla="*/ 0 h 71"/>
                <a:gd name="T36" fmla="*/ 1 w 72"/>
                <a:gd name="T37" fmla="*/ 0 h 71"/>
                <a:gd name="T38" fmla="*/ 1 w 72"/>
                <a:gd name="T39" fmla="*/ 0 h 71"/>
                <a:gd name="T40" fmla="*/ 1 w 72"/>
                <a:gd name="T41" fmla="*/ 0 h 71"/>
                <a:gd name="T42" fmla="*/ 1 w 72"/>
                <a:gd name="T43" fmla="*/ 0 h 71"/>
                <a:gd name="T44" fmla="*/ 1 w 72"/>
                <a:gd name="T45" fmla="*/ 0 h 71"/>
                <a:gd name="T46" fmla="*/ 1 w 72"/>
                <a:gd name="T47" fmla="*/ 0 h 71"/>
                <a:gd name="T48" fmla="*/ 1 w 72"/>
                <a:gd name="T49" fmla="*/ 0 h 71"/>
                <a:gd name="T50" fmla="*/ 1 w 72"/>
                <a:gd name="T51" fmla="*/ 0 h 71"/>
                <a:gd name="T52" fmla="*/ 1 w 72"/>
                <a:gd name="T53" fmla="*/ 0 h 71"/>
                <a:gd name="T54" fmla="*/ 1 w 72"/>
                <a:gd name="T55" fmla="*/ 0 h 71"/>
                <a:gd name="T56" fmla="*/ 1 w 72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2" h="71">
                  <a:moveTo>
                    <a:pt x="70" y="71"/>
                  </a:moveTo>
                  <a:lnTo>
                    <a:pt x="56" y="71"/>
                  </a:lnTo>
                  <a:lnTo>
                    <a:pt x="49" y="69"/>
                  </a:lnTo>
                  <a:lnTo>
                    <a:pt x="43" y="66"/>
                  </a:lnTo>
                  <a:lnTo>
                    <a:pt x="36" y="63"/>
                  </a:lnTo>
                  <a:lnTo>
                    <a:pt x="30" y="60"/>
                  </a:lnTo>
                  <a:lnTo>
                    <a:pt x="21" y="51"/>
                  </a:lnTo>
                  <a:lnTo>
                    <a:pt x="17" y="46"/>
                  </a:lnTo>
                  <a:lnTo>
                    <a:pt x="12" y="40"/>
                  </a:lnTo>
                  <a:lnTo>
                    <a:pt x="9" y="35"/>
                  </a:lnTo>
                  <a:lnTo>
                    <a:pt x="6" y="28"/>
                  </a:lnTo>
                  <a:lnTo>
                    <a:pt x="1" y="15"/>
                  </a:lnTo>
                  <a:lnTo>
                    <a:pt x="0" y="8"/>
                  </a:lnTo>
                  <a:lnTo>
                    <a:pt x="0" y="2"/>
                  </a:lnTo>
                  <a:lnTo>
                    <a:pt x="13" y="0"/>
                  </a:lnTo>
                  <a:lnTo>
                    <a:pt x="13" y="6"/>
                  </a:lnTo>
                  <a:lnTo>
                    <a:pt x="13" y="12"/>
                  </a:lnTo>
                  <a:lnTo>
                    <a:pt x="18" y="23"/>
                  </a:lnTo>
                  <a:lnTo>
                    <a:pt x="20" y="28"/>
                  </a:lnTo>
                  <a:lnTo>
                    <a:pt x="23" y="32"/>
                  </a:lnTo>
                  <a:lnTo>
                    <a:pt x="26" y="37"/>
                  </a:lnTo>
                  <a:lnTo>
                    <a:pt x="30" y="41"/>
                  </a:lnTo>
                  <a:lnTo>
                    <a:pt x="38" y="49"/>
                  </a:lnTo>
                  <a:lnTo>
                    <a:pt x="43" y="51"/>
                  </a:lnTo>
                  <a:lnTo>
                    <a:pt x="49" y="54"/>
                  </a:lnTo>
                  <a:lnTo>
                    <a:pt x="53" y="55"/>
                  </a:lnTo>
                  <a:lnTo>
                    <a:pt x="58" y="57"/>
                  </a:lnTo>
                  <a:lnTo>
                    <a:pt x="72" y="58"/>
                  </a:lnTo>
                  <a:lnTo>
                    <a:pt x="70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84" name="Freeform 97"/>
            <p:cNvSpPr>
              <a:spLocks/>
            </p:cNvSpPr>
            <p:nvPr/>
          </p:nvSpPr>
          <p:spPr bwMode="auto">
            <a:xfrm>
              <a:off x="2956" y="2260"/>
              <a:ext cx="3" cy="7"/>
            </a:xfrm>
            <a:custGeom>
              <a:avLst/>
              <a:gdLst>
                <a:gd name="T0" fmla="*/ 1 w 4"/>
                <a:gd name="T1" fmla="*/ 0 h 13"/>
                <a:gd name="T2" fmla="*/ 1 w 4"/>
                <a:gd name="T3" fmla="*/ 0 h 13"/>
                <a:gd name="T4" fmla="*/ 1 w 4"/>
                <a:gd name="T5" fmla="*/ 0 h 13"/>
                <a:gd name="T6" fmla="*/ 0 w 4"/>
                <a:gd name="T7" fmla="*/ 0 h 13"/>
                <a:gd name="T8" fmla="*/ 1 w 4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" h="13">
                  <a:moveTo>
                    <a:pt x="4" y="13"/>
                  </a:moveTo>
                  <a:lnTo>
                    <a:pt x="2" y="13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85" name="Freeform 98"/>
            <p:cNvSpPr>
              <a:spLocks/>
            </p:cNvSpPr>
            <p:nvPr/>
          </p:nvSpPr>
          <p:spPr bwMode="auto">
            <a:xfrm>
              <a:off x="2921" y="2233"/>
              <a:ext cx="9" cy="0"/>
            </a:xfrm>
            <a:custGeom>
              <a:avLst/>
              <a:gdLst>
                <a:gd name="T0" fmla="*/ 0 w 13"/>
                <a:gd name="T1" fmla="*/ 1 h 2"/>
                <a:gd name="T2" fmla="*/ 0 w 13"/>
                <a:gd name="T3" fmla="*/ 0 h 2"/>
                <a:gd name="T4" fmla="*/ 1 w 13"/>
                <a:gd name="T5" fmla="*/ 1 h 2"/>
                <a:gd name="T6" fmla="*/ 1 w 13"/>
                <a:gd name="T7" fmla="*/ 0 h 2"/>
                <a:gd name="T8" fmla="*/ 0 w 13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0" y="2"/>
                  </a:moveTo>
                  <a:lnTo>
                    <a:pt x="0" y="0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86" name="Freeform 99"/>
            <p:cNvSpPr>
              <a:spLocks/>
            </p:cNvSpPr>
            <p:nvPr/>
          </p:nvSpPr>
          <p:spPr bwMode="auto">
            <a:xfrm>
              <a:off x="3197" y="2200"/>
              <a:ext cx="62" cy="64"/>
            </a:xfrm>
            <a:custGeom>
              <a:avLst/>
              <a:gdLst>
                <a:gd name="T0" fmla="*/ 0 w 126"/>
                <a:gd name="T1" fmla="*/ 1 h 127"/>
                <a:gd name="T2" fmla="*/ 1 w 126"/>
                <a:gd name="T3" fmla="*/ 1 h 127"/>
                <a:gd name="T4" fmla="*/ 1 w 126"/>
                <a:gd name="T5" fmla="*/ 1 h 127"/>
                <a:gd name="T6" fmla="*/ 1 w 126"/>
                <a:gd name="T7" fmla="*/ 1 h 127"/>
                <a:gd name="T8" fmla="*/ 1 w 126"/>
                <a:gd name="T9" fmla="*/ 1 h 127"/>
                <a:gd name="T10" fmla="*/ 1 w 126"/>
                <a:gd name="T11" fmla="*/ 1 h 127"/>
                <a:gd name="T12" fmla="*/ 1 w 126"/>
                <a:gd name="T13" fmla="*/ 1 h 127"/>
                <a:gd name="T14" fmla="*/ 1 w 126"/>
                <a:gd name="T15" fmla="*/ 1 h 127"/>
                <a:gd name="T16" fmla="*/ 1 w 126"/>
                <a:gd name="T17" fmla="*/ 1 h 127"/>
                <a:gd name="T18" fmla="*/ 1 w 126"/>
                <a:gd name="T19" fmla="*/ 1 h 127"/>
                <a:gd name="T20" fmla="*/ 1 w 126"/>
                <a:gd name="T21" fmla="*/ 1 h 127"/>
                <a:gd name="T22" fmla="*/ 1 w 126"/>
                <a:gd name="T23" fmla="*/ 1 h 127"/>
                <a:gd name="T24" fmla="*/ 1 w 126"/>
                <a:gd name="T25" fmla="*/ 0 h 127"/>
                <a:gd name="T26" fmla="*/ 1 w 126"/>
                <a:gd name="T27" fmla="*/ 1 h 127"/>
                <a:gd name="T28" fmla="*/ 1 w 126"/>
                <a:gd name="T29" fmla="*/ 1 h 127"/>
                <a:gd name="T30" fmla="*/ 1 w 126"/>
                <a:gd name="T31" fmla="*/ 1 h 127"/>
                <a:gd name="T32" fmla="*/ 1 w 126"/>
                <a:gd name="T33" fmla="*/ 1 h 127"/>
                <a:gd name="T34" fmla="*/ 1 w 126"/>
                <a:gd name="T35" fmla="*/ 1 h 127"/>
                <a:gd name="T36" fmla="*/ 1 w 126"/>
                <a:gd name="T37" fmla="*/ 1 h 127"/>
                <a:gd name="T38" fmla="*/ 1 w 126"/>
                <a:gd name="T39" fmla="*/ 1 h 127"/>
                <a:gd name="T40" fmla="*/ 1 w 126"/>
                <a:gd name="T41" fmla="*/ 1 h 127"/>
                <a:gd name="T42" fmla="*/ 1 w 126"/>
                <a:gd name="T43" fmla="*/ 1 h 127"/>
                <a:gd name="T44" fmla="*/ 1 w 126"/>
                <a:gd name="T45" fmla="*/ 1 h 127"/>
                <a:gd name="T46" fmla="*/ 1 w 126"/>
                <a:gd name="T47" fmla="*/ 1 h 127"/>
                <a:gd name="T48" fmla="*/ 1 w 126"/>
                <a:gd name="T49" fmla="*/ 1 h 127"/>
                <a:gd name="T50" fmla="*/ 1 w 126"/>
                <a:gd name="T51" fmla="*/ 1 h 127"/>
                <a:gd name="T52" fmla="*/ 1 w 126"/>
                <a:gd name="T53" fmla="*/ 1 h 127"/>
                <a:gd name="T54" fmla="*/ 1 w 126"/>
                <a:gd name="T55" fmla="*/ 1 h 127"/>
                <a:gd name="T56" fmla="*/ 1 w 126"/>
                <a:gd name="T57" fmla="*/ 1 h 127"/>
                <a:gd name="T58" fmla="*/ 1 w 126"/>
                <a:gd name="T59" fmla="*/ 1 h 127"/>
                <a:gd name="T60" fmla="*/ 1 w 126"/>
                <a:gd name="T61" fmla="*/ 1 h 127"/>
                <a:gd name="T62" fmla="*/ 1 w 126"/>
                <a:gd name="T63" fmla="*/ 1 h 127"/>
                <a:gd name="T64" fmla="*/ 1 w 126"/>
                <a:gd name="T65" fmla="*/ 1 h 127"/>
                <a:gd name="T66" fmla="*/ 1 w 126"/>
                <a:gd name="T67" fmla="*/ 1 h 127"/>
                <a:gd name="T68" fmla="*/ 1 w 126"/>
                <a:gd name="T69" fmla="*/ 1 h 127"/>
                <a:gd name="T70" fmla="*/ 1 w 126"/>
                <a:gd name="T71" fmla="*/ 1 h 127"/>
                <a:gd name="T72" fmla="*/ 1 w 126"/>
                <a:gd name="T73" fmla="*/ 1 h 127"/>
                <a:gd name="T74" fmla="*/ 1 w 126"/>
                <a:gd name="T75" fmla="*/ 1 h 127"/>
                <a:gd name="T76" fmla="*/ 1 w 126"/>
                <a:gd name="T77" fmla="*/ 1 h 127"/>
                <a:gd name="T78" fmla="*/ 1 w 126"/>
                <a:gd name="T79" fmla="*/ 1 h 127"/>
                <a:gd name="T80" fmla="*/ 1 w 126"/>
                <a:gd name="T81" fmla="*/ 1 h 127"/>
                <a:gd name="T82" fmla="*/ 1 w 126"/>
                <a:gd name="T83" fmla="*/ 1 h 127"/>
                <a:gd name="T84" fmla="*/ 1 w 126"/>
                <a:gd name="T85" fmla="*/ 1 h 127"/>
                <a:gd name="T86" fmla="*/ 1 w 126"/>
                <a:gd name="T87" fmla="*/ 1 h 127"/>
                <a:gd name="T88" fmla="*/ 1 w 126"/>
                <a:gd name="T89" fmla="*/ 1 h 127"/>
                <a:gd name="T90" fmla="*/ 1 w 126"/>
                <a:gd name="T91" fmla="*/ 1 h 127"/>
                <a:gd name="T92" fmla="*/ 1 w 126"/>
                <a:gd name="T93" fmla="*/ 1 h 127"/>
                <a:gd name="T94" fmla="*/ 1 w 126"/>
                <a:gd name="T95" fmla="*/ 1 h 127"/>
                <a:gd name="T96" fmla="*/ 1 w 126"/>
                <a:gd name="T97" fmla="*/ 1 h 127"/>
                <a:gd name="T98" fmla="*/ 0 w 126"/>
                <a:gd name="T99" fmla="*/ 1 h 127"/>
                <a:gd name="T100" fmla="*/ 0 w 126"/>
                <a:gd name="T101" fmla="*/ 1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6" h="127">
                  <a:moveTo>
                    <a:pt x="0" y="65"/>
                  </a:moveTo>
                  <a:lnTo>
                    <a:pt x="1" y="51"/>
                  </a:lnTo>
                  <a:lnTo>
                    <a:pt x="3" y="45"/>
                  </a:lnTo>
                  <a:lnTo>
                    <a:pt x="4" y="39"/>
                  </a:lnTo>
                  <a:lnTo>
                    <a:pt x="7" y="34"/>
                  </a:lnTo>
                  <a:lnTo>
                    <a:pt x="10" y="28"/>
                  </a:lnTo>
                  <a:lnTo>
                    <a:pt x="18" y="19"/>
                  </a:lnTo>
                  <a:lnTo>
                    <a:pt x="22" y="16"/>
                  </a:lnTo>
                  <a:lnTo>
                    <a:pt x="27" y="11"/>
                  </a:lnTo>
                  <a:lnTo>
                    <a:pt x="33" y="8"/>
                  </a:lnTo>
                  <a:lnTo>
                    <a:pt x="38" y="5"/>
                  </a:lnTo>
                  <a:lnTo>
                    <a:pt x="50" y="2"/>
                  </a:lnTo>
                  <a:lnTo>
                    <a:pt x="64" y="0"/>
                  </a:lnTo>
                  <a:lnTo>
                    <a:pt x="76" y="2"/>
                  </a:lnTo>
                  <a:lnTo>
                    <a:pt x="82" y="3"/>
                  </a:lnTo>
                  <a:lnTo>
                    <a:pt x="88" y="5"/>
                  </a:lnTo>
                  <a:lnTo>
                    <a:pt x="93" y="8"/>
                  </a:lnTo>
                  <a:lnTo>
                    <a:pt x="99" y="11"/>
                  </a:lnTo>
                  <a:lnTo>
                    <a:pt x="108" y="19"/>
                  </a:lnTo>
                  <a:lnTo>
                    <a:pt x="113" y="23"/>
                  </a:lnTo>
                  <a:lnTo>
                    <a:pt x="116" y="28"/>
                  </a:lnTo>
                  <a:lnTo>
                    <a:pt x="119" y="34"/>
                  </a:lnTo>
                  <a:lnTo>
                    <a:pt x="122" y="39"/>
                  </a:lnTo>
                  <a:lnTo>
                    <a:pt x="125" y="51"/>
                  </a:lnTo>
                  <a:lnTo>
                    <a:pt x="126" y="57"/>
                  </a:lnTo>
                  <a:lnTo>
                    <a:pt x="126" y="65"/>
                  </a:lnTo>
                  <a:lnTo>
                    <a:pt x="125" y="77"/>
                  </a:lnTo>
                  <a:lnTo>
                    <a:pt x="123" y="83"/>
                  </a:lnTo>
                  <a:lnTo>
                    <a:pt x="122" y="89"/>
                  </a:lnTo>
                  <a:lnTo>
                    <a:pt x="119" y="94"/>
                  </a:lnTo>
                  <a:lnTo>
                    <a:pt x="116" y="100"/>
                  </a:lnTo>
                  <a:lnTo>
                    <a:pt x="108" y="109"/>
                  </a:lnTo>
                  <a:lnTo>
                    <a:pt x="103" y="114"/>
                  </a:lnTo>
                  <a:lnTo>
                    <a:pt x="99" y="117"/>
                  </a:lnTo>
                  <a:lnTo>
                    <a:pt x="93" y="120"/>
                  </a:lnTo>
                  <a:lnTo>
                    <a:pt x="88" y="123"/>
                  </a:lnTo>
                  <a:lnTo>
                    <a:pt x="76" y="126"/>
                  </a:lnTo>
                  <a:lnTo>
                    <a:pt x="64" y="127"/>
                  </a:lnTo>
                  <a:lnTo>
                    <a:pt x="50" y="126"/>
                  </a:lnTo>
                  <a:lnTo>
                    <a:pt x="44" y="124"/>
                  </a:lnTo>
                  <a:lnTo>
                    <a:pt x="38" y="123"/>
                  </a:lnTo>
                  <a:lnTo>
                    <a:pt x="33" y="120"/>
                  </a:lnTo>
                  <a:lnTo>
                    <a:pt x="27" y="117"/>
                  </a:lnTo>
                  <a:lnTo>
                    <a:pt x="18" y="109"/>
                  </a:lnTo>
                  <a:lnTo>
                    <a:pt x="15" y="104"/>
                  </a:lnTo>
                  <a:lnTo>
                    <a:pt x="10" y="100"/>
                  </a:lnTo>
                  <a:lnTo>
                    <a:pt x="7" y="94"/>
                  </a:lnTo>
                  <a:lnTo>
                    <a:pt x="4" y="89"/>
                  </a:lnTo>
                  <a:lnTo>
                    <a:pt x="1" y="77"/>
                  </a:lnTo>
                  <a:lnTo>
                    <a:pt x="0" y="71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87" name="Freeform 100"/>
            <p:cNvSpPr>
              <a:spLocks/>
            </p:cNvSpPr>
            <p:nvPr/>
          </p:nvSpPr>
          <p:spPr bwMode="auto">
            <a:xfrm>
              <a:off x="3194" y="2196"/>
              <a:ext cx="33" cy="37"/>
            </a:xfrm>
            <a:custGeom>
              <a:avLst/>
              <a:gdLst>
                <a:gd name="T0" fmla="*/ 0 w 71"/>
                <a:gd name="T1" fmla="*/ 0 h 71"/>
                <a:gd name="T2" fmla="*/ 0 w 71"/>
                <a:gd name="T3" fmla="*/ 0 h 71"/>
                <a:gd name="T4" fmla="*/ 0 w 71"/>
                <a:gd name="T5" fmla="*/ 0 h 71"/>
                <a:gd name="T6" fmla="*/ 0 w 71"/>
                <a:gd name="T7" fmla="*/ 0 h 71"/>
                <a:gd name="T8" fmla="*/ 0 w 71"/>
                <a:gd name="T9" fmla="*/ 0 h 71"/>
                <a:gd name="T10" fmla="*/ 0 w 71"/>
                <a:gd name="T11" fmla="*/ 0 h 71"/>
                <a:gd name="T12" fmla="*/ 0 w 71"/>
                <a:gd name="T13" fmla="*/ 0 h 71"/>
                <a:gd name="T14" fmla="*/ 0 w 71"/>
                <a:gd name="T15" fmla="*/ 0 h 71"/>
                <a:gd name="T16" fmla="*/ 0 w 71"/>
                <a:gd name="T17" fmla="*/ 0 h 71"/>
                <a:gd name="T18" fmla="*/ 0 w 71"/>
                <a:gd name="T19" fmla="*/ 0 h 71"/>
                <a:gd name="T20" fmla="*/ 0 w 71"/>
                <a:gd name="T21" fmla="*/ 0 h 71"/>
                <a:gd name="T22" fmla="*/ 0 w 71"/>
                <a:gd name="T23" fmla="*/ 0 h 71"/>
                <a:gd name="T24" fmla="*/ 0 w 71"/>
                <a:gd name="T25" fmla="*/ 0 h 71"/>
                <a:gd name="T26" fmla="*/ 0 w 71"/>
                <a:gd name="T27" fmla="*/ 0 h 71"/>
                <a:gd name="T28" fmla="*/ 0 w 71"/>
                <a:gd name="T29" fmla="*/ 0 h 71"/>
                <a:gd name="T30" fmla="*/ 0 w 71"/>
                <a:gd name="T31" fmla="*/ 0 h 71"/>
                <a:gd name="T32" fmla="*/ 0 w 71"/>
                <a:gd name="T33" fmla="*/ 0 h 71"/>
                <a:gd name="T34" fmla="*/ 0 w 71"/>
                <a:gd name="T35" fmla="*/ 0 h 71"/>
                <a:gd name="T36" fmla="*/ 0 w 71"/>
                <a:gd name="T37" fmla="*/ 0 h 71"/>
                <a:gd name="T38" fmla="*/ 0 w 71"/>
                <a:gd name="T39" fmla="*/ 0 h 71"/>
                <a:gd name="T40" fmla="*/ 0 w 71"/>
                <a:gd name="T41" fmla="*/ 0 h 71"/>
                <a:gd name="T42" fmla="*/ 0 w 71"/>
                <a:gd name="T43" fmla="*/ 0 h 71"/>
                <a:gd name="T44" fmla="*/ 0 w 71"/>
                <a:gd name="T45" fmla="*/ 0 h 71"/>
                <a:gd name="T46" fmla="*/ 0 w 71"/>
                <a:gd name="T47" fmla="*/ 0 h 71"/>
                <a:gd name="T48" fmla="*/ 0 w 71"/>
                <a:gd name="T49" fmla="*/ 0 h 71"/>
                <a:gd name="T50" fmla="*/ 0 w 71"/>
                <a:gd name="T51" fmla="*/ 0 h 71"/>
                <a:gd name="T52" fmla="*/ 0 w 71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1" h="71">
                  <a:moveTo>
                    <a:pt x="0" y="69"/>
                  </a:moveTo>
                  <a:lnTo>
                    <a:pt x="2" y="55"/>
                  </a:lnTo>
                  <a:lnTo>
                    <a:pt x="3" y="49"/>
                  </a:lnTo>
                  <a:lnTo>
                    <a:pt x="5" y="43"/>
                  </a:lnTo>
                  <a:lnTo>
                    <a:pt x="8" y="37"/>
                  </a:lnTo>
                  <a:lnTo>
                    <a:pt x="13" y="31"/>
                  </a:lnTo>
                  <a:lnTo>
                    <a:pt x="20" y="20"/>
                  </a:lnTo>
                  <a:lnTo>
                    <a:pt x="25" y="16"/>
                  </a:lnTo>
                  <a:lnTo>
                    <a:pt x="31" y="13"/>
                  </a:lnTo>
                  <a:lnTo>
                    <a:pt x="37" y="8"/>
                  </a:lnTo>
                  <a:lnTo>
                    <a:pt x="43" y="5"/>
                  </a:lnTo>
                  <a:lnTo>
                    <a:pt x="55" y="2"/>
                  </a:lnTo>
                  <a:lnTo>
                    <a:pt x="69" y="0"/>
                  </a:lnTo>
                  <a:lnTo>
                    <a:pt x="71" y="14"/>
                  </a:lnTo>
                  <a:lnTo>
                    <a:pt x="58" y="14"/>
                  </a:lnTo>
                  <a:lnTo>
                    <a:pt x="48" y="19"/>
                  </a:lnTo>
                  <a:lnTo>
                    <a:pt x="43" y="20"/>
                  </a:lnTo>
                  <a:lnTo>
                    <a:pt x="39" y="23"/>
                  </a:lnTo>
                  <a:lnTo>
                    <a:pt x="34" y="26"/>
                  </a:lnTo>
                  <a:lnTo>
                    <a:pt x="29" y="29"/>
                  </a:lnTo>
                  <a:lnTo>
                    <a:pt x="23" y="39"/>
                  </a:lnTo>
                  <a:lnTo>
                    <a:pt x="20" y="43"/>
                  </a:lnTo>
                  <a:lnTo>
                    <a:pt x="17" y="48"/>
                  </a:lnTo>
                  <a:lnTo>
                    <a:pt x="16" y="54"/>
                  </a:lnTo>
                  <a:lnTo>
                    <a:pt x="14" y="58"/>
                  </a:lnTo>
                  <a:lnTo>
                    <a:pt x="13" y="71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88" name="Freeform 101"/>
            <p:cNvSpPr>
              <a:spLocks/>
            </p:cNvSpPr>
            <p:nvPr/>
          </p:nvSpPr>
          <p:spPr bwMode="auto">
            <a:xfrm>
              <a:off x="3227" y="2196"/>
              <a:ext cx="36" cy="37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w 70"/>
                <a:gd name="T55" fmla="*/ 0 h 71"/>
                <a:gd name="T56" fmla="*/ 1 w 70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0" h="71">
                  <a:moveTo>
                    <a:pt x="2" y="0"/>
                  </a:moveTo>
                  <a:lnTo>
                    <a:pt x="14" y="2"/>
                  </a:lnTo>
                  <a:lnTo>
                    <a:pt x="22" y="3"/>
                  </a:lnTo>
                  <a:lnTo>
                    <a:pt x="28" y="5"/>
                  </a:lnTo>
                  <a:lnTo>
                    <a:pt x="34" y="8"/>
                  </a:lnTo>
                  <a:lnTo>
                    <a:pt x="40" y="13"/>
                  </a:lnTo>
                  <a:lnTo>
                    <a:pt x="51" y="20"/>
                  </a:lnTo>
                  <a:lnTo>
                    <a:pt x="55" y="25"/>
                  </a:lnTo>
                  <a:lnTo>
                    <a:pt x="60" y="31"/>
                  </a:lnTo>
                  <a:lnTo>
                    <a:pt x="63" y="37"/>
                  </a:lnTo>
                  <a:lnTo>
                    <a:pt x="66" y="43"/>
                  </a:lnTo>
                  <a:lnTo>
                    <a:pt x="70" y="55"/>
                  </a:lnTo>
                  <a:lnTo>
                    <a:pt x="70" y="63"/>
                  </a:lnTo>
                  <a:lnTo>
                    <a:pt x="70" y="69"/>
                  </a:lnTo>
                  <a:lnTo>
                    <a:pt x="58" y="71"/>
                  </a:lnTo>
                  <a:lnTo>
                    <a:pt x="57" y="65"/>
                  </a:lnTo>
                  <a:lnTo>
                    <a:pt x="57" y="58"/>
                  </a:lnTo>
                  <a:lnTo>
                    <a:pt x="54" y="48"/>
                  </a:lnTo>
                  <a:lnTo>
                    <a:pt x="51" y="43"/>
                  </a:lnTo>
                  <a:lnTo>
                    <a:pt x="47" y="39"/>
                  </a:lnTo>
                  <a:lnTo>
                    <a:pt x="44" y="34"/>
                  </a:lnTo>
                  <a:lnTo>
                    <a:pt x="41" y="29"/>
                  </a:lnTo>
                  <a:lnTo>
                    <a:pt x="32" y="23"/>
                  </a:lnTo>
                  <a:lnTo>
                    <a:pt x="28" y="20"/>
                  </a:lnTo>
                  <a:lnTo>
                    <a:pt x="23" y="17"/>
                  </a:lnTo>
                  <a:lnTo>
                    <a:pt x="17" y="16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89" name="Freeform 102"/>
            <p:cNvSpPr>
              <a:spLocks/>
            </p:cNvSpPr>
            <p:nvPr/>
          </p:nvSpPr>
          <p:spPr bwMode="auto">
            <a:xfrm>
              <a:off x="3227" y="2196"/>
              <a:ext cx="3" cy="8"/>
            </a:xfrm>
            <a:custGeom>
              <a:avLst/>
              <a:gdLst>
                <a:gd name="T0" fmla="*/ 0 w 2"/>
                <a:gd name="T1" fmla="*/ 0 h 14"/>
                <a:gd name="T2" fmla="*/ 1 w 2"/>
                <a:gd name="T3" fmla="*/ 0 h 14"/>
                <a:gd name="T4" fmla="*/ 0 w 2"/>
                <a:gd name="T5" fmla="*/ 1 h 14"/>
                <a:gd name="T6" fmla="*/ 1 w 2"/>
                <a:gd name="T7" fmla="*/ 1 h 14"/>
                <a:gd name="T8" fmla="*/ 0 w 2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4">
                  <a:moveTo>
                    <a:pt x="0" y="0"/>
                  </a:moveTo>
                  <a:lnTo>
                    <a:pt x="2" y="0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90" name="Freeform 103"/>
            <p:cNvSpPr>
              <a:spLocks/>
            </p:cNvSpPr>
            <p:nvPr/>
          </p:nvSpPr>
          <p:spPr bwMode="auto">
            <a:xfrm>
              <a:off x="3227" y="2233"/>
              <a:ext cx="36" cy="34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0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0" h="71">
                  <a:moveTo>
                    <a:pt x="70" y="2"/>
                  </a:moveTo>
                  <a:lnTo>
                    <a:pt x="70" y="14"/>
                  </a:lnTo>
                  <a:lnTo>
                    <a:pt x="67" y="22"/>
                  </a:lnTo>
                  <a:lnTo>
                    <a:pt x="66" y="28"/>
                  </a:lnTo>
                  <a:lnTo>
                    <a:pt x="63" y="34"/>
                  </a:lnTo>
                  <a:lnTo>
                    <a:pt x="60" y="41"/>
                  </a:lnTo>
                  <a:lnTo>
                    <a:pt x="51" y="51"/>
                  </a:lnTo>
                  <a:lnTo>
                    <a:pt x="46" y="55"/>
                  </a:lnTo>
                  <a:lnTo>
                    <a:pt x="40" y="60"/>
                  </a:lnTo>
                  <a:lnTo>
                    <a:pt x="35" y="63"/>
                  </a:lnTo>
                  <a:lnTo>
                    <a:pt x="28" y="66"/>
                  </a:lnTo>
                  <a:lnTo>
                    <a:pt x="15" y="71"/>
                  </a:lnTo>
                  <a:lnTo>
                    <a:pt x="2" y="71"/>
                  </a:lnTo>
                  <a:lnTo>
                    <a:pt x="0" y="58"/>
                  </a:lnTo>
                  <a:lnTo>
                    <a:pt x="12" y="57"/>
                  </a:lnTo>
                  <a:lnTo>
                    <a:pt x="23" y="54"/>
                  </a:lnTo>
                  <a:lnTo>
                    <a:pt x="28" y="51"/>
                  </a:lnTo>
                  <a:lnTo>
                    <a:pt x="32" y="49"/>
                  </a:lnTo>
                  <a:lnTo>
                    <a:pt x="37" y="45"/>
                  </a:lnTo>
                  <a:lnTo>
                    <a:pt x="41" y="41"/>
                  </a:lnTo>
                  <a:lnTo>
                    <a:pt x="49" y="32"/>
                  </a:lnTo>
                  <a:lnTo>
                    <a:pt x="51" y="28"/>
                  </a:lnTo>
                  <a:lnTo>
                    <a:pt x="54" y="23"/>
                  </a:lnTo>
                  <a:lnTo>
                    <a:pt x="55" y="19"/>
                  </a:lnTo>
                  <a:lnTo>
                    <a:pt x="57" y="12"/>
                  </a:lnTo>
                  <a:lnTo>
                    <a:pt x="58" y="0"/>
                  </a:lnTo>
                  <a:lnTo>
                    <a:pt x="7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91" name="Freeform 104"/>
            <p:cNvSpPr>
              <a:spLocks/>
            </p:cNvSpPr>
            <p:nvPr/>
          </p:nvSpPr>
          <p:spPr bwMode="auto">
            <a:xfrm>
              <a:off x="3256" y="2233"/>
              <a:ext cx="6" cy="0"/>
            </a:xfrm>
            <a:custGeom>
              <a:avLst/>
              <a:gdLst>
                <a:gd name="T0" fmla="*/ 1 w 12"/>
                <a:gd name="T1" fmla="*/ 0 h 2"/>
                <a:gd name="T2" fmla="*/ 1 w 12"/>
                <a:gd name="T3" fmla="*/ 1 h 2"/>
                <a:gd name="T4" fmla="*/ 0 w 12"/>
                <a:gd name="T5" fmla="*/ 0 h 2"/>
                <a:gd name="T6" fmla="*/ 0 w 12"/>
                <a:gd name="T7" fmla="*/ 1 h 2"/>
                <a:gd name="T8" fmla="*/ 1 w 1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" h="2">
                  <a:moveTo>
                    <a:pt x="12" y="0"/>
                  </a:moveTo>
                  <a:lnTo>
                    <a:pt x="12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92" name="Freeform 105"/>
            <p:cNvSpPr>
              <a:spLocks/>
            </p:cNvSpPr>
            <p:nvPr/>
          </p:nvSpPr>
          <p:spPr bwMode="auto">
            <a:xfrm>
              <a:off x="3194" y="2233"/>
              <a:ext cx="33" cy="34"/>
            </a:xfrm>
            <a:custGeom>
              <a:avLst/>
              <a:gdLst>
                <a:gd name="T0" fmla="*/ 0 w 71"/>
                <a:gd name="T1" fmla="*/ 0 h 71"/>
                <a:gd name="T2" fmla="*/ 0 w 71"/>
                <a:gd name="T3" fmla="*/ 0 h 71"/>
                <a:gd name="T4" fmla="*/ 0 w 71"/>
                <a:gd name="T5" fmla="*/ 0 h 71"/>
                <a:gd name="T6" fmla="*/ 0 w 71"/>
                <a:gd name="T7" fmla="*/ 0 h 71"/>
                <a:gd name="T8" fmla="*/ 0 w 71"/>
                <a:gd name="T9" fmla="*/ 0 h 71"/>
                <a:gd name="T10" fmla="*/ 0 w 71"/>
                <a:gd name="T11" fmla="*/ 0 h 71"/>
                <a:gd name="T12" fmla="*/ 0 w 71"/>
                <a:gd name="T13" fmla="*/ 0 h 71"/>
                <a:gd name="T14" fmla="*/ 0 w 71"/>
                <a:gd name="T15" fmla="*/ 0 h 71"/>
                <a:gd name="T16" fmla="*/ 0 w 71"/>
                <a:gd name="T17" fmla="*/ 0 h 71"/>
                <a:gd name="T18" fmla="*/ 0 w 71"/>
                <a:gd name="T19" fmla="*/ 0 h 71"/>
                <a:gd name="T20" fmla="*/ 0 w 71"/>
                <a:gd name="T21" fmla="*/ 0 h 71"/>
                <a:gd name="T22" fmla="*/ 0 w 71"/>
                <a:gd name="T23" fmla="*/ 0 h 71"/>
                <a:gd name="T24" fmla="*/ 0 w 71"/>
                <a:gd name="T25" fmla="*/ 0 h 71"/>
                <a:gd name="T26" fmla="*/ 0 w 71"/>
                <a:gd name="T27" fmla="*/ 0 h 71"/>
                <a:gd name="T28" fmla="*/ 0 w 71"/>
                <a:gd name="T29" fmla="*/ 0 h 71"/>
                <a:gd name="T30" fmla="*/ 0 w 71"/>
                <a:gd name="T31" fmla="*/ 0 h 71"/>
                <a:gd name="T32" fmla="*/ 0 w 71"/>
                <a:gd name="T33" fmla="*/ 0 h 71"/>
                <a:gd name="T34" fmla="*/ 0 w 71"/>
                <a:gd name="T35" fmla="*/ 0 h 71"/>
                <a:gd name="T36" fmla="*/ 0 w 71"/>
                <a:gd name="T37" fmla="*/ 0 h 71"/>
                <a:gd name="T38" fmla="*/ 0 w 71"/>
                <a:gd name="T39" fmla="*/ 0 h 71"/>
                <a:gd name="T40" fmla="*/ 0 w 71"/>
                <a:gd name="T41" fmla="*/ 0 h 71"/>
                <a:gd name="T42" fmla="*/ 0 w 71"/>
                <a:gd name="T43" fmla="*/ 0 h 71"/>
                <a:gd name="T44" fmla="*/ 0 w 71"/>
                <a:gd name="T45" fmla="*/ 0 h 71"/>
                <a:gd name="T46" fmla="*/ 0 w 71"/>
                <a:gd name="T47" fmla="*/ 0 h 71"/>
                <a:gd name="T48" fmla="*/ 0 w 71"/>
                <a:gd name="T49" fmla="*/ 0 h 71"/>
                <a:gd name="T50" fmla="*/ 0 w 71"/>
                <a:gd name="T51" fmla="*/ 0 h 71"/>
                <a:gd name="T52" fmla="*/ 0 w 71"/>
                <a:gd name="T53" fmla="*/ 0 h 71"/>
                <a:gd name="T54" fmla="*/ 0 w 71"/>
                <a:gd name="T55" fmla="*/ 0 h 71"/>
                <a:gd name="T56" fmla="*/ 0 w 71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71">
                  <a:moveTo>
                    <a:pt x="69" y="71"/>
                  </a:moveTo>
                  <a:lnTo>
                    <a:pt x="55" y="71"/>
                  </a:lnTo>
                  <a:lnTo>
                    <a:pt x="49" y="69"/>
                  </a:lnTo>
                  <a:lnTo>
                    <a:pt x="43" y="66"/>
                  </a:lnTo>
                  <a:lnTo>
                    <a:pt x="37" y="63"/>
                  </a:lnTo>
                  <a:lnTo>
                    <a:pt x="31" y="60"/>
                  </a:lnTo>
                  <a:lnTo>
                    <a:pt x="20" y="51"/>
                  </a:lnTo>
                  <a:lnTo>
                    <a:pt x="16" y="46"/>
                  </a:lnTo>
                  <a:lnTo>
                    <a:pt x="11" y="40"/>
                  </a:lnTo>
                  <a:lnTo>
                    <a:pt x="8" y="35"/>
                  </a:lnTo>
                  <a:lnTo>
                    <a:pt x="5" y="28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2"/>
                  </a:lnTo>
                  <a:lnTo>
                    <a:pt x="13" y="0"/>
                  </a:lnTo>
                  <a:lnTo>
                    <a:pt x="13" y="6"/>
                  </a:lnTo>
                  <a:lnTo>
                    <a:pt x="14" y="12"/>
                  </a:lnTo>
                  <a:lnTo>
                    <a:pt x="17" y="23"/>
                  </a:lnTo>
                  <a:lnTo>
                    <a:pt x="20" y="28"/>
                  </a:lnTo>
                  <a:lnTo>
                    <a:pt x="23" y="32"/>
                  </a:lnTo>
                  <a:lnTo>
                    <a:pt x="26" y="37"/>
                  </a:lnTo>
                  <a:lnTo>
                    <a:pt x="29" y="41"/>
                  </a:lnTo>
                  <a:lnTo>
                    <a:pt x="39" y="49"/>
                  </a:lnTo>
                  <a:lnTo>
                    <a:pt x="43" y="51"/>
                  </a:lnTo>
                  <a:lnTo>
                    <a:pt x="48" y="54"/>
                  </a:lnTo>
                  <a:lnTo>
                    <a:pt x="52" y="55"/>
                  </a:lnTo>
                  <a:lnTo>
                    <a:pt x="58" y="57"/>
                  </a:lnTo>
                  <a:lnTo>
                    <a:pt x="71" y="58"/>
                  </a:lnTo>
                  <a:lnTo>
                    <a:pt x="69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93" name="Freeform 106"/>
            <p:cNvSpPr>
              <a:spLocks/>
            </p:cNvSpPr>
            <p:nvPr/>
          </p:nvSpPr>
          <p:spPr bwMode="auto">
            <a:xfrm>
              <a:off x="3227" y="2260"/>
              <a:ext cx="3" cy="7"/>
            </a:xfrm>
            <a:custGeom>
              <a:avLst/>
              <a:gdLst>
                <a:gd name="T0" fmla="*/ 1 w 2"/>
                <a:gd name="T1" fmla="*/ 0 h 13"/>
                <a:gd name="T2" fmla="*/ 0 w 2"/>
                <a:gd name="T3" fmla="*/ 0 h 13"/>
                <a:gd name="T4" fmla="*/ 1 w 2"/>
                <a:gd name="T5" fmla="*/ 0 h 13"/>
                <a:gd name="T6" fmla="*/ 0 w 2"/>
                <a:gd name="T7" fmla="*/ 0 h 13"/>
                <a:gd name="T8" fmla="*/ 1 w 2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3">
                  <a:moveTo>
                    <a:pt x="2" y="13"/>
                  </a:moveTo>
                  <a:lnTo>
                    <a:pt x="0" y="1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94" name="Freeform 107"/>
            <p:cNvSpPr>
              <a:spLocks/>
            </p:cNvSpPr>
            <p:nvPr/>
          </p:nvSpPr>
          <p:spPr bwMode="auto">
            <a:xfrm>
              <a:off x="3194" y="2233"/>
              <a:ext cx="3" cy="0"/>
            </a:xfrm>
            <a:custGeom>
              <a:avLst/>
              <a:gdLst>
                <a:gd name="T0" fmla="*/ 0 w 13"/>
                <a:gd name="T1" fmla="*/ 1 h 2"/>
                <a:gd name="T2" fmla="*/ 0 w 13"/>
                <a:gd name="T3" fmla="*/ 0 h 2"/>
                <a:gd name="T4" fmla="*/ 0 w 13"/>
                <a:gd name="T5" fmla="*/ 1 h 2"/>
                <a:gd name="T6" fmla="*/ 0 w 13"/>
                <a:gd name="T7" fmla="*/ 0 h 2"/>
                <a:gd name="T8" fmla="*/ 0 w 13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0" y="2"/>
                  </a:moveTo>
                  <a:lnTo>
                    <a:pt x="0" y="0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95" name="Freeform 108"/>
            <p:cNvSpPr>
              <a:spLocks/>
            </p:cNvSpPr>
            <p:nvPr/>
          </p:nvSpPr>
          <p:spPr bwMode="auto">
            <a:xfrm>
              <a:off x="3120" y="2200"/>
              <a:ext cx="65" cy="64"/>
            </a:xfrm>
            <a:custGeom>
              <a:avLst/>
              <a:gdLst>
                <a:gd name="T0" fmla="*/ 0 w 127"/>
                <a:gd name="T1" fmla="*/ 1 h 127"/>
                <a:gd name="T2" fmla="*/ 0 w 127"/>
                <a:gd name="T3" fmla="*/ 1 h 127"/>
                <a:gd name="T4" fmla="*/ 1 w 127"/>
                <a:gd name="T5" fmla="*/ 1 h 127"/>
                <a:gd name="T6" fmla="*/ 1 w 127"/>
                <a:gd name="T7" fmla="*/ 1 h 127"/>
                <a:gd name="T8" fmla="*/ 1 w 127"/>
                <a:gd name="T9" fmla="*/ 1 h 127"/>
                <a:gd name="T10" fmla="*/ 1 w 127"/>
                <a:gd name="T11" fmla="*/ 1 h 127"/>
                <a:gd name="T12" fmla="*/ 1 w 127"/>
                <a:gd name="T13" fmla="*/ 1 h 127"/>
                <a:gd name="T14" fmla="*/ 1 w 127"/>
                <a:gd name="T15" fmla="*/ 1 h 127"/>
                <a:gd name="T16" fmla="*/ 1 w 127"/>
                <a:gd name="T17" fmla="*/ 1 h 127"/>
                <a:gd name="T18" fmla="*/ 1 w 127"/>
                <a:gd name="T19" fmla="*/ 1 h 127"/>
                <a:gd name="T20" fmla="*/ 1 w 127"/>
                <a:gd name="T21" fmla="*/ 1 h 127"/>
                <a:gd name="T22" fmla="*/ 1 w 127"/>
                <a:gd name="T23" fmla="*/ 1 h 127"/>
                <a:gd name="T24" fmla="*/ 1 w 127"/>
                <a:gd name="T25" fmla="*/ 0 h 127"/>
                <a:gd name="T26" fmla="*/ 1 w 127"/>
                <a:gd name="T27" fmla="*/ 1 h 127"/>
                <a:gd name="T28" fmla="*/ 1 w 127"/>
                <a:gd name="T29" fmla="*/ 1 h 127"/>
                <a:gd name="T30" fmla="*/ 1 w 127"/>
                <a:gd name="T31" fmla="*/ 1 h 127"/>
                <a:gd name="T32" fmla="*/ 1 w 127"/>
                <a:gd name="T33" fmla="*/ 1 h 127"/>
                <a:gd name="T34" fmla="*/ 1 w 127"/>
                <a:gd name="T35" fmla="*/ 1 h 127"/>
                <a:gd name="T36" fmla="*/ 1 w 127"/>
                <a:gd name="T37" fmla="*/ 1 h 127"/>
                <a:gd name="T38" fmla="*/ 1 w 127"/>
                <a:gd name="T39" fmla="*/ 1 h 127"/>
                <a:gd name="T40" fmla="*/ 1 w 127"/>
                <a:gd name="T41" fmla="*/ 1 h 127"/>
                <a:gd name="T42" fmla="*/ 1 w 127"/>
                <a:gd name="T43" fmla="*/ 1 h 127"/>
                <a:gd name="T44" fmla="*/ 1 w 127"/>
                <a:gd name="T45" fmla="*/ 1 h 127"/>
                <a:gd name="T46" fmla="*/ 1 w 127"/>
                <a:gd name="T47" fmla="*/ 1 h 127"/>
                <a:gd name="T48" fmla="*/ 1 w 127"/>
                <a:gd name="T49" fmla="*/ 1 h 127"/>
                <a:gd name="T50" fmla="*/ 1 w 127"/>
                <a:gd name="T51" fmla="*/ 1 h 127"/>
                <a:gd name="T52" fmla="*/ 1 w 127"/>
                <a:gd name="T53" fmla="*/ 1 h 127"/>
                <a:gd name="T54" fmla="*/ 1 w 127"/>
                <a:gd name="T55" fmla="*/ 1 h 127"/>
                <a:gd name="T56" fmla="*/ 1 w 127"/>
                <a:gd name="T57" fmla="*/ 1 h 127"/>
                <a:gd name="T58" fmla="*/ 1 w 127"/>
                <a:gd name="T59" fmla="*/ 1 h 127"/>
                <a:gd name="T60" fmla="*/ 1 w 127"/>
                <a:gd name="T61" fmla="*/ 1 h 127"/>
                <a:gd name="T62" fmla="*/ 1 w 127"/>
                <a:gd name="T63" fmla="*/ 1 h 127"/>
                <a:gd name="T64" fmla="*/ 1 w 127"/>
                <a:gd name="T65" fmla="*/ 1 h 127"/>
                <a:gd name="T66" fmla="*/ 1 w 127"/>
                <a:gd name="T67" fmla="*/ 1 h 127"/>
                <a:gd name="T68" fmla="*/ 1 w 127"/>
                <a:gd name="T69" fmla="*/ 1 h 127"/>
                <a:gd name="T70" fmla="*/ 1 w 127"/>
                <a:gd name="T71" fmla="*/ 1 h 127"/>
                <a:gd name="T72" fmla="*/ 1 w 127"/>
                <a:gd name="T73" fmla="*/ 1 h 127"/>
                <a:gd name="T74" fmla="*/ 1 w 127"/>
                <a:gd name="T75" fmla="*/ 1 h 127"/>
                <a:gd name="T76" fmla="*/ 1 w 127"/>
                <a:gd name="T77" fmla="*/ 1 h 127"/>
                <a:gd name="T78" fmla="*/ 1 w 127"/>
                <a:gd name="T79" fmla="*/ 1 h 127"/>
                <a:gd name="T80" fmla="*/ 1 w 127"/>
                <a:gd name="T81" fmla="*/ 1 h 127"/>
                <a:gd name="T82" fmla="*/ 1 w 127"/>
                <a:gd name="T83" fmla="*/ 1 h 127"/>
                <a:gd name="T84" fmla="*/ 1 w 127"/>
                <a:gd name="T85" fmla="*/ 1 h 127"/>
                <a:gd name="T86" fmla="*/ 1 w 127"/>
                <a:gd name="T87" fmla="*/ 1 h 127"/>
                <a:gd name="T88" fmla="*/ 1 w 127"/>
                <a:gd name="T89" fmla="*/ 1 h 127"/>
                <a:gd name="T90" fmla="*/ 1 w 127"/>
                <a:gd name="T91" fmla="*/ 1 h 127"/>
                <a:gd name="T92" fmla="*/ 1 w 127"/>
                <a:gd name="T93" fmla="*/ 1 h 127"/>
                <a:gd name="T94" fmla="*/ 1 w 127"/>
                <a:gd name="T95" fmla="*/ 1 h 127"/>
                <a:gd name="T96" fmla="*/ 0 w 127"/>
                <a:gd name="T97" fmla="*/ 1 h 127"/>
                <a:gd name="T98" fmla="*/ 0 w 127"/>
                <a:gd name="T99" fmla="*/ 1 h 127"/>
                <a:gd name="T100" fmla="*/ 0 w 127"/>
                <a:gd name="T101" fmla="*/ 1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7" h="127">
                  <a:moveTo>
                    <a:pt x="0" y="65"/>
                  </a:moveTo>
                  <a:lnTo>
                    <a:pt x="0" y="51"/>
                  </a:lnTo>
                  <a:lnTo>
                    <a:pt x="2" y="45"/>
                  </a:lnTo>
                  <a:lnTo>
                    <a:pt x="5" y="39"/>
                  </a:lnTo>
                  <a:lnTo>
                    <a:pt x="8" y="34"/>
                  </a:lnTo>
                  <a:lnTo>
                    <a:pt x="11" y="28"/>
                  </a:lnTo>
                  <a:lnTo>
                    <a:pt x="19" y="19"/>
                  </a:lnTo>
                  <a:lnTo>
                    <a:pt x="23" y="16"/>
                  </a:lnTo>
                  <a:lnTo>
                    <a:pt x="28" y="11"/>
                  </a:lnTo>
                  <a:lnTo>
                    <a:pt x="32" y="8"/>
                  </a:lnTo>
                  <a:lnTo>
                    <a:pt x="38" y="5"/>
                  </a:lnTo>
                  <a:lnTo>
                    <a:pt x="51" y="2"/>
                  </a:lnTo>
                  <a:lnTo>
                    <a:pt x="63" y="0"/>
                  </a:lnTo>
                  <a:lnTo>
                    <a:pt x="75" y="2"/>
                  </a:lnTo>
                  <a:lnTo>
                    <a:pt x="81" y="3"/>
                  </a:lnTo>
                  <a:lnTo>
                    <a:pt x="87" y="5"/>
                  </a:lnTo>
                  <a:lnTo>
                    <a:pt x="93" y="8"/>
                  </a:lnTo>
                  <a:lnTo>
                    <a:pt x="98" y="11"/>
                  </a:lnTo>
                  <a:lnTo>
                    <a:pt x="107" y="19"/>
                  </a:lnTo>
                  <a:lnTo>
                    <a:pt x="112" y="23"/>
                  </a:lnTo>
                  <a:lnTo>
                    <a:pt x="116" y="28"/>
                  </a:lnTo>
                  <a:lnTo>
                    <a:pt x="119" y="34"/>
                  </a:lnTo>
                  <a:lnTo>
                    <a:pt x="121" y="39"/>
                  </a:lnTo>
                  <a:lnTo>
                    <a:pt x="125" y="51"/>
                  </a:lnTo>
                  <a:lnTo>
                    <a:pt x="125" y="57"/>
                  </a:lnTo>
                  <a:lnTo>
                    <a:pt x="127" y="65"/>
                  </a:lnTo>
                  <a:lnTo>
                    <a:pt x="125" y="77"/>
                  </a:lnTo>
                  <a:lnTo>
                    <a:pt x="124" y="83"/>
                  </a:lnTo>
                  <a:lnTo>
                    <a:pt x="121" y="89"/>
                  </a:lnTo>
                  <a:lnTo>
                    <a:pt x="119" y="94"/>
                  </a:lnTo>
                  <a:lnTo>
                    <a:pt x="116" y="100"/>
                  </a:lnTo>
                  <a:lnTo>
                    <a:pt x="107" y="109"/>
                  </a:lnTo>
                  <a:lnTo>
                    <a:pt x="104" y="114"/>
                  </a:lnTo>
                  <a:lnTo>
                    <a:pt x="98" y="117"/>
                  </a:lnTo>
                  <a:lnTo>
                    <a:pt x="93" y="120"/>
                  </a:lnTo>
                  <a:lnTo>
                    <a:pt x="87" y="123"/>
                  </a:lnTo>
                  <a:lnTo>
                    <a:pt x="75" y="126"/>
                  </a:lnTo>
                  <a:lnTo>
                    <a:pt x="63" y="127"/>
                  </a:lnTo>
                  <a:lnTo>
                    <a:pt x="51" y="126"/>
                  </a:lnTo>
                  <a:lnTo>
                    <a:pt x="45" y="124"/>
                  </a:lnTo>
                  <a:lnTo>
                    <a:pt x="38" y="123"/>
                  </a:lnTo>
                  <a:lnTo>
                    <a:pt x="32" y="120"/>
                  </a:lnTo>
                  <a:lnTo>
                    <a:pt x="28" y="117"/>
                  </a:lnTo>
                  <a:lnTo>
                    <a:pt x="19" y="109"/>
                  </a:lnTo>
                  <a:lnTo>
                    <a:pt x="14" y="104"/>
                  </a:lnTo>
                  <a:lnTo>
                    <a:pt x="11" y="100"/>
                  </a:lnTo>
                  <a:lnTo>
                    <a:pt x="8" y="94"/>
                  </a:lnTo>
                  <a:lnTo>
                    <a:pt x="5" y="89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96" name="Freeform 109"/>
            <p:cNvSpPr>
              <a:spLocks/>
            </p:cNvSpPr>
            <p:nvPr/>
          </p:nvSpPr>
          <p:spPr bwMode="auto">
            <a:xfrm>
              <a:off x="3114" y="2196"/>
              <a:ext cx="36" cy="37"/>
            </a:xfrm>
            <a:custGeom>
              <a:avLst/>
              <a:gdLst>
                <a:gd name="T0" fmla="*/ 0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0 w 70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0" h="71">
                  <a:moveTo>
                    <a:pt x="0" y="69"/>
                  </a:moveTo>
                  <a:lnTo>
                    <a:pt x="1" y="55"/>
                  </a:lnTo>
                  <a:lnTo>
                    <a:pt x="3" y="49"/>
                  </a:lnTo>
                  <a:lnTo>
                    <a:pt x="6" y="43"/>
                  </a:lnTo>
                  <a:lnTo>
                    <a:pt x="9" y="37"/>
                  </a:lnTo>
                  <a:lnTo>
                    <a:pt x="12" y="31"/>
                  </a:lnTo>
                  <a:lnTo>
                    <a:pt x="19" y="20"/>
                  </a:lnTo>
                  <a:lnTo>
                    <a:pt x="26" y="16"/>
                  </a:lnTo>
                  <a:lnTo>
                    <a:pt x="30" y="13"/>
                  </a:lnTo>
                  <a:lnTo>
                    <a:pt x="36" y="8"/>
                  </a:lnTo>
                  <a:lnTo>
                    <a:pt x="42" y="5"/>
                  </a:lnTo>
                  <a:lnTo>
                    <a:pt x="56" y="2"/>
                  </a:lnTo>
                  <a:lnTo>
                    <a:pt x="70" y="0"/>
                  </a:lnTo>
                  <a:lnTo>
                    <a:pt x="70" y="14"/>
                  </a:lnTo>
                  <a:lnTo>
                    <a:pt x="58" y="14"/>
                  </a:lnTo>
                  <a:lnTo>
                    <a:pt x="47" y="19"/>
                  </a:lnTo>
                  <a:lnTo>
                    <a:pt x="42" y="20"/>
                  </a:lnTo>
                  <a:lnTo>
                    <a:pt x="38" y="23"/>
                  </a:lnTo>
                  <a:lnTo>
                    <a:pt x="33" y="26"/>
                  </a:lnTo>
                  <a:lnTo>
                    <a:pt x="30" y="29"/>
                  </a:lnTo>
                  <a:lnTo>
                    <a:pt x="23" y="39"/>
                  </a:lnTo>
                  <a:lnTo>
                    <a:pt x="19" y="43"/>
                  </a:lnTo>
                  <a:lnTo>
                    <a:pt x="18" y="48"/>
                  </a:lnTo>
                  <a:lnTo>
                    <a:pt x="15" y="54"/>
                  </a:lnTo>
                  <a:lnTo>
                    <a:pt x="15" y="58"/>
                  </a:lnTo>
                  <a:lnTo>
                    <a:pt x="13" y="71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97" name="Freeform 110"/>
            <p:cNvSpPr>
              <a:spLocks/>
            </p:cNvSpPr>
            <p:nvPr/>
          </p:nvSpPr>
          <p:spPr bwMode="auto">
            <a:xfrm>
              <a:off x="3149" y="2196"/>
              <a:ext cx="36" cy="37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w 70"/>
                <a:gd name="T55" fmla="*/ 0 h 71"/>
                <a:gd name="T56" fmla="*/ 1 w 70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0" h="71">
                  <a:moveTo>
                    <a:pt x="1" y="0"/>
                  </a:moveTo>
                  <a:lnTo>
                    <a:pt x="14" y="2"/>
                  </a:lnTo>
                  <a:lnTo>
                    <a:pt x="21" y="3"/>
                  </a:lnTo>
                  <a:lnTo>
                    <a:pt x="27" y="5"/>
                  </a:lnTo>
                  <a:lnTo>
                    <a:pt x="33" y="8"/>
                  </a:lnTo>
                  <a:lnTo>
                    <a:pt x="40" y="13"/>
                  </a:lnTo>
                  <a:lnTo>
                    <a:pt x="49" y="20"/>
                  </a:lnTo>
                  <a:lnTo>
                    <a:pt x="53" y="25"/>
                  </a:lnTo>
                  <a:lnTo>
                    <a:pt x="58" y="31"/>
                  </a:lnTo>
                  <a:lnTo>
                    <a:pt x="61" y="37"/>
                  </a:lnTo>
                  <a:lnTo>
                    <a:pt x="64" y="43"/>
                  </a:lnTo>
                  <a:lnTo>
                    <a:pt x="69" y="55"/>
                  </a:lnTo>
                  <a:lnTo>
                    <a:pt x="70" y="63"/>
                  </a:lnTo>
                  <a:lnTo>
                    <a:pt x="70" y="69"/>
                  </a:lnTo>
                  <a:lnTo>
                    <a:pt x="56" y="71"/>
                  </a:lnTo>
                  <a:lnTo>
                    <a:pt x="56" y="65"/>
                  </a:lnTo>
                  <a:lnTo>
                    <a:pt x="56" y="58"/>
                  </a:lnTo>
                  <a:lnTo>
                    <a:pt x="52" y="48"/>
                  </a:lnTo>
                  <a:lnTo>
                    <a:pt x="50" y="43"/>
                  </a:lnTo>
                  <a:lnTo>
                    <a:pt x="47" y="39"/>
                  </a:lnTo>
                  <a:lnTo>
                    <a:pt x="44" y="34"/>
                  </a:lnTo>
                  <a:lnTo>
                    <a:pt x="40" y="29"/>
                  </a:lnTo>
                  <a:lnTo>
                    <a:pt x="32" y="23"/>
                  </a:lnTo>
                  <a:lnTo>
                    <a:pt x="27" y="20"/>
                  </a:lnTo>
                  <a:lnTo>
                    <a:pt x="21" y="17"/>
                  </a:lnTo>
                  <a:lnTo>
                    <a:pt x="17" y="16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98" name="Freeform 111"/>
            <p:cNvSpPr>
              <a:spLocks/>
            </p:cNvSpPr>
            <p:nvPr/>
          </p:nvSpPr>
          <p:spPr bwMode="auto">
            <a:xfrm>
              <a:off x="3149" y="2196"/>
              <a:ext cx="3" cy="8"/>
            </a:xfrm>
            <a:custGeom>
              <a:avLst/>
              <a:gdLst>
                <a:gd name="T0" fmla="*/ 0 w 1"/>
                <a:gd name="T1" fmla="*/ 0 h 14"/>
                <a:gd name="T2" fmla="*/ 1 w 1"/>
                <a:gd name="T3" fmla="*/ 0 h 14"/>
                <a:gd name="T4" fmla="*/ 0 w 1"/>
                <a:gd name="T5" fmla="*/ 1 h 14"/>
                <a:gd name="T6" fmla="*/ 0 w 1"/>
                <a:gd name="T7" fmla="*/ 0 h 1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4">
                  <a:moveTo>
                    <a:pt x="0" y="0"/>
                  </a:moveTo>
                  <a:lnTo>
                    <a:pt x="1" y="0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599" name="Freeform 112"/>
            <p:cNvSpPr>
              <a:spLocks/>
            </p:cNvSpPr>
            <p:nvPr/>
          </p:nvSpPr>
          <p:spPr bwMode="auto">
            <a:xfrm>
              <a:off x="3149" y="2233"/>
              <a:ext cx="36" cy="34"/>
            </a:xfrm>
            <a:custGeom>
              <a:avLst/>
              <a:gdLst>
                <a:gd name="T0" fmla="*/ 1 w 72"/>
                <a:gd name="T1" fmla="*/ 0 h 71"/>
                <a:gd name="T2" fmla="*/ 1 w 72"/>
                <a:gd name="T3" fmla="*/ 0 h 71"/>
                <a:gd name="T4" fmla="*/ 1 w 72"/>
                <a:gd name="T5" fmla="*/ 0 h 71"/>
                <a:gd name="T6" fmla="*/ 1 w 72"/>
                <a:gd name="T7" fmla="*/ 0 h 71"/>
                <a:gd name="T8" fmla="*/ 1 w 72"/>
                <a:gd name="T9" fmla="*/ 0 h 71"/>
                <a:gd name="T10" fmla="*/ 1 w 72"/>
                <a:gd name="T11" fmla="*/ 0 h 71"/>
                <a:gd name="T12" fmla="*/ 1 w 72"/>
                <a:gd name="T13" fmla="*/ 0 h 71"/>
                <a:gd name="T14" fmla="*/ 1 w 72"/>
                <a:gd name="T15" fmla="*/ 0 h 71"/>
                <a:gd name="T16" fmla="*/ 1 w 72"/>
                <a:gd name="T17" fmla="*/ 0 h 71"/>
                <a:gd name="T18" fmla="*/ 1 w 72"/>
                <a:gd name="T19" fmla="*/ 0 h 71"/>
                <a:gd name="T20" fmla="*/ 1 w 72"/>
                <a:gd name="T21" fmla="*/ 0 h 71"/>
                <a:gd name="T22" fmla="*/ 1 w 72"/>
                <a:gd name="T23" fmla="*/ 0 h 71"/>
                <a:gd name="T24" fmla="*/ 1 w 72"/>
                <a:gd name="T25" fmla="*/ 0 h 71"/>
                <a:gd name="T26" fmla="*/ 0 w 72"/>
                <a:gd name="T27" fmla="*/ 0 h 71"/>
                <a:gd name="T28" fmla="*/ 1 w 72"/>
                <a:gd name="T29" fmla="*/ 0 h 71"/>
                <a:gd name="T30" fmla="*/ 1 w 72"/>
                <a:gd name="T31" fmla="*/ 0 h 71"/>
                <a:gd name="T32" fmla="*/ 1 w 72"/>
                <a:gd name="T33" fmla="*/ 0 h 71"/>
                <a:gd name="T34" fmla="*/ 1 w 72"/>
                <a:gd name="T35" fmla="*/ 0 h 71"/>
                <a:gd name="T36" fmla="*/ 1 w 72"/>
                <a:gd name="T37" fmla="*/ 0 h 71"/>
                <a:gd name="T38" fmla="*/ 1 w 72"/>
                <a:gd name="T39" fmla="*/ 0 h 71"/>
                <a:gd name="T40" fmla="*/ 1 w 72"/>
                <a:gd name="T41" fmla="*/ 0 h 71"/>
                <a:gd name="T42" fmla="*/ 1 w 72"/>
                <a:gd name="T43" fmla="*/ 0 h 71"/>
                <a:gd name="T44" fmla="*/ 1 w 72"/>
                <a:gd name="T45" fmla="*/ 0 h 71"/>
                <a:gd name="T46" fmla="*/ 1 w 72"/>
                <a:gd name="T47" fmla="*/ 0 h 71"/>
                <a:gd name="T48" fmla="*/ 1 w 72"/>
                <a:gd name="T49" fmla="*/ 0 h 71"/>
                <a:gd name="T50" fmla="*/ 1 w 72"/>
                <a:gd name="T51" fmla="*/ 0 h 71"/>
                <a:gd name="T52" fmla="*/ 1 w 72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2" h="71">
                  <a:moveTo>
                    <a:pt x="72" y="2"/>
                  </a:moveTo>
                  <a:lnTo>
                    <a:pt x="71" y="14"/>
                  </a:lnTo>
                  <a:lnTo>
                    <a:pt x="69" y="22"/>
                  </a:lnTo>
                  <a:lnTo>
                    <a:pt x="66" y="28"/>
                  </a:lnTo>
                  <a:lnTo>
                    <a:pt x="63" y="34"/>
                  </a:lnTo>
                  <a:lnTo>
                    <a:pt x="60" y="41"/>
                  </a:lnTo>
                  <a:lnTo>
                    <a:pt x="52" y="51"/>
                  </a:lnTo>
                  <a:lnTo>
                    <a:pt x="46" y="55"/>
                  </a:lnTo>
                  <a:lnTo>
                    <a:pt x="42" y="60"/>
                  </a:lnTo>
                  <a:lnTo>
                    <a:pt x="35" y="63"/>
                  </a:lnTo>
                  <a:lnTo>
                    <a:pt x="29" y="66"/>
                  </a:lnTo>
                  <a:lnTo>
                    <a:pt x="16" y="71"/>
                  </a:lnTo>
                  <a:lnTo>
                    <a:pt x="3" y="71"/>
                  </a:lnTo>
                  <a:lnTo>
                    <a:pt x="0" y="58"/>
                  </a:lnTo>
                  <a:lnTo>
                    <a:pt x="13" y="57"/>
                  </a:lnTo>
                  <a:lnTo>
                    <a:pt x="23" y="54"/>
                  </a:lnTo>
                  <a:lnTo>
                    <a:pt x="29" y="51"/>
                  </a:lnTo>
                  <a:lnTo>
                    <a:pt x="34" y="49"/>
                  </a:lnTo>
                  <a:lnTo>
                    <a:pt x="39" y="45"/>
                  </a:lnTo>
                  <a:lnTo>
                    <a:pt x="42" y="41"/>
                  </a:lnTo>
                  <a:lnTo>
                    <a:pt x="49" y="32"/>
                  </a:lnTo>
                  <a:lnTo>
                    <a:pt x="52" y="28"/>
                  </a:lnTo>
                  <a:lnTo>
                    <a:pt x="54" y="23"/>
                  </a:lnTo>
                  <a:lnTo>
                    <a:pt x="57" y="19"/>
                  </a:lnTo>
                  <a:lnTo>
                    <a:pt x="57" y="12"/>
                  </a:lnTo>
                  <a:lnTo>
                    <a:pt x="58" y="0"/>
                  </a:lnTo>
                  <a:lnTo>
                    <a:pt x="72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00" name="Freeform 113"/>
            <p:cNvSpPr>
              <a:spLocks/>
            </p:cNvSpPr>
            <p:nvPr/>
          </p:nvSpPr>
          <p:spPr bwMode="auto">
            <a:xfrm>
              <a:off x="3179" y="2233"/>
              <a:ext cx="9" cy="0"/>
            </a:xfrm>
            <a:custGeom>
              <a:avLst/>
              <a:gdLst>
                <a:gd name="T0" fmla="*/ 1 w 14"/>
                <a:gd name="T1" fmla="*/ 0 h 2"/>
                <a:gd name="T2" fmla="*/ 1 w 14"/>
                <a:gd name="T3" fmla="*/ 1 h 2"/>
                <a:gd name="T4" fmla="*/ 0 w 14"/>
                <a:gd name="T5" fmla="*/ 0 h 2"/>
                <a:gd name="T6" fmla="*/ 0 w 14"/>
                <a:gd name="T7" fmla="*/ 1 h 2"/>
                <a:gd name="T8" fmla="*/ 1 w 1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2">
                  <a:moveTo>
                    <a:pt x="14" y="0"/>
                  </a:moveTo>
                  <a:lnTo>
                    <a:pt x="1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01" name="Freeform 114"/>
            <p:cNvSpPr>
              <a:spLocks/>
            </p:cNvSpPr>
            <p:nvPr/>
          </p:nvSpPr>
          <p:spPr bwMode="auto">
            <a:xfrm>
              <a:off x="3114" y="2233"/>
              <a:ext cx="39" cy="34"/>
            </a:xfrm>
            <a:custGeom>
              <a:avLst/>
              <a:gdLst>
                <a:gd name="T0" fmla="*/ 1 w 71"/>
                <a:gd name="T1" fmla="*/ 0 h 71"/>
                <a:gd name="T2" fmla="*/ 1 w 71"/>
                <a:gd name="T3" fmla="*/ 0 h 71"/>
                <a:gd name="T4" fmla="*/ 1 w 71"/>
                <a:gd name="T5" fmla="*/ 0 h 71"/>
                <a:gd name="T6" fmla="*/ 1 w 71"/>
                <a:gd name="T7" fmla="*/ 0 h 71"/>
                <a:gd name="T8" fmla="*/ 1 w 71"/>
                <a:gd name="T9" fmla="*/ 0 h 71"/>
                <a:gd name="T10" fmla="*/ 1 w 71"/>
                <a:gd name="T11" fmla="*/ 0 h 71"/>
                <a:gd name="T12" fmla="*/ 1 w 71"/>
                <a:gd name="T13" fmla="*/ 0 h 71"/>
                <a:gd name="T14" fmla="*/ 1 w 71"/>
                <a:gd name="T15" fmla="*/ 0 h 71"/>
                <a:gd name="T16" fmla="*/ 1 w 71"/>
                <a:gd name="T17" fmla="*/ 0 h 71"/>
                <a:gd name="T18" fmla="*/ 1 w 71"/>
                <a:gd name="T19" fmla="*/ 0 h 71"/>
                <a:gd name="T20" fmla="*/ 1 w 71"/>
                <a:gd name="T21" fmla="*/ 0 h 71"/>
                <a:gd name="T22" fmla="*/ 1 w 71"/>
                <a:gd name="T23" fmla="*/ 0 h 71"/>
                <a:gd name="T24" fmla="*/ 0 w 71"/>
                <a:gd name="T25" fmla="*/ 0 h 71"/>
                <a:gd name="T26" fmla="*/ 0 w 71"/>
                <a:gd name="T27" fmla="*/ 0 h 71"/>
                <a:gd name="T28" fmla="*/ 1 w 71"/>
                <a:gd name="T29" fmla="*/ 0 h 71"/>
                <a:gd name="T30" fmla="*/ 1 w 71"/>
                <a:gd name="T31" fmla="*/ 0 h 71"/>
                <a:gd name="T32" fmla="*/ 1 w 71"/>
                <a:gd name="T33" fmla="*/ 0 h 71"/>
                <a:gd name="T34" fmla="*/ 1 w 71"/>
                <a:gd name="T35" fmla="*/ 0 h 71"/>
                <a:gd name="T36" fmla="*/ 1 w 71"/>
                <a:gd name="T37" fmla="*/ 0 h 71"/>
                <a:gd name="T38" fmla="*/ 1 w 71"/>
                <a:gd name="T39" fmla="*/ 0 h 71"/>
                <a:gd name="T40" fmla="*/ 1 w 71"/>
                <a:gd name="T41" fmla="*/ 0 h 71"/>
                <a:gd name="T42" fmla="*/ 1 w 71"/>
                <a:gd name="T43" fmla="*/ 0 h 71"/>
                <a:gd name="T44" fmla="*/ 1 w 71"/>
                <a:gd name="T45" fmla="*/ 0 h 71"/>
                <a:gd name="T46" fmla="*/ 1 w 71"/>
                <a:gd name="T47" fmla="*/ 0 h 71"/>
                <a:gd name="T48" fmla="*/ 1 w 71"/>
                <a:gd name="T49" fmla="*/ 0 h 71"/>
                <a:gd name="T50" fmla="*/ 1 w 71"/>
                <a:gd name="T51" fmla="*/ 0 h 71"/>
                <a:gd name="T52" fmla="*/ 1 w 71"/>
                <a:gd name="T53" fmla="*/ 0 h 71"/>
                <a:gd name="T54" fmla="*/ 1 w 71"/>
                <a:gd name="T55" fmla="*/ 0 h 71"/>
                <a:gd name="T56" fmla="*/ 1 w 71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71">
                  <a:moveTo>
                    <a:pt x="70" y="71"/>
                  </a:moveTo>
                  <a:lnTo>
                    <a:pt x="56" y="71"/>
                  </a:lnTo>
                  <a:lnTo>
                    <a:pt x="48" y="69"/>
                  </a:lnTo>
                  <a:lnTo>
                    <a:pt x="42" y="66"/>
                  </a:lnTo>
                  <a:lnTo>
                    <a:pt x="36" y="63"/>
                  </a:lnTo>
                  <a:lnTo>
                    <a:pt x="30" y="60"/>
                  </a:lnTo>
                  <a:lnTo>
                    <a:pt x="21" y="51"/>
                  </a:lnTo>
                  <a:lnTo>
                    <a:pt x="16" y="46"/>
                  </a:lnTo>
                  <a:lnTo>
                    <a:pt x="12" y="40"/>
                  </a:lnTo>
                  <a:lnTo>
                    <a:pt x="9" y="35"/>
                  </a:lnTo>
                  <a:lnTo>
                    <a:pt x="6" y="28"/>
                  </a:lnTo>
                  <a:lnTo>
                    <a:pt x="1" y="15"/>
                  </a:lnTo>
                  <a:lnTo>
                    <a:pt x="0" y="8"/>
                  </a:lnTo>
                  <a:lnTo>
                    <a:pt x="0" y="2"/>
                  </a:lnTo>
                  <a:lnTo>
                    <a:pt x="13" y="0"/>
                  </a:lnTo>
                  <a:lnTo>
                    <a:pt x="13" y="6"/>
                  </a:lnTo>
                  <a:lnTo>
                    <a:pt x="13" y="12"/>
                  </a:lnTo>
                  <a:lnTo>
                    <a:pt x="18" y="23"/>
                  </a:lnTo>
                  <a:lnTo>
                    <a:pt x="19" y="28"/>
                  </a:lnTo>
                  <a:lnTo>
                    <a:pt x="23" y="32"/>
                  </a:lnTo>
                  <a:lnTo>
                    <a:pt x="26" y="37"/>
                  </a:lnTo>
                  <a:lnTo>
                    <a:pt x="30" y="41"/>
                  </a:lnTo>
                  <a:lnTo>
                    <a:pt x="38" y="49"/>
                  </a:lnTo>
                  <a:lnTo>
                    <a:pt x="42" y="51"/>
                  </a:lnTo>
                  <a:lnTo>
                    <a:pt x="48" y="54"/>
                  </a:lnTo>
                  <a:lnTo>
                    <a:pt x="53" y="55"/>
                  </a:lnTo>
                  <a:lnTo>
                    <a:pt x="58" y="57"/>
                  </a:lnTo>
                  <a:lnTo>
                    <a:pt x="71" y="58"/>
                  </a:lnTo>
                  <a:lnTo>
                    <a:pt x="70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02" name="Freeform 115"/>
            <p:cNvSpPr>
              <a:spLocks/>
            </p:cNvSpPr>
            <p:nvPr/>
          </p:nvSpPr>
          <p:spPr bwMode="auto">
            <a:xfrm>
              <a:off x="3149" y="2260"/>
              <a:ext cx="3" cy="7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" h="13">
                  <a:moveTo>
                    <a:pt x="3" y="13"/>
                  </a:moveTo>
                  <a:lnTo>
                    <a:pt x="2" y="1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03" name="Freeform 116"/>
            <p:cNvSpPr>
              <a:spLocks/>
            </p:cNvSpPr>
            <p:nvPr/>
          </p:nvSpPr>
          <p:spPr bwMode="auto">
            <a:xfrm>
              <a:off x="3114" y="2233"/>
              <a:ext cx="3" cy="0"/>
            </a:xfrm>
            <a:custGeom>
              <a:avLst/>
              <a:gdLst>
                <a:gd name="T0" fmla="*/ 0 w 13"/>
                <a:gd name="T1" fmla="*/ 1 h 2"/>
                <a:gd name="T2" fmla="*/ 0 w 13"/>
                <a:gd name="T3" fmla="*/ 0 h 2"/>
                <a:gd name="T4" fmla="*/ 1 w 13"/>
                <a:gd name="T5" fmla="*/ 1 h 2"/>
                <a:gd name="T6" fmla="*/ 1 w 13"/>
                <a:gd name="T7" fmla="*/ 0 h 2"/>
                <a:gd name="T8" fmla="*/ 0 w 13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0" y="2"/>
                  </a:moveTo>
                  <a:lnTo>
                    <a:pt x="0" y="0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04" name="Rectangle 117"/>
            <p:cNvSpPr>
              <a:spLocks noChangeArrowheads="1"/>
            </p:cNvSpPr>
            <p:nvPr/>
          </p:nvSpPr>
          <p:spPr bwMode="auto">
            <a:xfrm>
              <a:off x="2900" y="2124"/>
              <a:ext cx="59" cy="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</p:grpSp>
      <p:grpSp>
        <p:nvGrpSpPr>
          <p:cNvPr id="22" name="Group 76"/>
          <p:cNvGrpSpPr>
            <a:grpSpLocks/>
          </p:cNvGrpSpPr>
          <p:nvPr/>
        </p:nvGrpSpPr>
        <p:grpSpPr bwMode="auto">
          <a:xfrm flipH="1">
            <a:off x="5468576" y="2141677"/>
            <a:ext cx="203277" cy="130340"/>
            <a:chOff x="2885" y="2075"/>
            <a:chExt cx="404" cy="192"/>
          </a:xfrm>
        </p:grpSpPr>
        <p:sp>
          <p:nvSpPr>
            <p:cNvPr id="606" name="Freeform 77"/>
            <p:cNvSpPr>
              <a:spLocks/>
            </p:cNvSpPr>
            <p:nvPr/>
          </p:nvSpPr>
          <p:spPr bwMode="auto">
            <a:xfrm>
              <a:off x="2888" y="2077"/>
              <a:ext cx="401" cy="150"/>
            </a:xfrm>
            <a:custGeom>
              <a:avLst/>
              <a:gdLst>
                <a:gd name="T0" fmla="*/ 0 w 798"/>
                <a:gd name="T1" fmla="*/ 1 h 300"/>
                <a:gd name="T2" fmla="*/ 0 w 798"/>
                <a:gd name="T3" fmla="*/ 0 h 300"/>
                <a:gd name="T4" fmla="*/ 0 w 798"/>
                <a:gd name="T5" fmla="*/ 0 h 300"/>
                <a:gd name="T6" fmla="*/ 0 w 798"/>
                <a:gd name="T7" fmla="*/ 1 h 300"/>
                <a:gd name="T8" fmla="*/ 0 w 798"/>
                <a:gd name="T9" fmla="*/ 1 h 300"/>
                <a:gd name="T10" fmla="*/ 0 w 798"/>
                <a:gd name="T11" fmla="*/ 1 h 300"/>
                <a:gd name="T12" fmla="*/ 0 w 798"/>
                <a:gd name="T13" fmla="*/ 1 h 3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98" h="300">
                  <a:moveTo>
                    <a:pt x="193" y="73"/>
                  </a:moveTo>
                  <a:lnTo>
                    <a:pt x="193" y="0"/>
                  </a:lnTo>
                  <a:lnTo>
                    <a:pt x="798" y="0"/>
                  </a:lnTo>
                  <a:lnTo>
                    <a:pt x="798" y="300"/>
                  </a:lnTo>
                  <a:lnTo>
                    <a:pt x="2" y="300"/>
                  </a:lnTo>
                  <a:lnTo>
                    <a:pt x="0" y="73"/>
                  </a:lnTo>
                  <a:lnTo>
                    <a:pt x="193" y="73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07" name="Rectangle 78"/>
            <p:cNvSpPr>
              <a:spLocks noChangeArrowheads="1"/>
            </p:cNvSpPr>
            <p:nvPr/>
          </p:nvSpPr>
          <p:spPr bwMode="auto">
            <a:xfrm>
              <a:off x="2983" y="2077"/>
              <a:ext cx="3" cy="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08" name="Rectangle 79"/>
            <p:cNvSpPr>
              <a:spLocks noChangeArrowheads="1"/>
            </p:cNvSpPr>
            <p:nvPr/>
          </p:nvSpPr>
          <p:spPr bwMode="auto">
            <a:xfrm>
              <a:off x="2983" y="2075"/>
              <a:ext cx="303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09" name="Freeform 80"/>
            <p:cNvSpPr>
              <a:spLocks/>
            </p:cNvSpPr>
            <p:nvPr/>
          </p:nvSpPr>
          <p:spPr bwMode="auto">
            <a:xfrm>
              <a:off x="2983" y="2075"/>
              <a:ext cx="3" cy="5"/>
            </a:xfrm>
            <a:custGeom>
              <a:avLst/>
              <a:gdLst>
                <a:gd name="T0" fmla="*/ 0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0 h 11"/>
                <a:gd name="T8" fmla="*/ 0 w 11"/>
                <a:gd name="T9" fmla="*/ 0 h 11"/>
                <a:gd name="T10" fmla="*/ 0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0" y="5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5" y="11"/>
                  </a:lnTo>
                  <a:lnTo>
                    <a:pt x="11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10" name="Rectangle 81"/>
            <p:cNvSpPr>
              <a:spLocks noChangeArrowheads="1"/>
            </p:cNvSpPr>
            <p:nvPr/>
          </p:nvSpPr>
          <p:spPr bwMode="auto">
            <a:xfrm>
              <a:off x="3283" y="2077"/>
              <a:ext cx="6" cy="1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11" name="Freeform 82"/>
            <p:cNvSpPr>
              <a:spLocks/>
            </p:cNvSpPr>
            <p:nvPr/>
          </p:nvSpPr>
          <p:spPr bwMode="auto">
            <a:xfrm>
              <a:off x="3283" y="2075"/>
              <a:ext cx="6" cy="5"/>
            </a:xfrm>
            <a:custGeom>
              <a:avLst/>
              <a:gdLst>
                <a:gd name="T0" fmla="*/ 0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0 h 11"/>
                <a:gd name="T8" fmla="*/ 0 w 11"/>
                <a:gd name="T9" fmla="*/ 0 h 11"/>
                <a:gd name="T10" fmla="*/ 0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5" y="0"/>
                  </a:moveTo>
                  <a:lnTo>
                    <a:pt x="11" y="0"/>
                  </a:lnTo>
                  <a:lnTo>
                    <a:pt x="11" y="5"/>
                  </a:lnTo>
                  <a:lnTo>
                    <a:pt x="0" y="5"/>
                  </a:lnTo>
                  <a:lnTo>
                    <a:pt x="5" y="1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12" name="Rectangle 83"/>
            <p:cNvSpPr>
              <a:spLocks noChangeArrowheads="1"/>
            </p:cNvSpPr>
            <p:nvPr/>
          </p:nvSpPr>
          <p:spPr bwMode="auto">
            <a:xfrm>
              <a:off x="2888" y="2225"/>
              <a:ext cx="401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13" name="Freeform 84"/>
            <p:cNvSpPr>
              <a:spLocks/>
            </p:cNvSpPr>
            <p:nvPr/>
          </p:nvSpPr>
          <p:spPr bwMode="auto">
            <a:xfrm>
              <a:off x="3283" y="2225"/>
              <a:ext cx="6" cy="5"/>
            </a:xfrm>
            <a:custGeom>
              <a:avLst/>
              <a:gdLst>
                <a:gd name="T0" fmla="*/ 0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0 h 11"/>
                <a:gd name="T8" fmla="*/ 0 w 11"/>
                <a:gd name="T9" fmla="*/ 0 h 11"/>
                <a:gd name="T10" fmla="*/ 0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11" y="5"/>
                  </a:moveTo>
                  <a:lnTo>
                    <a:pt x="11" y="11"/>
                  </a:lnTo>
                  <a:lnTo>
                    <a:pt x="5" y="11"/>
                  </a:lnTo>
                  <a:lnTo>
                    <a:pt x="5" y="0"/>
                  </a:lnTo>
                  <a:lnTo>
                    <a:pt x="0" y="5"/>
                  </a:lnTo>
                  <a:lnTo>
                    <a:pt x="1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14" name="Freeform 85"/>
            <p:cNvSpPr>
              <a:spLocks/>
            </p:cNvSpPr>
            <p:nvPr/>
          </p:nvSpPr>
          <p:spPr bwMode="auto">
            <a:xfrm>
              <a:off x="2885" y="2114"/>
              <a:ext cx="6" cy="113"/>
            </a:xfrm>
            <a:custGeom>
              <a:avLst/>
              <a:gdLst>
                <a:gd name="T0" fmla="*/ 0 w 13"/>
                <a:gd name="T1" fmla="*/ 0 h 227"/>
                <a:gd name="T2" fmla="*/ 0 w 13"/>
                <a:gd name="T3" fmla="*/ 0 h 227"/>
                <a:gd name="T4" fmla="*/ 0 w 13"/>
                <a:gd name="T5" fmla="*/ 0 h 227"/>
                <a:gd name="T6" fmla="*/ 0 w 13"/>
                <a:gd name="T7" fmla="*/ 0 h 227"/>
                <a:gd name="T8" fmla="*/ 0 w 13"/>
                <a:gd name="T9" fmla="*/ 0 h 2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27">
                  <a:moveTo>
                    <a:pt x="2" y="227"/>
                  </a:moveTo>
                  <a:lnTo>
                    <a:pt x="13" y="227"/>
                  </a:lnTo>
                  <a:lnTo>
                    <a:pt x="11" y="0"/>
                  </a:lnTo>
                  <a:lnTo>
                    <a:pt x="0" y="0"/>
                  </a:lnTo>
                  <a:lnTo>
                    <a:pt x="2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15" name="Freeform 86"/>
            <p:cNvSpPr>
              <a:spLocks/>
            </p:cNvSpPr>
            <p:nvPr/>
          </p:nvSpPr>
          <p:spPr bwMode="auto">
            <a:xfrm>
              <a:off x="2885" y="2225"/>
              <a:ext cx="6" cy="5"/>
            </a:xfrm>
            <a:custGeom>
              <a:avLst/>
              <a:gdLst>
                <a:gd name="T0" fmla="*/ 1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1 w 11"/>
                <a:gd name="T7" fmla="*/ 0 h 11"/>
                <a:gd name="T8" fmla="*/ 1 w 11"/>
                <a:gd name="T9" fmla="*/ 0 h 11"/>
                <a:gd name="T10" fmla="*/ 1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lnTo>
                    <a:pt x="0" y="11"/>
                  </a:lnTo>
                  <a:lnTo>
                    <a:pt x="0" y="5"/>
                  </a:lnTo>
                  <a:lnTo>
                    <a:pt x="11" y="5"/>
                  </a:lnTo>
                  <a:lnTo>
                    <a:pt x="6" y="0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16" name="Rectangle 87"/>
            <p:cNvSpPr>
              <a:spLocks noChangeArrowheads="1"/>
            </p:cNvSpPr>
            <p:nvPr/>
          </p:nvSpPr>
          <p:spPr bwMode="auto">
            <a:xfrm>
              <a:off x="2888" y="2110"/>
              <a:ext cx="95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17" name="Freeform 88"/>
            <p:cNvSpPr>
              <a:spLocks/>
            </p:cNvSpPr>
            <p:nvPr/>
          </p:nvSpPr>
          <p:spPr bwMode="auto">
            <a:xfrm>
              <a:off x="2885" y="2110"/>
              <a:ext cx="6" cy="5"/>
            </a:xfrm>
            <a:custGeom>
              <a:avLst/>
              <a:gdLst>
                <a:gd name="T0" fmla="*/ 0 w 11"/>
                <a:gd name="T1" fmla="*/ 1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1 h 11"/>
                <a:gd name="T8" fmla="*/ 0 w 11"/>
                <a:gd name="T9" fmla="*/ 1 h 11"/>
                <a:gd name="T10" fmla="*/ 0 w 11"/>
                <a:gd name="T11" fmla="*/ 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0" y="4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11"/>
                  </a:lnTo>
                  <a:lnTo>
                    <a:pt x="11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18" name="Freeform 89"/>
            <p:cNvSpPr>
              <a:spLocks/>
            </p:cNvSpPr>
            <p:nvPr/>
          </p:nvSpPr>
          <p:spPr bwMode="auto">
            <a:xfrm>
              <a:off x="2983" y="2110"/>
              <a:ext cx="3" cy="5"/>
            </a:xfrm>
            <a:custGeom>
              <a:avLst/>
              <a:gdLst>
                <a:gd name="T0" fmla="*/ 0 w 11"/>
                <a:gd name="T1" fmla="*/ 1 h 11"/>
                <a:gd name="T2" fmla="*/ 0 w 11"/>
                <a:gd name="T3" fmla="*/ 1 h 11"/>
                <a:gd name="T4" fmla="*/ 0 w 11"/>
                <a:gd name="T5" fmla="*/ 1 h 11"/>
                <a:gd name="T6" fmla="*/ 0 w 11"/>
                <a:gd name="T7" fmla="*/ 1 h 11"/>
                <a:gd name="T8" fmla="*/ 0 w 11"/>
                <a:gd name="T9" fmla="*/ 0 h 11"/>
                <a:gd name="T10" fmla="*/ 0 w 11"/>
                <a:gd name="T11" fmla="*/ 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5" y="11"/>
                  </a:moveTo>
                  <a:lnTo>
                    <a:pt x="11" y="11"/>
                  </a:lnTo>
                  <a:lnTo>
                    <a:pt x="11" y="4"/>
                  </a:lnTo>
                  <a:lnTo>
                    <a:pt x="0" y="4"/>
                  </a:lnTo>
                  <a:lnTo>
                    <a:pt x="5" y="0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19" name="Freeform 90"/>
            <p:cNvSpPr>
              <a:spLocks/>
            </p:cNvSpPr>
            <p:nvPr/>
          </p:nvSpPr>
          <p:spPr bwMode="auto">
            <a:xfrm>
              <a:off x="2927" y="2200"/>
              <a:ext cx="62" cy="64"/>
            </a:xfrm>
            <a:custGeom>
              <a:avLst/>
              <a:gdLst>
                <a:gd name="T0" fmla="*/ 0 w 127"/>
                <a:gd name="T1" fmla="*/ 1 h 127"/>
                <a:gd name="T2" fmla="*/ 0 w 127"/>
                <a:gd name="T3" fmla="*/ 1 h 127"/>
                <a:gd name="T4" fmla="*/ 0 w 127"/>
                <a:gd name="T5" fmla="*/ 1 h 127"/>
                <a:gd name="T6" fmla="*/ 0 w 127"/>
                <a:gd name="T7" fmla="*/ 1 h 127"/>
                <a:gd name="T8" fmla="*/ 0 w 127"/>
                <a:gd name="T9" fmla="*/ 1 h 127"/>
                <a:gd name="T10" fmla="*/ 0 w 127"/>
                <a:gd name="T11" fmla="*/ 1 h 127"/>
                <a:gd name="T12" fmla="*/ 0 w 127"/>
                <a:gd name="T13" fmla="*/ 1 h 127"/>
                <a:gd name="T14" fmla="*/ 0 w 127"/>
                <a:gd name="T15" fmla="*/ 1 h 127"/>
                <a:gd name="T16" fmla="*/ 0 w 127"/>
                <a:gd name="T17" fmla="*/ 1 h 127"/>
                <a:gd name="T18" fmla="*/ 0 w 127"/>
                <a:gd name="T19" fmla="*/ 1 h 127"/>
                <a:gd name="T20" fmla="*/ 0 w 127"/>
                <a:gd name="T21" fmla="*/ 1 h 127"/>
                <a:gd name="T22" fmla="*/ 0 w 127"/>
                <a:gd name="T23" fmla="*/ 1 h 127"/>
                <a:gd name="T24" fmla="*/ 0 w 127"/>
                <a:gd name="T25" fmla="*/ 0 h 127"/>
                <a:gd name="T26" fmla="*/ 0 w 127"/>
                <a:gd name="T27" fmla="*/ 1 h 127"/>
                <a:gd name="T28" fmla="*/ 0 w 127"/>
                <a:gd name="T29" fmla="*/ 1 h 127"/>
                <a:gd name="T30" fmla="*/ 0 w 127"/>
                <a:gd name="T31" fmla="*/ 1 h 127"/>
                <a:gd name="T32" fmla="*/ 0 w 127"/>
                <a:gd name="T33" fmla="*/ 1 h 127"/>
                <a:gd name="T34" fmla="*/ 0 w 127"/>
                <a:gd name="T35" fmla="*/ 1 h 127"/>
                <a:gd name="T36" fmla="*/ 0 w 127"/>
                <a:gd name="T37" fmla="*/ 1 h 127"/>
                <a:gd name="T38" fmla="*/ 0 w 127"/>
                <a:gd name="T39" fmla="*/ 1 h 127"/>
                <a:gd name="T40" fmla="*/ 0 w 127"/>
                <a:gd name="T41" fmla="*/ 1 h 127"/>
                <a:gd name="T42" fmla="*/ 0 w 127"/>
                <a:gd name="T43" fmla="*/ 1 h 127"/>
                <a:gd name="T44" fmla="*/ 0 w 127"/>
                <a:gd name="T45" fmla="*/ 1 h 127"/>
                <a:gd name="T46" fmla="*/ 0 w 127"/>
                <a:gd name="T47" fmla="*/ 1 h 127"/>
                <a:gd name="T48" fmla="*/ 0 w 127"/>
                <a:gd name="T49" fmla="*/ 1 h 127"/>
                <a:gd name="T50" fmla="*/ 0 w 127"/>
                <a:gd name="T51" fmla="*/ 1 h 127"/>
                <a:gd name="T52" fmla="*/ 0 w 127"/>
                <a:gd name="T53" fmla="*/ 1 h 127"/>
                <a:gd name="T54" fmla="*/ 0 w 127"/>
                <a:gd name="T55" fmla="*/ 1 h 127"/>
                <a:gd name="T56" fmla="*/ 0 w 127"/>
                <a:gd name="T57" fmla="*/ 1 h 127"/>
                <a:gd name="T58" fmla="*/ 0 w 127"/>
                <a:gd name="T59" fmla="*/ 1 h 127"/>
                <a:gd name="T60" fmla="*/ 0 w 127"/>
                <a:gd name="T61" fmla="*/ 1 h 127"/>
                <a:gd name="T62" fmla="*/ 0 w 127"/>
                <a:gd name="T63" fmla="*/ 1 h 127"/>
                <a:gd name="T64" fmla="*/ 0 w 127"/>
                <a:gd name="T65" fmla="*/ 1 h 127"/>
                <a:gd name="T66" fmla="*/ 0 w 127"/>
                <a:gd name="T67" fmla="*/ 1 h 127"/>
                <a:gd name="T68" fmla="*/ 0 w 127"/>
                <a:gd name="T69" fmla="*/ 1 h 127"/>
                <a:gd name="T70" fmla="*/ 0 w 127"/>
                <a:gd name="T71" fmla="*/ 1 h 127"/>
                <a:gd name="T72" fmla="*/ 0 w 127"/>
                <a:gd name="T73" fmla="*/ 1 h 127"/>
                <a:gd name="T74" fmla="*/ 0 w 127"/>
                <a:gd name="T75" fmla="*/ 1 h 127"/>
                <a:gd name="T76" fmla="*/ 0 w 127"/>
                <a:gd name="T77" fmla="*/ 1 h 127"/>
                <a:gd name="T78" fmla="*/ 0 w 127"/>
                <a:gd name="T79" fmla="*/ 1 h 127"/>
                <a:gd name="T80" fmla="*/ 0 w 127"/>
                <a:gd name="T81" fmla="*/ 1 h 127"/>
                <a:gd name="T82" fmla="*/ 0 w 127"/>
                <a:gd name="T83" fmla="*/ 1 h 127"/>
                <a:gd name="T84" fmla="*/ 0 w 127"/>
                <a:gd name="T85" fmla="*/ 1 h 127"/>
                <a:gd name="T86" fmla="*/ 0 w 127"/>
                <a:gd name="T87" fmla="*/ 1 h 127"/>
                <a:gd name="T88" fmla="*/ 0 w 127"/>
                <a:gd name="T89" fmla="*/ 1 h 127"/>
                <a:gd name="T90" fmla="*/ 0 w 127"/>
                <a:gd name="T91" fmla="*/ 1 h 127"/>
                <a:gd name="T92" fmla="*/ 0 w 127"/>
                <a:gd name="T93" fmla="*/ 1 h 127"/>
                <a:gd name="T94" fmla="*/ 0 w 127"/>
                <a:gd name="T95" fmla="*/ 1 h 127"/>
                <a:gd name="T96" fmla="*/ 0 w 127"/>
                <a:gd name="T97" fmla="*/ 1 h 127"/>
                <a:gd name="T98" fmla="*/ 0 w 127"/>
                <a:gd name="T99" fmla="*/ 1 h 127"/>
                <a:gd name="T100" fmla="*/ 0 w 127"/>
                <a:gd name="T101" fmla="*/ 1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7" h="127">
                  <a:moveTo>
                    <a:pt x="0" y="65"/>
                  </a:moveTo>
                  <a:lnTo>
                    <a:pt x="0" y="51"/>
                  </a:lnTo>
                  <a:lnTo>
                    <a:pt x="2" y="45"/>
                  </a:lnTo>
                  <a:lnTo>
                    <a:pt x="5" y="39"/>
                  </a:lnTo>
                  <a:lnTo>
                    <a:pt x="8" y="34"/>
                  </a:lnTo>
                  <a:lnTo>
                    <a:pt x="11" y="28"/>
                  </a:lnTo>
                  <a:lnTo>
                    <a:pt x="19" y="19"/>
                  </a:lnTo>
                  <a:lnTo>
                    <a:pt x="23" y="16"/>
                  </a:lnTo>
                  <a:lnTo>
                    <a:pt x="28" y="11"/>
                  </a:lnTo>
                  <a:lnTo>
                    <a:pt x="32" y="8"/>
                  </a:lnTo>
                  <a:lnTo>
                    <a:pt x="39" y="5"/>
                  </a:lnTo>
                  <a:lnTo>
                    <a:pt x="51" y="2"/>
                  </a:lnTo>
                  <a:lnTo>
                    <a:pt x="63" y="0"/>
                  </a:lnTo>
                  <a:lnTo>
                    <a:pt x="75" y="2"/>
                  </a:lnTo>
                  <a:lnTo>
                    <a:pt x="81" y="3"/>
                  </a:lnTo>
                  <a:lnTo>
                    <a:pt x="87" y="5"/>
                  </a:lnTo>
                  <a:lnTo>
                    <a:pt x="94" y="8"/>
                  </a:lnTo>
                  <a:lnTo>
                    <a:pt x="98" y="11"/>
                  </a:lnTo>
                  <a:lnTo>
                    <a:pt x="107" y="19"/>
                  </a:lnTo>
                  <a:lnTo>
                    <a:pt x="112" y="23"/>
                  </a:lnTo>
                  <a:lnTo>
                    <a:pt x="116" y="28"/>
                  </a:lnTo>
                  <a:lnTo>
                    <a:pt x="120" y="34"/>
                  </a:lnTo>
                  <a:lnTo>
                    <a:pt x="121" y="39"/>
                  </a:lnTo>
                  <a:lnTo>
                    <a:pt x="126" y="51"/>
                  </a:lnTo>
                  <a:lnTo>
                    <a:pt x="126" y="57"/>
                  </a:lnTo>
                  <a:lnTo>
                    <a:pt x="127" y="65"/>
                  </a:lnTo>
                  <a:lnTo>
                    <a:pt x="126" y="77"/>
                  </a:lnTo>
                  <a:lnTo>
                    <a:pt x="124" y="83"/>
                  </a:lnTo>
                  <a:lnTo>
                    <a:pt x="121" y="89"/>
                  </a:lnTo>
                  <a:lnTo>
                    <a:pt x="120" y="94"/>
                  </a:lnTo>
                  <a:lnTo>
                    <a:pt x="116" y="100"/>
                  </a:lnTo>
                  <a:lnTo>
                    <a:pt x="107" y="109"/>
                  </a:lnTo>
                  <a:lnTo>
                    <a:pt x="104" y="114"/>
                  </a:lnTo>
                  <a:lnTo>
                    <a:pt x="98" y="117"/>
                  </a:lnTo>
                  <a:lnTo>
                    <a:pt x="94" y="120"/>
                  </a:lnTo>
                  <a:lnTo>
                    <a:pt x="87" y="123"/>
                  </a:lnTo>
                  <a:lnTo>
                    <a:pt x="75" y="126"/>
                  </a:lnTo>
                  <a:lnTo>
                    <a:pt x="63" y="127"/>
                  </a:lnTo>
                  <a:lnTo>
                    <a:pt x="51" y="126"/>
                  </a:lnTo>
                  <a:lnTo>
                    <a:pt x="45" y="124"/>
                  </a:lnTo>
                  <a:lnTo>
                    <a:pt x="39" y="123"/>
                  </a:lnTo>
                  <a:lnTo>
                    <a:pt x="32" y="120"/>
                  </a:lnTo>
                  <a:lnTo>
                    <a:pt x="28" y="117"/>
                  </a:lnTo>
                  <a:lnTo>
                    <a:pt x="19" y="109"/>
                  </a:lnTo>
                  <a:lnTo>
                    <a:pt x="14" y="104"/>
                  </a:lnTo>
                  <a:lnTo>
                    <a:pt x="11" y="100"/>
                  </a:lnTo>
                  <a:lnTo>
                    <a:pt x="8" y="94"/>
                  </a:lnTo>
                  <a:lnTo>
                    <a:pt x="5" y="89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20" name="Freeform 91"/>
            <p:cNvSpPr>
              <a:spLocks/>
            </p:cNvSpPr>
            <p:nvPr/>
          </p:nvSpPr>
          <p:spPr bwMode="auto">
            <a:xfrm>
              <a:off x="2921" y="2196"/>
              <a:ext cx="39" cy="37"/>
            </a:xfrm>
            <a:custGeom>
              <a:avLst/>
              <a:gdLst>
                <a:gd name="T0" fmla="*/ 0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0 w 70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0" h="71">
                  <a:moveTo>
                    <a:pt x="0" y="69"/>
                  </a:moveTo>
                  <a:lnTo>
                    <a:pt x="1" y="55"/>
                  </a:lnTo>
                  <a:lnTo>
                    <a:pt x="3" y="49"/>
                  </a:lnTo>
                  <a:lnTo>
                    <a:pt x="6" y="43"/>
                  </a:lnTo>
                  <a:lnTo>
                    <a:pt x="9" y="37"/>
                  </a:lnTo>
                  <a:lnTo>
                    <a:pt x="12" y="31"/>
                  </a:lnTo>
                  <a:lnTo>
                    <a:pt x="20" y="20"/>
                  </a:lnTo>
                  <a:lnTo>
                    <a:pt x="26" y="16"/>
                  </a:lnTo>
                  <a:lnTo>
                    <a:pt x="30" y="13"/>
                  </a:lnTo>
                  <a:lnTo>
                    <a:pt x="36" y="8"/>
                  </a:lnTo>
                  <a:lnTo>
                    <a:pt x="43" y="5"/>
                  </a:lnTo>
                  <a:lnTo>
                    <a:pt x="56" y="2"/>
                  </a:lnTo>
                  <a:lnTo>
                    <a:pt x="70" y="0"/>
                  </a:lnTo>
                  <a:lnTo>
                    <a:pt x="70" y="14"/>
                  </a:lnTo>
                  <a:lnTo>
                    <a:pt x="58" y="14"/>
                  </a:lnTo>
                  <a:lnTo>
                    <a:pt x="47" y="19"/>
                  </a:lnTo>
                  <a:lnTo>
                    <a:pt x="43" y="20"/>
                  </a:lnTo>
                  <a:lnTo>
                    <a:pt x="38" y="23"/>
                  </a:lnTo>
                  <a:lnTo>
                    <a:pt x="33" y="26"/>
                  </a:lnTo>
                  <a:lnTo>
                    <a:pt x="30" y="29"/>
                  </a:lnTo>
                  <a:lnTo>
                    <a:pt x="23" y="39"/>
                  </a:lnTo>
                  <a:lnTo>
                    <a:pt x="20" y="43"/>
                  </a:lnTo>
                  <a:lnTo>
                    <a:pt x="18" y="48"/>
                  </a:lnTo>
                  <a:lnTo>
                    <a:pt x="15" y="54"/>
                  </a:lnTo>
                  <a:lnTo>
                    <a:pt x="15" y="58"/>
                  </a:lnTo>
                  <a:lnTo>
                    <a:pt x="13" y="71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21" name="Freeform 92"/>
            <p:cNvSpPr>
              <a:spLocks/>
            </p:cNvSpPr>
            <p:nvPr/>
          </p:nvSpPr>
          <p:spPr bwMode="auto">
            <a:xfrm>
              <a:off x="2959" y="2196"/>
              <a:ext cx="36" cy="37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w 70"/>
                <a:gd name="T55" fmla="*/ 0 h 71"/>
                <a:gd name="T56" fmla="*/ 1 w 70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0" h="71">
                  <a:moveTo>
                    <a:pt x="2" y="0"/>
                  </a:moveTo>
                  <a:lnTo>
                    <a:pt x="14" y="2"/>
                  </a:lnTo>
                  <a:lnTo>
                    <a:pt x="21" y="3"/>
                  </a:lnTo>
                  <a:lnTo>
                    <a:pt x="27" y="5"/>
                  </a:lnTo>
                  <a:lnTo>
                    <a:pt x="34" y="8"/>
                  </a:lnTo>
                  <a:lnTo>
                    <a:pt x="40" y="13"/>
                  </a:lnTo>
                  <a:lnTo>
                    <a:pt x="49" y="20"/>
                  </a:lnTo>
                  <a:lnTo>
                    <a:pt x="53" y="25"/>
                  </a:lnTo>
                  <a:lnTo>
                    <a:pt x="58" y="31"/>
                  </a:lnTo>
                  <a:lnTo>
                    <a:pt x="61" y="37"/>
                  </a:lnTo>
                  <a:lnTo>
                    <a:pt x="64" y="43"/>
                  </a:lnTo>
                  <a:lnTo>
                    <a:pt x="69" y="55"/>
                  </a:lnTo>
                  <a:lnTo>
                    <a:pt x="70" y="63"/>
                  </a:lnTo>
                  <a:lnTo>
                    <a:pt x="70" y="69"/>
                  </a:lnTo>
                  <a:lnTo>
                    <a:pt x="57" y="71"/>
                  </a:lnTo>
                  <a:lnTo>
                    <a:pt x="57" y="65"/>
                  </a:lnTo>
                  <a:lnTo>
                    <a:pt x="57" y="58"/>
                  </a:lnTo>
                  <a:lnTo>
                    <a:pt x="52" y="48"/>
                  </a:lnTo>
                  <a:lnTo>
                    <a:pt x="50" y="43"/>
                  </a:lnTo>
                  <a:lnTo>
                    <a:pt x="47" y="39"/>
                  </a:lnTo>
                  <a:lnTo>
                    <a:pt x="44" y="34"/>
                  </a:lnTo>
                  <a:lnTo>
                    <a:pt x="40" y="29"/>
                  </a:lnTo>
                  <a:lnTo>
                    <a:pt x="32" y="23"/>
                  </a:lnTo>
                  <a:lnTo>
                    <a:pt x="27" y="20"/>
                  </a:lnTo>
                  <a:lnTo>
                    <a:pt x="21" y="17"/>
                  </a:lnTo>
                  <a:lnTo>
                    <a:pt x="17" y="16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22" name="Freeform 93"/>
            <p:cNvSpPr>
              <a:spLocks/>
            </p:cNvSpPr>
            <p:nvPr/>
          </p:nvSpPr>
          <p:spPr bwMode="auto">
            <a:xfrm>
              <a:off x="2959" y="2196"/>
              <a:ext cx="0" cy="8"/>
            </a:xfrm>
            <a:custGeom>
              <a:avLst/>
              <a:gdLst>
                <a:gd name="T0" fmla="*/ 0 w 2"/>
                <a:gd name="T1" fmla="*/ 0 h 14"/>
                <a:gd name="T2" fmla="*/ 1 w 2"/>
                <a:gd name="T3" fmla="*/ 0 h 14"/>
                <a:gd name="T4" fmla="*/ 0 w 2"/>
                <a:gd name="T5" fmla="*/ 1 h 14"/>
                <a:gd name="T6" fmla="*/ 0 w 2"/>
                <a:gd name="T7" fmla="*/ 0 h 1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14">
                  <a:moveTo>
                    <a:pt x="0" y="0"/>
                  </a:moveTo>
                  <a:lnTo>
                    <a:pt x="2" y="0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23" name="Freeform 94"/>
            <p:cNvSpPr>
              <a:spLocks/>
            </p:cNvSpPr>
            <p:nvPr/>
          </p:nvSpPr>
          <p:spPr bwMode="auto">
            <a:xfrm>
              <a:off x="2956" y="2233"/>
              <a:ext cx="36" cy="34"/>
            </a:xfrm>
            <a:custGeom>
              <a:avLst/>
              <a:gdLst>
                <a:gd name="T0" fmla="*/ 1 w 72"/>
                <a:gd name="T1" fmla="*/ 0 h 71"/>
                <a:gd name="T2" fmla="*/ 1 w 72"/>
                <a:gd name="T3" fmla="*/ 0 h 71"/>
                <a:gd name="T4" fmla="*/ 1 w 72"/>
                <a:gd name="T5" fmla="*/ 0 h 71"/>
                <a:gd name="T6" fmla="*/ 1 w 72"/>
                <a:gd name="T7" fmla="*/ 0 h 71"/>
                <a:gd name="T8" fmla="*/ 1 w 72"/>
                <a:gd name="T9" fmla="*/ 0 h 71"/>
                <a:gd name="T10" fmla="*/ 1 w 72"/>
                <a:gd name="T11" fmla="*/ 0 h 71"/>
                <a:gd name="T12" fmla="*/ 1 w 72"/>
                <a:gd name="T13" fmla="*/ 0 h 71"/>
                <a:gd name="T14" fmla="*/ 1 w 72"/>
                <a:gd name="T15" fmla="*/ 0 h 71"/>
                <a:gd name="T16" fmla="*/ 1 w 72"/>
                <a:gd name="T17" fmla="*/ 0 h 71"/>
                <a:gd name="T18" fmla="*/ 1 w 72"/>
                <a:gd name="T19" fmla="*/ 0 h 71"/>
                <a:gd name="T20" fmla="*/ 1 w 72"/>
                <a:gd name="T21" fmla="*/ 0 h 71"/>
                <a:gd name="T22" fmla="*/ 1 w 72"/>
                <a:gd name="T23" fmla="*/ 0 h 71"/>
                <a:gd name="T24" fmla="*/ 1 w 72"/>
                <a:gd name="T25" fmla="*/ 0 h 71"/>
                <a:gd name="T26" fmla="*/ 0 w 72"/>
                <a:gd name="T27" fmla="*/ 0 h 71"/>
                <a:gd name="T28" fmla="*/ 1 w 72"/>
                <a:gd name="T29" fmla="*/ 0 h 71"/>
                <a:gd name="T30" fmla="*/ 1 w 72"/>
                <a:gd name="T31" fmla="*/ 0 h 71"/>
                <a:gd name="T32" fmla="*/ 1 w 72"/>
                <a:gd name="T33" fmla="*/ 0 h 71"/>
                <a:gd name="T34" fmla="*/ 1 w 72"/>
                <a:gd name="T35" fmla="*/ 0 h 71"/>
                <a:gd name="T36" fmla="*/ 1 w 72"/>
                <a:gd name="T37" fmla="*/ 0 h 71"/>
                <a:gd name="T38" fmla="*/ 1 w 72"/>
                <a:gd name="T39" fmla="*/ 0 h 71"/>
                <a:gd name="T40" fmla="*/ 1 w 72"/>
                <a:gd name="T41" fmla="*/ 0 h 71"/>
                <a:gd name="T42" fmla="*/ 1 w 72"/>
                <a:gd name="T43" fmla="*/ 0 h 71"/>
                <a:gd name="T44" fmla="*/ 1 w 72"/>
                <a:gd name="T45" fmla="*/ 0 h 71"/>
                <a:gd name="T46" fmla="*/ 1 w 72"/>
                <a:gd name="T47" fmla="*/ 0 h 71"/>
                <a:gd name="T48" fmla="*/ 1 w 72"/>
                <a:gd name="T49" fmla="*/ 0 h 71"/>
                <a:gd name="T50" fmla="*/ 1 w 72"/>
                <a:gd name="T51" fmla="*/ 0 h 71"/>
                <a:gd name="T52" fmla="*/ 1 w 72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2" h="71">
                  <a:moveTo>
                    <a:pt x="72" y="2"/>
                  </a:moveTo>
                  <a:lnTo>
                    <a:pt x="71" y="14"/>
                  </a:lnTo>
                  <a:lnTo>
                    <a:pt x="69" y="22"/>
                  </a:lnTo>
                  <a:lnTo>
                    <a:pt x="66" y="28"/>
                  </a:lnTo>
                  <a:lnTo>
                    <a:pt x="63" y="34"/>
                  </a:lnTo>
                  <a:lnTo>
                    <a:pt x="60" y="41"/>
                  </a:lnTo>
                  <a:lnTo>
                    <a:pt x="52" y="51"/>
                  </a:lnTo>
                  <a:lnTo>
                    <a:pt x="46" y="55"/>
                  </a:lnTo>
                  <a:lnTo>
                    <a:pt x="42" y="60"/>
                  </a:lnTo>
                  <a:lnTo>
                    <a:pt x="36" y="63"/>
                  </a:lnTo>
                  <a:lnTo>
                    <a:pt x="29" y="66"/>
                  </a:lnTo>
                  <a:lnTo>
                    <a:pt x="16" y="71"/>
                  </a:lnTo>
                  <a:lnTo>
                    <a:pt x="4" y="71"/>
                  </a:lnTo>
                  <a:lnTo>
                    <a:pt x="0" y="58"/>
                  </a:lnTo>
                  <a:lnTo>
                    <a:pt x="13" y="57"/>
                  </a:lnTo>
                  <a:lnTo>
                    <a:pt x="23" y="54"/>
                  </a:lnTo>
                  <a:lnTo>
                    <a:pt x="29" y="51"/>
                  </a:lnTo>
                  <a:lnTo>
                    <a:pt x="34" y="49"/>
                  </a:lnTo>
                  <a:lnTo>
                    <a:pt x="39" y="45"/>
                  </a:lnTo>
                  <a:lnTo>
                    <a:pt x="42" y="41"/>
                  </a:lnTo>
                  <a:lnTo>
                    <a:pt x="49" y="32"/>
                  </a:lnTo>
                  <a:lnTo>
                    <a:pt x="52" y="28"/>
                  </a:lnTo>
                  <a:lnTo>
                    <a:pt x="54" y="23"/>
                  </a:lnTo>
                  <a:lnTo>
                    <a:pt x="57" y="19"/>
                  </a:lnTo>
                  <a:lnTo>
                    <a:pt x="57" y="12"/>
                  </a:lnTo>
                  <a:lnTo>
                    <a:pt x="59" y="0"/>
                  </a:lnTo>
                  <a:lnTo>
                    <a:pt x="72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24" name="Freeform 95"/>
            <p:cNvSpPr>
              <a:spLocks/>
            </p:cNvSpPr>
            <p:nvPr/>
          </p:nvSpPr>
          <p:spPr bwMode="auto">
            <a:xfrm>
              <a:off x="2986" y="2233"/>
              <a:ext cx="9" cy="0"/>
            </a:xfrm>
            <a:custGeom>
              <a:avLst/>
              <a:gdLst>
                <a:gd name="T0" fmla="*/ 1 w 13"/>
                <a:gd name="T1" fmla="*/ 0 h 2"/>
                <a:gd name="T2" fmla="*/ 1 w 13"/>
                <a:gd name="T3" fmla="*/ 1 h 2"/>
                <a:gd name="T4" fmla="*/ 0 w 13"/>
                <a:gd name="T5" fmla="*/ 0 h 2"/>
                <a:gd name="T6" fmla="*/ 0 w 13"/>
                <a:gd name="T7" fmla="*/ 1 h 2"/>
                <a:gd name="T8" fmla="*/ 1 w 1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13" y="0"/>
                  </a:moveTo>
                  <a:lnTo>
                    <a:pt x="1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25" name="Freeform 96"/>
            <p:cNvSpPr>
              <a:spLocks/>
            </p:cNvSpPr>
            <p:nvPr/>
          </p:nvSpPr>
          <p:spPr bwMode="auto">
            <a:xfrm>
              <a:off x="2921" y="2233"/>
              <a:ext cx="39" cy="34"/>
            </a:xfrm>
            <a:custGeom>
              <a:avLst/>
              <a:gdLst>
                <a:gd name="T0" fmla="*/ 1 w 72"/>
                <a:gd name="T1" fmla="*/ 0 h 71"/>
                <a:gd name="T2" fmla="*/ 1 w 72"/>
                <a:gd name="T3" fmla="*/ 0 h 71"/>
                <a:gd name="T4" fmla="*/ 1 w 72"/>
                <a:gd name="T5" fmla="*/ 0 h 71"/>
                <a:gd name="T6" fmla="*/ 1 w 72"/>
                <a:gd name="T7" fmla="*/ 0 h 71"/>
                <a:gd name="T8" fmla="*/ 1 w 72"/>
                <a:gd name="T9" fmla="*/ 0 h 71"/>
                <a:gd name="T10" fmla="*/ 1 w 72"/>
                <a:gd name="T11" fmla="*/ 0 h 71"/>
                <a:gd name="T12" fmla="*/ 1 w 72"/>
                <a:gd name="T13" fmla="*/ 0 h 71"/>
                <a:gd name="T14" fmla="*/ 1 w 72"/>
                <a:gd name="T15" fmla="*/ 0 h 71"/>
                <a:gd name="T16" fmla="*/ 1 w 72"/>
                <a:gd name="T17" fmla="*/ 0 h 71"/>
                <a:gd name="T18" fmla="*/ 1 w 72"/>
                <a:gd name="T19" fmla="*/ 0 h 71"/>
                <a:gd name="T20" fmla="*/ 1 w 72"/>
                <a:gd name="T21" fmla="*/ 0 h 71"/>
                <a:gd name="T22" fmla="*/ 1 w 72"/>
                <a:gd name="T23" fmla="*/ 0 h 71"/>
                <a:gd name="T24" fmla="*/ 0 w 72"/>
                <a:gd name="T25" fmla="*/ 0 h 71"/>
                <a:gd name="T26" fmla="*/ 0 w 72"/>
                <a:gd name="T27" fmla="*/ 0 h 71"/>
                <a:gd name="T28" fmla="*/ 1 w 72"/>
                <a:gd name="T29" fmla="*/ 0 h 71"/>
                <a:gd name="T30" fmla="*/ 1 w 72"/>
                <a:gd name="T31" fmla="*/ 0 h 71"/>
                <a:gd name="T32" fmla="*/ 1 w 72"/>
                <a:gd name="T33" fmla="*/ 0 h 71"/>
                <a:gd name="T34" fmla="*/ 1 w 72"/>
                <a:gd name="T35" fmla="*/ 0 h 71"/>
                <a:gd name="T36" fmla="*/ 1 w 72"/>
                <a:gd name="T37" fmla="*/ 0 h 71"/>
                <a:gd name="T38" fmla="*/ 1 w 72"/>
                <a:gd name="T39" fmla="*/ 0 h 71"/>
                <a:gd name="T40" fmla="*/ 1 w 72"/>
                <a:gd name="T41" fmla="*/ 0 h 71"/>
                <a:gd name="T42" fmla="*/ 1 w 72"/>
                <a:gd name="T43" fmla="*/ 0 h 71"/>
                <a:gd name="T44" fmla="*/ 1 w 72"/>
                <a:gd name="T45" fmla="*/ 0 h 71"/>
                <a:gd name="T46" fmla="*/ 1 w 72"/>
                <a:gd name="T47" fmla="*/ 0 h 71"/>
                <a:gd name="T48" fmla="*/ 1 w 72"/>
                <a:gd name="T49" fmla="*/ 0 h 71"/>
                <a:gd name="T50" fmla="*/ 1 w 72"/>
                <a:gd name="T51" fmla="*/ 0 h 71"/>
                <a:gd name="T52" fmla="*/ 1 w 72"/>
                <a:gd name="T53" fmla="*/ 0 h 71"/>
                <a:gd name="T54" fmla="*/ 1 w 72"/>
                <a:gd name="T55" fmla="*/ 0 h 71"/>
                <a:gd name="T56" fmla="*/ 1 w 72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2" h="71">
                  <a:moveTo>
                    <a:pt x="70" y="71"/>
                  </a:moveTo>
                  <a:lnTo>
                    <a:pt x="56" y="71"/>
                  </a:lnTo>
                  <a:lnTo>
                    <a:pt x="49" y="69"/>
                  </a:lnTo>
                  <a:lnTo>
                    <a:pt x="43" y="66"/>
                  </a:lnTo>
                  <a:lnTo>
                    <a:pt x="36" y="63"/>
                  </a:lnTo>
                  <a:lnTo>
                    <a:pt x="30" y="60"/>
                  </a:lnTo>
                  <a:lnTo>
                    <a:pt x="21" y="51"/>
                  </a:lnTo>
                  <a:lnTo>
                    <a:pt x="17" y="46"/>
                  </a:lnTo>
                  <a:lnTo>
                    <a:pt x="12" y="40"/>
                  </a:lnTo>
                  <a:lnTo>
                    <a:pt x="9" y="35"/>
                  </a:lnTo>
                  <a:lnTo>
                    <a:pt x="6" y="28"/>
                  </a:lnTo>
                  <a:lnTo>
                    <a:pt x="1" y="15"/>
                  </a:lnTo>
                  <a:lnTo>
                    <a:pt x="0" y="8"/>
                  </a:lnTo>
                  <a:lnTo>
                    <a:pt x="0" y="2"/>
                  </a:lnTo>
                  <a:lnTo>
                    <a:pt x="13" y="0"/>
                  </a:lnTo>
                  <a:lnTo>
                    <a:pt x="13" y="6"/>
                  </a:lnTo>
                  <a:lnTo>
                    <a:pt x="13" y="12"/>
                  </a:lnTo>
                  <a:lnTo>
                    <a:pt x="18" y="23"/>
                  </a:lnTo>
                  <a:lnTo>
                    <a:pt x="20" y="28"/>
                  </a:lnTo>
                  <a:lnTo>
                    <a:pt x="23" y="32"/>
                  </a:lnTo>
                  <a:lnTo>
                    <a:pt x="26" y="37"/>
                  </a:lnTo>
                  <a:lnTo>
                    <a:pt x="30" y="41"/>
                  </a:lnTo>
                  <a:lnTo>
                    <a:pt x="38" y="49"/>
                  </a:lnTo>
                  <a:lnTo>
                    <a:pt x="43" y="51"/>
                  </a:lnTo>
                  <a:lnTo>
                    <a:pt x="49" y="54"/>
                  </a:lnTo>
                  <a:lnTo>
                    <a:pt x="53" y="55"/>
                  </a:lnTo>
                  <a:lnTo>
                    <a:pt x="58" y="57"/>
                  </a:lnTo>
                  <a:lnTo>
                    <a:pt x="72" y="58"/>
                  </a:lnTo>
                  <a:lnTo>
                    <a:pt x="70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26" name="Freeform 97"/>
            <p:cNvSpPr>
              <a:spLocks/>
            </p:cNvSpPr>
            <p:nvPr/>
          </p:nvSpPr>
          <p:spPr bwMode="auto">
            <a:xfrm>
              <a:off x="2956" y="2260"/>
              <a:ext cx="3" cy="7"/>
            </a:xfrm>
            <a:custGeom>
              <a:avLst/>
              <a:gdLst>
                <a:gd name="T0" fmla="*/ 1 w 4"/>
                <a:gd name="T1" fmla="*/ 0 h 13"/>
                <a:gd name="T2" fmla="*/ 1 w 4"/>
                <a:gd name="T3" fmla="*/ 0 h 13"/>
                <a:gd name="T4" fmla="*/ 1 w 4"/>
                <a:gd name="T5" fmla="*/ 0 h 13"/>
                <a:gd name="T6" fmla="*/ 0 w 4"/>
                <a:gd name="T7" fmla="*/ 0 h 13"/>
                <a:gd name="T8" fmla="*/ 1 w 4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" h="13">
                  <a:moveTo>
                    <a:pt x="4" y="13"/>
                  </a:moveTo>
                  <a:lnTo>
                    <a:pt x="2" y="13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27" name="Freeform 98"/>
            <p:cNvSpPr>
              <a:spLocks/>
            </p:cNvSpPr>
            <p:nvPr/>
          </p:nvSpPr>
          <p:spPr bwMode="auto">
            <a:xfrm>
              <a:off x="2921" y="2233"/>
              <a:ext cx="9" cy="0"/>
            </a:xfrm>
            <a:custGeom>
              <a:avLst/>
              <a:gdLst>
                <a:gd name="T0" fmla="*/ 0 w 13"/>
                <a:gd name="T1" fmla="*/ 1 h 2"/>
                <a:gd name="T2" fmla="*/ 0 w 13"/>
                <a:gd name="T3" fmla="*/ 0 h 2"/>
                <a:gd name="T4" fmla="*/ 1 w 13"/>
                <a:gd name="T5" fmla="*/ 1 h 2"/>
                <a:gd name="T6" fmla="*/ 1 w 13"/>
                <a:gd name="T7" fmla="*/ 0 h 2"/>
                <a:gd name="T8" fmla="*/ 0 w 13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0" y="2"/>
                  </a:moveTo>
                  <a:lnTo>
                    <a:pt x="0" y="0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28" name="Freeform 99"/>
            <p:cNvSpPr>
              <a:spLocks/>
            </p:cNvSpPr>
            <p:nvPr/>
          </p:nvSpPr>
          <p:spPr bwMode="auto">
            <a:xfrm>
              <a:off x="3197" y="2200"/>
              <a:ext cx="62" cy="64"/>
            </a:xfrm>
            <a:custGeom>
              <a:avLst/>
              <a:gdLst>
                <a:gd name="T0" fmla="*/ 0 w 126"/>
                <a:gd name="T1" fmla="*/ 1 h 127"/>
                <a:gd name="T2" fmla="*/ 1 w 126"/>
                <a:gd name="T3" fmla="*/ 1 h 127"/>
                <a:gd name="T4" fmla="*/ 1 w 126"/>
                <a:gd name="T5" fmla="*/ 1 h 127"/>
                <a:gd name="T6" fmla="*/ 1 w 126"/>
                <a:gd name="T7" fmla="*/ 1 h 127"/>
                <a:gd name="T8" fmla="*/ 1 w 126"/>
                <a:gd name="T9" fmla="*/ 1 h 127"/>
                <a:gd name="T10" fmla="*/ 1 w 126"/>
                <a:gd name="T11" fmla="*/ 1 h 127"/>
                <a:gd name="T12" fmla="*/ 1 w 126"/>
                <a:gd name="T13" fmla="*/ 1 h 127"/>
                <a:gd name="T14" fmla="*/ 1 w 126"/>
                <a:gd name="T15" fmla="*/ 1 h 127"/>
                <a:gd name="T16" fmla="*/ 1 w 126"/>
                <a:gd name="T17" fmla="*/ 1 h 127"/>
                <a:gd name="T18" fmla="*/ 1 w 126"/>
                <a:gd name="T19" fmla="*/ 1 h 127"/>
                <a:gd name="T20" fmla="*/ 1 w 126"/>
                <a:gd name="T21" fmla="*/ 1 h 127"/>
                <a:gd name="T22" fmla="*/ 1 w 126"/>
                <a:gd name="T23" fmla="*/ 1 h 127"/>
                <a:gd name="T24" fmla="*/ 1 w 126"/>
                <a:gd name="T25" fmla="*/ 0 h 127"/>
                <a:gd name="T26" fmla="*/ 1 w 126"/>
                <a:gd name="T27" fmla="*/ 1 h 127"/>
                <a:gd name="T28" fmla="*/ 1 w 126"/>
                <a:gd name="T29" fmla="*/ 1 h 127"/>
                <a:gd name="T30" fmla="*/ 1 w 126"/>
                <a:gd name="T31" fmla="*/ 1 h 127"/>
                <a:gd name="T32" fmla="*/ 1 w 126"/>
                <a:gd name="T33" fmla="*/ 1 h 127"/>
                <a:gd name="T34" fmla="*/ 1 w 126"/>
                <a:gd name="T35" fmla="*/ 1 h 127"/>
                <a:gd name="T36" fmla="*/ 1 w 126"/>
                <a:gd name="T37" fmla="*/ 1 h 127"/>
                <a:gd name="T38" fmla="*/ 1 w 126"/>
                <a:gd name="T39" fmla="*/ 1 h 127"/>
                <a:gd name="T40" fmla="*/ 1 w 126"/>
                <a:gd name="T41" fmla="*/ 1 h 127"/>
                <a:gd name="T42" fmla="*/ 1 w 126"/>
                <a:gd name="T43" fmla="*/ 1 h 127"/>
                <a:gd name="T44" fmla="*/ 1 w 126"/>
                <a:gd name="T45" fmla="*/ 1 h 127"/>
                <a:gd name="T46" fmla="*/ 1 w 126"/>
                <a:gd name="T47" fmla="*/ 1 h 127"/>
                <a:gd name="T48" fmla="*/ 1 w 126"/>
                <a:gd name="T49" fmla="*/ 1 h 127"/>
                <a:gd name="T50" fmla="*/ 1 w 126"/>
                <a:gd name="T51" fmla="*/ 1 h 127"/>
                <a:gd name="T52" fmla="*/ 1 w 126"/>
                <a:gd name="T53" fmla="*/ 1 h 127"/>
                <a:gd name="T54" fmla="*/ 1 w 126"/>
                <a:gd name="T55" fmla="*/ 1 h 127"/>
                <a:gd name="T56" fmla="*/ 1 w 126"/>
                <a:gd name="T57" fmla="*/ 1 h 127"/>
                <a:gd name="T58" fmla="*/ 1 w 126"/>
                <a:gd name="T59" fmla="*/ 1 h 127"/>
                <a:gd name="T60" fmla="*/ 1 w 126"/>
                <a:gd name="T61" fmla="*/ 1 h 127"/>
                <a:gd name="T62" fmla="*/ 1 w 126"/>
                <a:gd name="T63" fmla="*/ 1 h 127"/>
                <a:gd name="T64" fmla="*/ 1 w 126"/>
                <a:gd name="T65" fmla="*/ 1 h 127"/>
                <a:gd name="T66" fmla="*/ 1 w 126"/>
                <a:gd name="T67" fmla="*/ 1 h 127"/>
                <a:gd name="T68" fmla="*/ 1 w 126"/>
                <a:gd name="T69" fmla="*/ 1 h 127"/>
                <a:gd name="T70" fmla="*/ 1 w 126"/>
                <a:gd name="T71" fmla="*/ 1 h 127"/>
                <a:gd name="T72" fmla="*/ 1 w 126"/>
                <a:gd name="T73" fmla="*/ 1 h 127"/>
                <a:gd name="T74" fmla="*/ 1 w 126"/>
                <a:gd name="T75" fmla="*/ 1 h 127"/>
                <a:gd name="T76" fmla="*/ 1 w 126"/>
                <a:gd name="T77" fmla="*/ 1 h 127"/>
                <a:gd name="T78" fmla="*/ 1 w 126"/>
                <a:gd name="T79" fmla="*/ 1 h 127"/>
                <a:gd name="T80" fmla="*/ 1 w 126"/>
                <a:gd name="T81" fmla="*/ 1 h 127"/>
                <a:gd name="T82" fmla="*/ 1 w 126"/>
                <a:gd name="T83" fmla="*/ 1 h 127"/>
                <a:gd name="T84" fmla="*/ 1 w 126"/>
                <a:gd name="T85" fmla="*/ 1 h 127"/>
                <a:gd name="T86" fmla="*/ 1 w 126"/>
                <a:gd name="T87" fmla="*/ 1 h 127"/>
                <a:gd name="T88" fmla="*/ 1 w 126"/>
                <a:gd name="T89" fmla="*/ 1 h 127"/>
                <a:gd name="T90" fmla="*/ 1 w 126"/>
                <a:gd name="T91" fmla="*/ 1 h 127"/>
                <a:gd name="T92" fmla="*/ 1 w 126"/>
                <a:gd name="T93" fmla="*/ 1 h 127"/>
                <a:gd name="T94" fmla="*/ 1 w 126"/>
                <a:gd name="T95" fmla="*/ 1 h 127"/>
                <a:gd name="T96" fmla="*/ 1 w 126"/>
                <a:gd name="T97" fmla="*/ 1 h 127"/>
                <a:gd name="T98" fmla="*/ 0 w 126"/>
                <a:gd name="T99" fmla="*/ 1 h 127"/>
                <a:gd name="T100" fmla="*/ 0 w 126"/>
                <a:gd name="T101" fmla="*/ 1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6" h="127">
                  <a:moveTo>
                    <a:pt x="0" y="65"/>
                  </a:moveTo>
                  <a:lnTo>
                    <a:pt x="1" y="51"/>
                  </a:lnTo>
                  <a:lnTo>
                    <a:pt x="3" y="45"/>
                  </a:lnTo>
                  <a:lnTo>
                    <a:pt x="4" y="39"/>
                  </a:lnTo>
                  <a:lnTo>
                    <a:pt x="7" y="34"/>
                  </a:lnTo>
                  <a:lnTo>
                    <a:pt x="10" y="28"/>
                  </a:lnTo>
                  <a:lnTo>
                    <a:pt x="18" y="19"/>
                  </a:lnTo>
                  <a:lnTo>
                    <a:pt x="22" y="16"/>
                  </a:lnTo>
                  <a:lnTo>
                    <a:pt x="27" y="11"/>
                  </a:lnTo>
                  <a:lnTo>
                    <a:pt x="33" y="8"/>
                  </a:lnTo>
                  <a:lnTo>
                    <a:pt x="38" y="5"/>
                  </a:lnTo>
                  <a:lnTo>
                    <a:pt x="50" y="2"/>
                  </a:lnTo>
                  <a:lnTo>
                    <a:pt x="64" y="0"/>
                  </a:lnTo>
                  <a:lnTo>
                    <a:pt x="76" y="2"/>
                  </a:lnTo>
                  <a:lnTo>
                    <a:pt x="82" y="3"/>
                  </a:lnTo>
                  <a:lnTo>
                    <a:pt x="88" y="5"/>
                  </a:lnTo>
                  <a:lnTo>
                    <a:pt x="93" y="8"/>
                  </a:lnTo>
                  <a:lnTo>
                    <a:pt x="99" y="11"/>
                  </a:lnTo>
                  <a:lnTo>
                    <a:pt x="108" y="19"/>
                  </a:lnTo>
                  <a:lnTo>
                    <a:pt x="113" y="23"/>
                  </a:lnTo>
                  <a:lnTo>
                    <a:pt x="116" y="28"/>
                  </a:lnTo>
                  <a:lnTo>
                    <a:pt x="119" y="34"/>
                  </a:lnTo>
                  <a:lnTo>
                    <a:pt x="122" y="39"/>
                  </a:lnTo>
                  <a:lnTo>
                    <a:pt x="125" y="51"/>
                  </a:lnTo>
                  <a:lnTo>
                    <a:pt x="126" y="57"/>
                  </a:lnTo>
                  <a:lnTo>
                    <a:pt x="126" y="65"/>
                  </a:lnTo>
                  <a:lnTo>
                    <a:pt x="125" y="77"/>
                  </a:lnTo>
                  <a:lnTo>
                    <a:pt x="123" y="83"/>
                  </a:lnTo>
                  <a:lnTo>
                    <a:pt x="122" y="89"/>
                  </a:lnTo>
                  <a:lnTo>
                    <a:pt x="119" y="94"/>
                  </a:lnTo>
                  <a:lnTo>
                    <a:pt x="116" y="100"/>
                  </a:lnTo>
                  <a:lnTo>
                    <a:pt x="108" y="109"/>
                  </a:lnTo>
                  <a:lnTo>
                    <a:pt x="103" y="114"/>
                  </a:lnTo>
                  <a:lnTo>
                    <a:pt x="99" y="117"/>
                  </a:lnTo>
                  <a:lnTo>
                    <a:pt x="93" y="120"/>
                  </a:lnTo>
                  <a:lnTo>
                    <a:pt x="88" y="123"/>
                  </a:lnTo>
                  <a:lnTo>
                    <a:pt x="76" y="126"/>
                  </a:lnTo>
                  <a:lnTo>
                    <a:pt x="64" y="127"/>
                  </a:lnTo>
                  <a:lnTo>
                    <a:pt x="50" y="126"/>
                  </a:lnTo>
                  <a:lnTo>
                    <a:pt x="44" y="124"/>
                  </a:lnTo>
                  <a:lnTo>
                    <a:pt x="38" y="123"/>
                  </a:lnTo>
                  <a:lnTo>
                    <a:pt x="33" y="120"/>
                  </a:lnTo>
                  <a:lnTo>
                    <a:pt x="27" y="117"/>
                  </a:lnTo>
                  <a:lnTo>
                    <a:pt x="18" y="109"/>
                  </a:lnTo>
                  <a:lnTo>
                    <a:pt x="15" y="104"/>
                  </a:lnTo>
                  <a:lnTo>
                    <a:pt x="10" y="100"/>
                  </a:lnTo>
                  <a:lnTo>
                    <a:pt x="7" y="94"/>
                  </a:lnTo>
                  <a:lnTo>
                    <a:pt x="4" y="89"/>
                  </a:lnTo>
                  <a:lnTo>
                    <a:pt x="1" y="77"/>
                  </a:lnTo>
                  <a:lnTo>
                    <a:pt x="0" y="71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29" name="Freeform 100"/>
            <p:cNvSpPr>
              <a:spLocks/>
            </p:cNvSpPr>
            <p:nvPr/>
          </p:nvSpPr>
          <p:spPr bwMode="auto">
            <a:xfrm>
              <a:off x="3194" y="2196"/>
              <a:ext cx="33" cy="37"/>
            </a:xfrm>
            <a:custGeom>
              <a:avLst/>
              <a:gdLst>
                <a:gd name="T0" fmla="*/ 0 w 71"/>
                <a:gd name="T1" fmla="*/ 0 h 71"/>
                <a:gd name="T2" fmla="*/ 0 w 71"/>
                <a:gd name="T3" fmla="*/ 0 h 71"/>
                <a:gd name="T4" fmla="*/ 0 w 71"/>
                <a:gd name="T5" fmla="*/ 0 h 71"/>
                <a:gd name="T6" fmla="*/ 0 w 71"/>
                <a:gd name="T7" fmla="*/ 0 h 71"/>
                <a:gd name="T8" fmla="*/ 0 w 71"/>
                <a:gd name="T9" fmla="*/ 0 h 71"/>
                <a:gd name="T10" fmla="*/ 0 w 71"/>
                <a:gd name="T11" fmla="*/ 0 h 71"/>
                <a:gd name="T12" fmla="*/ 0 w 71"/>
                <a:gd name="T13" fmla="*/ 0 h 71"/>
                <a:gd name="T14" fmla="*/ 0 w 71"/>
                <a:gd name="T15" fmla="*/ 0 h 71"/>
                <a:gd name="T16" fmla="*/ 0 w 71"/>
                <a:gd name="T17" fmla="*/ 0 h 71"/>
                <a:gd name="T18" fmla="*/ 0 w 71"/>
                <a:gd name="T19" fmla="*/ 0 h 71"/>
                <a:gd name="T20" fmla="*/ 0 w 71"/>
                <a:gd name="T21" fmla="*/ 0 h 71"/>
                <a:gd name="T22" fmla="*/ 0 w 71"/>
                <a:gd name="T23" fmla="*/ 0 h 71"/>
                <a:gd name="T24" fmla="*/ 0 w 71"/>
                <a:gd name="T25" fmla="*/ 0 h 71"/>
                <a:gd name="T26" fmla="*/ 0 w 71"/>
                <a:gd name="T27" fmla="*/ 0 h 71"/>
                <a:gd name="T28" fmla="*/ 0 w 71"/>
                <a:gd name="T29" fmla="*/ 0 h 71"/>
                <a:gd name="T30" fmla="*/ 0 w 71"/>
                <a:gd name="T31" fmla="*/ 0 h 71"/>
                <a:gd name="T32" fmla="*/ 0 w 71"/>
                <a:gd name="T33" fmla="*/ 0 h 71"/>
                <a:gd name="T34" fmla="*/ 0 w 71"/>
                <a:gd name="T35" fmla="*/ 0 h 71"/>
                <a:gd name="T36" fmla="*/ 0 w 71"/>
                <a:gd name="T37" fmla="*/ 0 h 71"/>
                <a:gd name="T38" fmla="*/ 0 w 71"/>
                <a:gd name="T39" fmla="*/ 0 h 71"/>
                <a:gd name="T40" fmla="*/ 0 w 71"/>
                <a:gd name="T41" fmla="*/ 0 h 71"/>
                <a:gd name="T42" fmla="*/ 0 w 71"/>
                <a:gd name="T43" fmla="*/ 0 h 71"/>
                <a:gd name="T44" fmla="*/ 0 w 71"/>
                <a:gd name="T45" fmla="*/ 0 h 71"/>
                <a:gd name="T46" fmla="*/ 0 w 71"/>
                <a:gd name="T47" fmla="*/ 0 h 71"/>
                <a:gd name="T48" fmla="*/ 0 w 71"/>
                <a:gd name="T49" fmla="*/ 0 h 71"/>
                <a:gd name="T50" fmla="*/ 0 w 71"/>
                <a:gd name="T51" fmla="*/ 0 h 71"/>
                <a:gd name="T52" fmla="*/ 0 w 71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1" h="71">
                  <a:moveTo>
                    <a:pt x="0" y="69"/>
                  </a:moveTo>
                  <a:lnTo>
                    <a:pt x="2" y="55"/>
                  </a:lnTo>
                  <a:lnTo>
                    <a:pt x="3" y="49"/>
                  </a:lnTo>
                  <a:lnTo>
                    <a:pt x="5" y="43"/>
                  </a:lnTo>
                  <a:lnTo>
                    <a:pt x="8" y="37"/>
                  </a:lnTo>
                  <a:lnTo>
                    <a:pt x="13" y="31"/>
                  </a:lnTo>
                  <a:lnTo>
                    <a:pt x="20" y="20"/>
                  </a:lnTo>
                  <a:lnTo>
                    <a:pt x="25" y="16"/>
                  </a:lnTo>
                  <a:lnTo>
                    <a:pt x="31" y="13"/>
                  </a:lnTo>
                  <a:lnTo>
                    <a:pt x="37" y="8"/>
                  </a:lnTo>
                  <a:lnTo>
                    <a:pt x="43" y="5"/>
                  </a:lnTo>
                  <a:lnTo>
                    <a:pt x="55" y="2"/>
                  </a:lnTo>
                  <a:lnTo>
                    <a:pt x="69" y="0"/>
                  </a:lnTo>
                  <a:lnTo>
                    <a:pt x="71" y="14"/>
                  </a:lnTo>
                  <a:lnTo>
                    <a:pt x="58" y="14"/>
                  </a:lnTo>
                  <a:lnTo>
                    <a:pt x="48" y="19"/>
                  </a:lnTo>
                  <a:lnTo>
                    <a:pt x="43" y="20"/>
                  </a:lnTo>
                  <a:lnTo>
                    <a:pt x="39" y="23"/>
                  </a:lnTo>
                  <a:lnTo>
                    <a:pt x="34" y="26"/>
                  </a:lnTo>
                  <a:lnTo>
                    <a:pt x="29" y="29"/>
                  </a:lnTo>
                  <a:lnTo>
                    <a:pt x="23" y="39"/>
                  </a:lnTo>
                  <a:lnTo>
                    <a:pt x="20" y="43"/>
                  </a:lnTo>
                  <a:lnTo>
                    <a:pt x="17" y="48"/>
                  </a:lnTo>
                  <a:lnTo>
                    <a:pt x="16" y="54"/>
                  </a:lnTo>
                  <a:lnTo>
                    <a:pt x="14" y="58"/>
                  </a:lnTo>
                  <a:lnTo>
                    <a:pt x="13" y="71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30" name="Freeform 101"/>
            <p:cNvSpPr>
              <a:spLocks/>
            </p:cNvSpPr>
            <p:nvPr/>
          </p:nvSpPr>
          <p:spPr bwMode="auto">
            <a:xfrm>
              <a:off x="3227" y="2196"/>
              <a:ext cx="36" cy="37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w 70"/>
                <a:gd name="T55" fmla="*/ 0 h 71"/>
                <a:gd name="T56" fmla="*/ 1 w 70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0" h="71">
                  <a:moveTo>
                    <a:pt x="2" y="0"/>
                  </a:moveTo>
                  <a:lnTo>
                    <a:pt x="14" y="2"/>
                  </a:lnTo>
                  <a:lnTo>
                    <a:pt x="22" y="3"/>
                  </a:lnTo>
                  <a:lnTo>
                    <a:pt x="28" y="5"/>
                  </a:lnTo>
                  <a:lnTo>
                    <a:pt x="34" y="8"/>
                  </a:lnTo>
                  <a:lnTo>
                    <a:pt x="40" y="13"/>
                  </a:lnTo>
                  <a:lnTo>
                    <a:pt x="51" y="20"/>
                  </a:lnTo>
                  <a:lnTo>
                    <a:pt x="55" y="25"/>
                  </a:lnTo>
                  <a:lnTo>
                    <a:pt x="60" y="31"/>
                  </a:lnTo>
                  <a:lnTo>
                    <a:pt x="63" y="37"/>
                  </a:lnTo>
                  <a:lnTo>
                    <a:pt x="66" y="43"/>
                  </a:lnTo>
                  <a:lnTo>
                    <a:pt x="70" y="55"/>
                  </a:lnTo>
                  <a:lnTo>
                    <a:pt x="70" y="63"/>
                  </a:lnTo>
                  <a:lnTo>
                    <a:pt x="70" y="69"/>
                  </a:lnTo>
                  <a:lnTo>
                    <a:pt x="58" y="71"/>
                  </a:lnTo>
                  <a:lnTo>
                    <a:pt x="57" y="65"/>
                  </a:lnTo>
                  <a:lnTo>
                    <a:pt x="57" y="58"/>
                  </a:lnTo>
                  <a:lnTo>
                    <a:pt x="54" y="48"/>
                  </a:lnTo>
                  <a:lnTo>
                    <a:pt x="51" y="43"/>
                  </a:lnTo>
                  <a:lnTo>
                    <a:pt x="47" y="39"/>
                  </a:lnTo>
                  <a:lnTo>
                    <a:pt x="44" y="34"/>
                  </a:lnTo>
                  <a:lnTo>
                    <a:pt x="41" y="29"/>
                  </a:lnTo>
                  <a:lnTo>
                    <a:pt x="32" y="23"/>
                  </a:lnTo>
                  <a:lnTo>
                    <a:pt x="28" y="20"/>
                  </a:lnTo>
                  <a:lnTo>
                    <a:pt x="23" y="17"/>
                  </a:lnTo>
                  <a:lnTo>
                    <a:pt x="17" y="16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31" name="Freeform 102"/>
            <p:cNvSpPr>
              <a:spLocks/>
            </p:cNvSpPr>
            <p:nvPr/>
          </p:nvSpPr>
          <p:spPr bwMode="auto">
            <a:xfrm>
              <a:off x="3227" y="2196"/>
              <a:ext cx="3" cy="8"/>
            </a:xfrm>
            <a:custGeom>
              <a:avLst/>
              <a:gdLst>
                <a:gd name="T0" fmla="*/ 0 w 2"/>
                <a:gd name="T1" fmla="*/ 0 h 14"/>
                <a:gd name="T2" fmla="*/ 1 w 2"/>
                <a:gd name="T3" fmla="*/ 0 h 14"/>
                <a:gd name="T4" fmla="*/ 0 w 2"/>
                <a:gd name="T5" fmla="*/ 1 h 14"/>
                <a:gd name="T6" fmla="*/ 1 w 2"/>
                <a:gd name="T7" fmla="*/ 1 h 14"/>
                <a:gd name="T8" fmla="*/ 0 w 2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4">
                  <a:moveTo>
                    <a:pt x="0" y="0"/>
                  </a:moveTo>
                  <a:lnTo>
                    <a:pt x="2" y="0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32" name="Freeform 103"/>
            <p:cNvSpPr>
              <a:spLocks/>
            </p:cNvSpPr>
            <p:nvPr/>
          </p:nvSpPr>
          <p:spPr bwMode="auto">
            <a:xfrm>
              <a:off x="3227" y="2233"/>
              <a:ext cx="36" cy="34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0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0" h="71">
                  <a:moveTo>
                    <a:pt x="70" y="2"/>
                  </a:moveTo>
                  <a:lnTo>
                    <a:pt x="70" y="14"/>
                  </a:lnTo>
                  <a:lnTo>
                    <a:pt x="67" y="22"/>
                  </a:lnTo>
                  <a:lnTo>
                    <a:pt x="66" y="28"/>
                  </a:lnTo>
                  <a:lnTo>
                    <a:pt x="63" y="34"/>
                  </a:lnTo>
                  <a:lnTo>
                    <a:pt x="60" y="41"/>
                  </a:lnTo>
                  <a:lnTo>
                    <a:pt x="51" y="51"/>
                  </a:lnTo>
                  <a:lnTo>
                    <a:pt x="46" y="55"/>
                  </a:lnTo>
                  <a:lnTo>
                    <a:pt x="40" y="60"/>
                  </a:lnTo>
                  <a:lnTo>
                    <a:pt x="35" y="63"/>
                  </a:lnTo>
                  <a:lnTo>
                    <a:pt x="28" y="66"/>
                  </a:lnTo>
                  <a:lnTo>
                    <a:pt x="15" y="71"/>
                  </a:lnTo>
                  <a:lnTo>
                    <a:pt x="2" y="71"/>
                  </a:lnTo>
                  <a:lnTo>
                    <a:pt x="0" y="58"/>
                  </a:lnTo>
                  <a:lnTo>
                    <a:pt x="12" y="57"/>
                  </a:lnTo>
                  <a:lnTo>
                    <a:pt x="23" y="54"/>
                  </a:lnTo>
                  <a:lnTo>
                    <a:pt x="28" y="51"/>
                  </a:lnTo>
                  <a:lnTo>
                    <a:pt x="32" y="49"/>
                  </a:lnTo>
                  <a:lnTo>
                    <a:pt x="37" y="45"/>
                  </a:lnTo>
                  <a:lnTo>
                    <a:pt x="41" y="41"/>
                  </a:lnTo>
                  <a:lnTo>
                    <a:pt x="49" y="32"/>
                  </a:lnTo>
                  <a:lnTo>
                    <a:pt x="51" y="28"/>
                  </a:lnTo>
                  <a:lnTo>
                    <a:pt x="54" y="23"/>
                  </a:lnTo>
                  <a:lnTo>
                    <a:pt x="55" y="19"/>
                  </a:lnTo>
                  <a:lnTo>
                    <a:pt x="57" y="12"/>
                  </a:lnTo>
                  <a:lnTo>
                    <a:pt x="58" y="0"/>
                  </a:lnTo>
                  <a:lnTo>
                    <a:pt x="7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33" name="Freeform 104"/>
            <p:cNvSpPr>
              <a:spLocks/>
            </p:cNvSpPr>
            <p:nvPr/>
          </p:nvSpPr>
          <p:spPr bwMode="auto">
            <a:xfrm>
              <a:off x="3256" y="2233"/>
              <a:ext cx="6" cy="0"/>
            </a:xfrm>
            <a:custGeom>
              <a:avLst/>
              <a:gdLst>
                <a:gd name="T0" fmla="*/ 1 w 12"/>
                <a:gd name="T1" fmla="*/ 0 h 2"/>
                <a:gd name="T2" fmla="*/ 1 w 12"/>
                <a:gd name="T3" fmla="*/ 1 h 2"/>
                <a:gd name="T4" fmla="*/ 0 w 12"/>
                <a:gd name="T5" fmla="*/ 0 h 2"/>
                <a:gd name="T6" fmla="*/ 0 w 12"/>
                <a:gd name="T7" fmla="*/ 1 h 2"/>
                <a:gd name="T8" fmla="*/ 1 w 1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" h="2">
                  <a:moveTo>
                    <a:pt x="12" y="0"/>
                  </a:moveTo>
                  <a:lnTo>
                    <a:pt x="12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34" name="Freeform 105"/>
            <p:cNvSpPr>
              <a:spLocks/>
            </p:cNvSpPr>
            <p:nvPr/>
          </p:nvSpPr>
          <p:spPr bwMode="auto">
            <a:xfrm>
              <a:off x="3194" y="2233"/>
              <a:ext cx="33" cy="34"/>
            </a:xfrm>
            <a:custGeom>
              <a:avLst/>
              <a:gdLst>
                <a:gd name="T0" fmla="*/ 0 w 71"/>
                <a:gd name="T1" fmla="*/ 0 h 71"/>
                <a:gd name="T2" fmla="*/ 0 w 71"/>
                <a:gd name="T3" fmla="*/ 0 h 71"/>
                <a:gd name="T4" fmla="*/ 0 w 71"/>
                <a:gd name="T5" fmla="*/ 0 h 71"/>
                <a:gd name="T6" fmla="*/ 0 w 71"/>
                <a:gd name="T7" fmla="*/ 0 h 71"/>
                <a:gd name="T8" fmla="*/ 0 w 71"/>
                <a:gd name="T9" fmla="*/ 0 h 71"/>
                <a:gd name="T10" fmla="*/ 0 w 71"/>
                <a:gd name="T11" fmla="*/ 0 h 71"/>
                <a:gd name="T12" fmla="*/ 0 w 71"/>
                <a:gd name="T13" fmla="*/ 0 h 71"/>
                <a:gd name="T14" fmla="*/ 0 w 71"/>
                <a:gd name="T15" fmla="*/ 0 h 71"/>
                <a:gd name="T16" fmla="*/ 0 w 71"/>
                <a:gd name="T17" fmla="*/ 0 h 71"/>
                <a:gd name="T18" fmla="*/ 0 w 71"/>
                <a:gd name="T19" fmla="*/ 0 h 71"/>
                <a:gd name="T20" fmla="*/ 0 w 71"/>
                <a:gd name="T21" fmla="*/ 0 h 71"/>
                <a:gd name="T22" fmla="*/ 0 w 71"/>
                <a:gd name="T23" fmla="*/ 0 h 71"/>
                <a:gd name="T24" fmla="*/ 0 w 71"/>
                <a:gd name="T25" fmla="*/ 0 h 71"/>
                <a:gd name="T26" fmla="*/ 0 w 71"/>
                <a:gd name="T27" fmla="*/ 0 h 71"/>
                <a:gd name="T28" fmla="*/ 0 w 71"/>
                <a:gd name="T29" fmla="*/ 0 h 71"/>
                <a:gd name="T30" fmla="*/ 0 w 71"/>
                <a:gd name="T31" fmla="*/ 0 h 71"/>
                <a:gd name="T32" fmla="*/ 0 w 71"/>
                <a:gd name="T33" fmla="*/ 0 h 71"/>
                <a:gd name="T34" fmla="*/ 0 w 71"/>
                <a:gd name="T35" fmla="*/ 0 h 71"/>
                <a:gd name="T36" fmla="*/ 0 w 71"/>
                <a:gd name="T37" fmla="*/ 0 h 71"/>
                <a:gd name="T38" fmla="*/ 0 w 71"/>
                <a:gd name="T39" fmla="*/ 0 h 71"/>
                <a:gd name="T40" fmla="*/ 0 w 71"/>
                <a:gd name="T41" fmla="*/ 0 h 71"/>
                <a:gd name="T42" fmla="*/ 0 w 71"/>
                <a:gd name="T43" fmla="*/ 0 h 71"/>
                <a:gd name="T44" fmla="*/ 0 w 71"/>
                <a:gd name="T45" fmla="*/ 0 h 71"/>
                <a:gd name="T46" fmla="*/ 0 w 71"/>
                <a:gd name="T47" fmla="*/ 0 h 71"/>
                <a:gd name="T48" fmla="*/ 0 w 71"/>
                <a:gd name="T49" fmla="*/ 0 h 71"/>
                <a:gd name="T50" fmla="*/ 0 w 71"/>
                <a:gd name="T51" fmla="*/ 0 h 71"/>
                <a:gd name="T52" fmla="*/ 0 w 71"/>
                <a:gd name="T53" fmla="*/ 0 h 71"/>
                <a:gd name="T54" fmla="*/ 0 w 71"/>
                <a:gd name="T55" fmla="*/ 0 h 71"/>
                <a:gd name="T56" fmla="*/ 0 w 71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71">
                  <a:moveTo>
                    <a:pt x="69" y="71"/>
                  </a:moveTo>
                  <a:lnTo>
                    <a:pt x="55" y="71"/>
                  </a:lnTo>
                  <a:lnTo>
                    <a:pt x="49" y="69"/>
                  </a:lnTo>
                  <a:lnTo>
                    <a:pt x="43" y="66"/>
                  </a:lnTo>
                  <a:lnTo>
                    <a:pt x="37" y="63"/>
                  </a:lnTo>
                  <a:lnTo>
                    <a:pt x="31" y="60"/>
                  </a:lnTo>
                  <a:lnTo>
                    <a:pt x="20" y="51"/>
                  </a:lnTo>
                  <a:lnTo>
                    <a:pt x="16" y="46"/>
                  </a:lnTo>
                  <a:lnTo>
                    <a:pt x="11" y="40"/>
                  </a:lnTo>
                  <a:lnTo>
                    <a:pt x="8" y="35"/>
                  </a:lnTo>
                  <a:lnTo>
                    <a:pt x="5" y="28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2"/>
                  </a:lnTo>
                  <a:lnTo>
                    <a:pt x="13" y="0"/>
                  </a:lnTo>
                  <a:lnTo>
                    <a:pt x="13" y="6"/>
                  </a:lnTo>
                  <a:lnTo>
                    <a:pt x="14" y="12"/>
                  </a:lnTo>
                  <a:lnTo>
                    <a:pt x="17" y="23"/>
                  </a:lnTo>
                  <a:lnTo>
                    <a:pt x="20" y="28"/>
                  </a:lnTo>
                  <a:lnTo>
                    <a:pt x="23" y="32"/>
                  </a:lnTo>
                  <a:lnTo>
                    <a:pt x="26" y="37"/>
                  </a:lnTo>
                  <a:lnTo>
                    <a:pt x="29" y="41"/>
                  </a:lnTo>
                  <a:lnTo>
                    <a:pt x="39" y="49"/>
                  </a:lnTo>
                  <a:lnTo>
                    <a:pt x="43" y="51"/>
                  </a:lnTo>
                  <a:lnTo>
                    <a:pt x="48" y="54"/>
                  </a:lnTo>
                  <a:lnTo>
                    <a:pt x="52" y="55"/>
                  </a:lnTo>
                  <a:lnTo>
                    <a:pt x="58" y="57"/>
                  </a:lnTo>
                  <a:lnTo>
                    <a:pt x="71" y="58"/>
                  </a:lnTo>
                  <a:lnTo>
                    <a:pt x="69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35" name="Freeform 106"/>
            <p:cNvSpPr>
              <a:spLocks/>
            </p:cNvSpPr>
            <p:nvPr/>
          </p:nvSpPr>
          <p:spPr bwMode="auto">
            <a:xfrm>
              <a:off x="3227" y="2260"/>
              <a:ext cx="3" cy="7"/>
            </a:xfrm>
            <a:custGeom>
              <a:avLst/>
              <a:gdLst>
                <a:gd name="T0" fmla="*/ 1 w 2"/>
                <a:gd name="T1" fmla="*/ 0 h 13"/>
                <a:gd name="T2" fmla="*/ 0 w 2"/>
                <a:gd name="T3" fmla="*/ 0 h 13"/>
                <a:gd name="T4" fmla="*/ 1 w 2"/>
                <a:gd name="T5" fmla="*/ 0 h 13"/>
                <a:gd name="T6" fmla="*/ 0 w 2"/>
                <a:gd name="T7" fmla="*/ 0 h 13"/>
                <a:gd name="T8" fmla="*/ 1 w 2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3">
                  <a:moveTo>
                    <a:pt x="2" y="13"/>
                  </a:moveTo>
                  <a:lnTo>
                    <a:pt x="0" y="1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36" name="Freeform 107"/>
            <p:cNvSpPr>
              <a:spLocks/>
            </p:cNvSpPr>
            <p:nvPr/>
          </p:nvSpPr>
          <p:spPr bwMode="auto">
            <a:xfrm>
              <a:off x="3194" y="2233"/>
              <a:ext cx="3" cy="0"/>
            </a:xfrm>
            <a:custGeom>
              <a:avLst/>
              <a:gdLst>
                <a:gd name="T0" fmla="*/ 0 w 13"/>
                <a:gd name="T1" fmla="*/ 1 h 2"/>
                <a:gd name="T2" fmla="*/ 0 w 13"/>
                <a:gd name="T3" fmla="*/ 0 h 2"/>
                <a:gd name="T4" fmla="*/ 0 w 13"/>
                <a:gd name="T5" fmla="*/ 1 h 2"/>
                <a:gd name="T6" fmla="*/ 0 w 13"/>
                <a:gd name="T7" fmla="*/ 0 h 2"/>
                <a:gd name="T8" fmla="*/ 0 w 13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0" y="2"/>
                  </a:moveTo>
                  <a:lnTo>
                    <a:pt x="0" y="0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37" name="Freeform 108"/>
            <p:cNvSpPr>
              <a:spLocks/>
            </p:cNvSpPr>
            <p:nvPr/>
          </p:nvSpPr>
          <p:spPr bwMode="auto">
            <a:xfrm>
              <a:off x="3120" y="2200"/>
              <a:ext cx="65" cy="64"/>
            </a:xfrm>
            <a:custGeom>
              <a:avLst/>
              <a:gdLst>
                <a:gd name="T0" fmla="*/ 0 w 127"/>
                <a:gd name="T1" fmla="*/ 1 h 127"/>
                <a:gd name="T2" fmla="*/ 0 w 127"/>
                <a:gd name="T3" fmla="*/ 1 h 127"/>
                <a:gd name="T4" fmla="*/ 1 w 127"/>
                <a:gd name="T5" fmla="*/ 1 h 127"/>
                <a:gd name="T6" fmla="*/ 1 w 127"/>
                <a:gd name="T7" fmla="*/ 1 h 127"/>
                <a:gd name="T8" fmla="*/ 1 w 127"/>
                <a:gd name="T9" fmla="*/ 1 h 127"/>
                <a:gd name="T10" fmla="*/ 1 w 127"/>
                <a:gd name="T11" fmla="*/ 1 h 127"/>
                <a:gd name="T12" fmla="*/ 1 w 127"/>
                <a:gd name="T13" fmla="*/ 1 h 127"/>
                <a:gd name="T14" fmla="*/ 1 w 127"/>
                <a:gd name="T15" fmla="*/ 1 h 127"/>
                <a:gd name="T16" fmla="*/ 1 w 127"/>
                <a:gd name="T17" fmla="*/ 1 h 127"/>
                <a:gd name="T18" fmla="*/ 1 w 127"/>
                <a:gd name="T19" fmla="*/ 1 h 127"/>
                <a:gd name="T20" fmla="*/ 1 w 127"/>
                <a:gd name="T21" fmla="*/ 1 h 127"/>
                <a:gd name="T22" fmla="*/ 1 w 127"/>
                <a:gd name="T23" fmla="*/ 1 h 127"/>
                <a:gd name="T24" fmla="*/ 1 w 127"/>
                <a:gd name="T25" fmla="*/ 0 h 127"/>
                <a:gd name="T26" fmla="*/ 1 w 127"/>
                <a:gd name="T27" fmla="*/ 1 h 127"/>
                <a:gd name="T28" fmla="*/ 1 w 127"/>
                <a:gd name="T29" fmla="*/ 1 h 127"/>
                <a:gd name="T30" fmla="*/ 1 w 127"/>
                <a:gd name="T31" fmla="*/ 1 h 127"/>
                <a:gd name="T32" fmla="*/ 1 w 127"/>
                <a:gd name="T33" fmla="*/ 1 h 127"/>
                <a:gd name="T34" fmla="*/ 1 w 127"/>
                <a:gd name="T35" fmla="*/ 1 h 127"/>
                <a:gd name="T36" fmla="*/ 1 w 127"/>
                <a:gd name="T37" fmla="*/ 1 h 127"/>
                <a:gd name="T38" fmla="*/ 1 w 127"/>
                <a:gd name="T39" fmla="*/ 1 h 127"/>
                <a:gd name="T40" fmla="*/ 1 w 127"/>
                <a:gd name="T41" fmla="*/ 1 h 127"/>
                <a:gd name="T42" fmla="*/ 1 w 127"/>
                <a:gd name="T43" fmla="*/ 1 h 127"/>
                <a:gd name="T44" fmla="*/ 1 w 127"/>
                <a:gd name="T45" fmla="*/ 1 h 127"/>
                <a:gd name="T46" fmla="*/ 1 w 127"/>
                <a:gd name="T47" fmla="*/ 1 h 127"/>
                <a:gd name="T48" fmla="*/ 1 w 127"/>
                <a:gd name="T49" fmla="*/ 1 h 127"/>
                <a:gd name="T50" fmla="*/ 1 w 127"/>
                <a:gd name="T51" fmla="*/ 1 h 127"/>
                <a:gd name="T52" fmla="*/ 1 w 127"/>
                <a:gd name="T53" fmla="*/ 1 h 127"/>
                <a:gd name="T54" fmla="*/ 1 w 127"/>
                <a:gd name="T55" fmla="*/ 1 h 127"/>
                <a:gd name="T56" fmla="*/ 1 w 127"/>
                <a:gd name="T57" fmla="*/ 1 h 127"/>
                <a:gd name="T58" fmla="*/ 1 w 127"/>
                <a:gd name="T59" fmla="*/ 1 h 127"/>
                <a:gd name="T60" fmla="*/ 1 w 127"/>
                <a:gd name="T61" fmla="*/ 1 h 127"/>
                <a:gd name="T62" fmla="*/ 1 w 127"/>
                <a:gd name="T63" fmla="*/ 1 h 127"/>
                <a:gd name="T64" fmla="*/ 1 w 127"/>
                <a:gd name="T65" fmla="*/ 1 h 127"/>
                <a:gd name="T66" fmla="*/ 1 w 127"/>
                <a:gd name="T67" fmla="*/ 1 h 127"/>
                <a:gd name="T68" fmla="*/ 1 w 127"/>
                <a:gd name="T69" fmla="*/ 1 h 127"/>
                <a:gd name="T70" fmla="*/ 1 w 127"/>
                <a:gd name="T71" fmla="*/ 1 h 127"/>
                <a:gd name="T72" fmla="*/ 1 w 127"/>
                <a:gd name="T73" fmla="*/ 1 h 127"/>
                <a:gd name="T74" fmla="*/ 1 w 127"/>
                <a:gd name="T75" fmla="*/ 1 h 127"/>
                <a:gd name="T76" fmla="*/ 1 w 127"/>
                <a:gd name="T77" fmla="*/ 1 h 127"/>
                <a:gd name="T78" fmla="*/ 1 w 127"/>
                <a:gd name="T79" fmla="*/ 1 h 127"/>
                <a:gd name="T80" fmla="*/ 1 w 127"/>
                <a:gd name="T81" fmla="*/ 1 h 127"/>
                <a:gd name="T82" fmla="*/ 1 w 127"/>
                <a:gd name="T83" fmla="*/ 1 h 127"/>
                <a:gd name="T84" fmla="*/ 1 w 127"/>
                <a:gd name="T85" fmla="*/ 1 h 127"/>
                <a:gd name="T86" fmla="*/ 1 w 127"/>
                <a:gd name="T87" fmla="*/ 1 h 127"/>
                <a:gd name="T88" fmla="*/ 1 w 127"/>
                <a:gd name="T89" fmla="*/ 1 h 127"/>
                <a:gd name="T90" fmla="*/ 1 w 127"/>
                <a:gd name="T91" fmla="*/ 1 h 127"/>
                <a:gd name="T92" fmla="*/ 1 w 127"/>
                <a:gd name="T93" fmla="*/ 1 h 127"/>
                <a:gd name="T94" fmla="*/ 1 w 127"/>
                <a:gd name="T95" fmla="*/ 1 h 127"/>
                <a:gd name="T96" fmla="*/ 0 w 127"/>
                <a:gd name="T97" fmla="*/ 1 h 127"/>
                <a:gd name="T98" fmla="*/ 0 w 127"/>
                <a:gd name="T99" fmla="*/ 1 h 127"/>
                <a:gd name="T100" fmla="*/ 0 w 127"/>
                <a:gd name="T101" fmla="*/ 1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7" h="127">
                  <a:moveTo>
                    <a:pt x="0" y="65"/>
                  </a:moveTo>
                  <a:lnTo>
                    <a:pt x="0" y="51"/>
                  </a:lnTo>
                  <a:lnTo>
                    <a:pt x="2" y="45"/>
                  </a:lnTo>
                  <a:lnTo>
                    <a:pt x="5" y="39"/>
                  </a:lnTo>
                  <a:lnTo>
                    <a:pt x="8" y="34"/>
                  </a:lnTo>
                  <a:lnTo>
                    <a:pt x="11" y="28"/>
                  </a:lnTo>
                  <a:lnTo>
                    <a:pt x="19" y="19"/>
                  </a:lnTo>
                  <a:lnTo>
                    <a:pt x="23" y="16"/>
                  </a:lnTo>
                  <a:lnTo>
                    <a:pt x="28" y="11"/>
                  </a:lnTo>
                  <a:lnTo>
                    <a:pt x="32" y="8"/>
                  </a:lnTo>
                  <a:lnTo>
                    <a:pt x="38" y="5"/>
                  </a:lnTo>
                  <a:lnTo>
                    <a:pt x="51" y="2"/>
                  </a:lnTo>
                  <a:lnTo>
                    <a:pt x="63" y="0"/>
                  </a:lnTo>
                  <a:lnTo>
                    <a:pt x="75" y="2"/>
                  </a:lnTo>
                  <a:lnTo>
                    <a:pt x="81" y="3"/>
                  </a:lnTo>
                  <a:lnTo>
                    <a:pt x="87" y="5"/>
                  </a:lnTo>
                  <a:lnTo>
                    <a:pt x="93" y="8"/>
                  </a:lnTo>
                  <a:lnTo>
                    <a:pt x="98" y="11"/>
                  </a:lnTo>
                  <a:lnTo>
                    <a:pt x="107" y="19"/>
                  </a:lnTo>
                  <a:lnTo>
                    <a:pt x="112" y="23"/>
                  </a:lnTo>
                  <a:lnTo>
                    <a:pt x="116" y="28"/>
                  </a:lnTo>
                  <a:lnTo>
                    <a:pt x="119" y="34"/>
                  </a:lnTo>
                  <a:lnTo>
                    <a:pt x="121" y="39"/>
                  </a:lnTo>
                  <a:lnTo>
                    <a:pt x="125" y="51"/>
                  </a:lnTo>
                  <a:lnTo>
                    <a:pt x="125" y="57"/>
                  </a:lnTo>
                  <a:lnTo>
                    <a:pt x="127" y="65"/>
                  </a:lnTo>
                  <a:lnTo>
                    <a:pt x="125" y="77"/>
                  </a:lnTo>
                  <a:lnTo>
                    <a:pt x="124" y="83"/>
                  </a:lnTo>
                  <a:lnTo>
                    <a:pt x="121" y="89"/>
                  </a:lnTo>
                  <a:lnTo>
                    <a:pt x="119" y="94"/>
                  </a:lnTo>
                  <a:lnTo>
                    <a:pt x="116" y="100"/>
                  </a:lnTo>
                  <a:lnTo>
                    <a:pt x="107" y="109"/>
                  </a:lnTo>
                  <a:lnTo>
                    <a:pt x="104" y="114"/>
                  </a:lnTo>
                  <a:lnTo>
                    <a:pt x="98" y="117"/>
                  </a:lnTo>
                  <a:lnTo>
                    <a:pt x="93" y="120"/>
                  </a:lnTo>
                  <a:lnTo>
                    <a:pt x="87" y="123"/>
                  </a:lnTo>
                  <a:lnTo>
                    <a:pt x="75" y="126"/>
                  </a:lnTo>
                  <a:lnTo>
                    <a:pt x="63" y="127"/>
                  </a:lnTo>
                  <a:lnTo>
                    <a:pt x="51" y="126"/>
                  </a:lnTo>
                  <a:lnTo>
                    <a:pt x="45" y="124"/>
                  </a:lnTo>
                  <a:lnTo>
                    <a:pt x="38" y="123"/>
                  </a:lnTo>
                  <a:lnTo>
                    <a:pt x="32" y="120"/>
                  </a:lnTo>
                  <a:lnTo>
                    <a:pt x="28" y="117"/>
                  </a:lnTo>
                  <a:lnTo>
                    <a:pt x="19" y="109"/>
                  </a:lnTo>
                  <a:lnTo>
                    <a:pt x="14" y="104"/>
                  </a:lnTo>
                  <a:lnTo>
                    <a:pt x="11" y="100"/>
                  </a:lnTo>
                  <a:lnTo>
                    <a:pt x="8" y="94"/>
                  </a:lnTo>
                  <a:lnTo>
                    <a:pt x="5" y="89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38" name="Freeform 109"/>
            <p:cNvSpPr>
              <a:spLocks/>
            </p:cNvSpPr>
            <p:nvPr/>
          </p:nvSpPr>
          <p:spPr bwMode="auto">
            <a:xfrm>
              <a:off x="3114" y="2196"/>
              <a:ext cx="36" cy="37"/>
            </a:xfrm>
            <a:custGeom>
              <a:avLst/>
              <a:gdLst>
                <a:gd name="T0" fmla="*/ 0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0 w 70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0" h="71">
                  <a:moveTo>
                    <a:pt x="0" y="69"/>
                  </a:moveTo>
                  <a:lnTo>
                    <a:pt x="1" y="55"/>
                  </a:lnTo>
                  <a:lnTo>
                    <a:pt x="3" y="49"/>
                  </a:lnTo>
                  <a:lnTo>
                    <a:pt x="6" y="43"/>
                  </a:lnTo>
                  <a:lnTo>
                    <a:pt x="9" y="37"/>
                  </a:lnTo>
                  <a:lnTo>
                    <a:pt x="12" y="31"/>
                  </a:lnTo>
                  <a:lnTo>
                    <a:pt x="19" y="20"/>
                  </a:lnTo>
                  <a:lnTo>
                    <a:pt x="26" y="16"/>
                  </a:lnTo>
                  <a:lnTo>
                    <a:pt x="30" y="13"/>
                  </a:lnTo>
                  <a:lnTo>
                    <a:pt x="36" y="8"/>
                  </a:lnTo>
                  <a:lnTo>
                    <a:pt x="42" y="5"/>
                  </a:lnTo>
                  <a:lnTo>
                    <a:pt x="56" y="2"/>
                  </a:lnTo>
                  <a:lnTo>
                    <a:pt x="70" y="0"/>
                  </a:lnTo>
                  <a:lnTo>
                    <a:pt x="70" y="14"/>
                  </a:lnTo>
                  <a:lnTo>
                    <a:pt x="58" y="14"/>
                  </a:lnTo>
                  <a:lnTo>
                    <a:pt x="47" y="19"/>
                  </a:lnTo>
                  <a:lnTo>
                    <a:pt x="42" y="20"/>
                  </a:lnTo>
                  <a:lnTo>
                    <a:pt x="38" y="23"/>
                  </a:lnTo>
                  <a:lnTo>
                    <a:pt x="33" y="26"/>
                  </a:lnTo>
                  <a:lnTo>
                    <a:pt x="30" y="29"/>
                  </a:lnTo>
                  <a:lnTo>
                    <a:pt x="23" y="39"/>
                  </a:lnTo>
                  <a:lnTo>
                    <a:pt x="19" y="43"/>
                  </a:lnTo>
                  <a:lnTo>
                    <a:pt x="18" y="48"/>
                  </a:lnTo>
                  <a:lnTo>
                    <a:pt x="15" y="54"/>
                  </a:lnTo>
                  <a:lnTo>
                    <a:pt x="15" y="58"/>
                  </a:lnTo>
                  <a:lnTo>
                    <a:pt x="13" y="71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39" name="Freeform 110"/>
            <p:cNvSpPr>
              <a:spLocks/>
            </p:cNvSpPr>
            <p:nvPr/>
          </p:nvSpPr>
          <p:spPr bwMode="auto">
            <a:xfrm>
              <a:off x="3149" y="2196"/>
              <a:ext cx="36" cy="37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w 70"/>
                <a:gd name="T55" fmla="*/ 0 h 71"/>
                <a:gd name="T56" fmla="*/ 1 w 70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0" h="71">
                  <a:moveTo>
                    <a:pt x="1" y="0"/>
                  </a:moveTo>
                  <a:lnTo>
                    <a:pt x="14" y="2"/>
                  </a:lnTo>
                  <a:lnTo>
                    <a:pt x="21" y="3"/>
                  </a:lnTo>
                  <a:lnTo>
                    <a:pt x="27" y="5"/>
                  </a:lnTo>
                  <a:lnTo>
                    <a:pt x="33" y="8"/>
                  </a:lnTo>
                  <a:lnTo>
                    <a:pt x="40" y="13"/>
                  </a:lnTo>
                  <a:lnTo>
                    <a:pt x="49" y="20"/>
                  </a:lnTo>
                  <a:lnTo>
                    <a:pt x="53" y="25"/>
                  </a:lnTo>
                  <a:lnTo>
                    <a:pt x="58" y="31"/>
                  </a:lnTo>
                  <a:lnTo>
                    <a:pt x="61" y="37"/>
                  </a:lnTo>
                  <a:lnTo>
                    <a:pt x="64" y="43"/>
                  </a:lnTo>
                  <a:lnTo>
                    <a:pt x="69" y="55"/>
                  </a:lnTo>
                  <a:lnTo>
                    <a:pt x="70" y="63"/>
                  </a:lnTo>
                  <a:lnTo>
                    <a:pt x="70" y="69"/>
                  </a:lnTo>
                  <a:lnTo>
                    <a:pt x="56" y="71"/>
                  </a:lnTo>
                  <a:lnTo>
                    <a:pt x="56" y="65"/>
                  </a:lnTo>
                  <a:lnTo>
                    <a:pt x="56" y="58"/>
                  </a:lnTo>
                  <a:lnTo>
                    <a:pt x="52" y="48"/>
                  </a:lnTo>
                  <a:lnTo>
                    <a:pt x="50" y="43"/>
                  </a:lnTo>
                  <a:lnTo>
                    <a:pt x="47" y="39"/>
                  </a:lnTo>
                  <a:lnTo>
                    <a:pt x="44" y="34"/>
                  </a:lnTo>
                  <a:lnTo>
                    <a:pt x="40" y="29"/>
                  </a:lnTo>
                  <a:lnTo>
                    <a:pt x="32" y="23"/>
                  </a:lnTo>
                  <a:lnTo>
                    <a:pt x="27" y="20"/>
                  </a:lnTo>
                  <a:lnTo>
                    <a:pt x="21" y="17"/>
                  </a:lnTo>
                  <a:lnTo>
                    <a:pt x="17" y="16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40" name="Freeform 111"/>
            <p:cNvSpPr>
              <a:spLocks/>
            </p:cNvSpPr>
            <p:nvPr/>
          </p:nvSpPr>
          <p:spPr bwMode="auto">
            <a:xfrm>
              <a:off x="3149" y="2196"/>
              <a:ext cx="3" cy="8"/>
            </a:xfrm>
            <a:custGeom>
              <a:avLst/>
              <a:gdLst>
                <a:gd name="T0" fmla="*/ 0 w 1"/>
                <a:gd name="T1" fmla="*/ 0 h 14"/>
                <a:gd name="T2" fmla="*/ 1 w 1"/>
                <a:gd name="T3" fmla="*/ 0 h 14"/>
                <a:gd name="T4" fmla="*/ 0 w 1"/>
                <a:gd name="T5" fmla="*/ 1 h 14"/>
                <a:gd name="T6" fmla="*/ 0 w 1"/>
                <a:gd name="T7" fmla="*/ 0 h 1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4">
                  <a:moveTo>
                    <a:pt x="0" y="0"/>
                  </a:moveTo>
                  <a:lnTo>
                    <a:pt x="1" y="0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41" name="Freeform 112"/>
            <p:cNvSpPr>
              <a:spLocks/>
            </p:cNvSpPr>
            <p:nvPr/>
          </p:nvSpPr>
          <p:spPr bwMode="auto">
            <a:xfrm>
              <a:off x="3149" y="2233"/>
              <a:ext cx="36" cy="34"/>
            </a:xfrm>
            <a:custGeom>
              <a:avLst/>
              <a:gdLst>
                <a:gd name="T0" fmla="*/ 1 w 72"/>
                <a:gd name="T1" fmla="*/ 0 h 71"/>
                <a:gd name="T2" fmla="*/ 1 w 72"/>
                <a:gd name="T3" fmla="*/ 0 h 71"/>
                <a:gd name="T4" fmla="*/ 1 w 72"/>
                <a:gd name="T5" fmla="*/ 0 h 71"/>
                <a:gd name="T6" fmla="*/ 1 w 72"/>
                <a:gd name="T7" fmla="*/ 0 h 71"/>
                <a:gd name="T8" fmla="*/ 1 w 72"/>
                <a:gd name="T9" fmla="*/ 0 h 71"/>
                <a:gd name="T10" fmla="*/ 1 w 72"/>
                <a:gd name="T11" fmla="*/ 0 h 71"/>
                <a:gd name="T12" fmla="*/ 1 w 72"/>
                <a:gd name="T13" fmla="*/ 0 h 71"/>
                <a:gd name="T14" fmla="*/ 1 w 72"/>
                <a:gd name="T15" fmla="*/ 0 h 71"/>
                <a:gd name="T16" fmla="*/ 1 w 72"/>
                <a:gd name="T17" fmla="*/ 0 h 71"/>
                <a:gd name="T18" fmla="*/ 1 w 72"/>
                <a:gd name="T19" fmla="*/ 0 h 71"/>
                <a:gd name="T20" fmla="*/ 1 w 72"/>
                <a:gd name="T21" fmla="*/ 0 h 71"/>
                <a:gd name="T22" fmla="*/ 1 w 72"/>
                <a:gd name="T23" fmla="*/ 0 h 71"/>
                <a:gd name="T24" fmla="*/ 1 w 72"/>
                <a:gd name="T25" fmla="*/ 0 h 71"/>
                <a:gd name="T26" fmla="*/ 0 w 72"/>
                <a:gd name="T27" fmla="*/ 0 h 71"/>
                <a:gd name="T28" fmla="*/ 1 w 72"/>
                <a:gd name="T29" fmla="*/ 0 h 71"/>
                <a:gd name="T30" fmla="*/ 1 w 72"/>
                <a:gd name="T31" fmla="*/ 0 h 71"/>
                <a:gd name="T32" fmla="*/ 1 w 72"/>
                <a:gd name="T33" fmla="*/ 0 h 71"/>
                <a:gd name="T34" fmla="*/ 1 w 72"/>
                <a:gd name="T35" fmla="*/ 0 h 71"/>
                <a:gd name="T36" fmla="*/ 1 w 72"/>
                <a:gd name="T37" fmla="*/ 0 h 71"/>
                <a:gd name="T38" fmla="*/ 1 w 72"/>
                <a:gd name="T39" fmla="*/ 0 h 71"/>
                <a:gd name="T40" fmla="*/ 1 w 72"/>
                <a:gd name="T41" fmla="*/ 0 h 71"/>
                <a:gd name="T42" fmla="*/ 1 w 72"/>
                <a:gd name="T43" fmla="*/ 0 h 71"/>
                <a:gd name="T44" fmla="*/ 1 w 72"/>
                <a:gd name="T45" fmla="*/ 0 h 71"/>
                <a:gd name="T46" fmla="*/ 1 w 72"/>
                <a:gd name="T47" fmla="*/ 0 h 71"/>
                <a:gd name="T48" fmla="*/ 1 w 72"/>
                <a:gd name="T49" fmla="*/ 0 h 71"/>
                <a:gd name="T50" fmla="*/ 1 w 72"/>
                <a:gd name="T51" fmla="*/ 0 h 71"/>
                <a:gd name="T52" fmla="*/ 1 w 72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2" h="71">
                  <a:moveTo>
                    <a:pt x="72" y="2"/>
                  </a:moveTo>
                  <a:lnTo>
                    <a:pt x="71" y="14"/>
                  </a:lnTo>
                  <a:lnTo>
                    <a:pt x="69" y="22"/>
                  </a:lnTo>
                  <a:lnTo>
                    <a:pt x="66" y="28"/>
                  </a:lnTo>
                  <a:lnTo>
                    <a:pt x="63" y="34"/>
                  </a:lnTo>
                  <a:lnTo>
                    <a:pt x="60" y="41"/>
                  </a:lnTo>
                  <a:lnTo>
                    <a:pt x="52" y="51"/>
                  </a:lnTo>
                  <a:lnTo>
                    <a:pt x="46" y="55"/>
                  </a:lnTo>
                  <a:lnTo>
                    <a:pt x="42" y="60"/>
                  </a:lnTo>
                  <a:lnTo>
                    <a:pt x="35" y="63"/>
                  </a:lnTo>
                  <a:lnTo>
                    <a:pt x="29" y="66"/>
                  </a:lnTo>
                  <a:lnTo>
                    <a:pt x="16" y="71"/>
                  </a:lnTo>
                  <a:lnTo>
                    <a:pt x="3" y="71"/>
                  </a:lnTo>
                  <a:lnTo>
                    <a:pt x="0" y="58"/>
                  </a:lnTo>
                  <a:lnTo>
                    <a:pt x="13" y="57"/>
                  </a:lnTo>
                  <a:lnTo>
                    <a:pt x="23" y="54"/>
                  </a:lnTo>
                  <a:lnTo>
                    <a:pt x="29" y="51"/>
                  </a:lnTo>
                  <a:lnTo>
                    <a:pt x="34" y="49"/>
                  </a:lnTo>
                  <a:lnTo>
                    <a:pt x="39" y="45"/>
                  </a:lnTo>
                  <a:lnTo>
                    <a:pt x="42" y="41"/>
                  </a:lnTo>
                  <a:lnTo>
                    <a:pt x="49" y="32"/>
                  </a:lnTo>
                  <a:lnTo>
                    <a:pt x="52" y="28"/>
                  </a:lnTo>
                  <a:lnTo>
                    <a:pt x="54" y="23"/>
                  </a:lnTo>
                  <a:lnTo>
                    <a:pt x="57" y="19"/>
                  </a:lnTo>
                  <a:lnTo>
                    <a:pt x="57" y="12"/>
                  </a:lnTo>
                  <a:lnTo>
                    <a:pt x="58" y="0"/>
                  </a:lnTo>
                  <a:lnTo>
                    <a:pt x="72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42" name="Freeform 113"/>
            <p:cNvSpPr>
              <a:spLocks/>
            </p:cNvSpPr>
            <p:nvPr/>
          </p:nvSpPr>
          <p:spPr bwMode="auto">
            <a:xfrm>
              <a:off x="3179" y="2233"/>
              <a:ext cx="9" cy="0"/>
            </a:xfrm>
            <a:custGeom>
              <a:avLst/>
              <a:gdLst>
                <a:gd name="T0" fmla="*/ 1 w 14"/>
                <a:gd name="T1" fmla="*/ 0 h 2"/>
                <a:gd name="T2" fmla="*/ 1 w 14"/>
                <a:gd name="T3" fmla="*/ 1 h 2"/>
                <a:gd name="T4" fmla="*/ 0 w 14"/>
                <a:gd name="T5" fmla="*/ 0 h 2"/>
                <a:gd name="T6" fmla="*/ 0 w 14"/>
                <a:gd name="T7" fmla="*/ 1 h 2"/>
                <a:gd name="T8" fmla="*/ 1 w 1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2">
                  <a:moveTo>
                    <a:pt x="14" y="0"/>
                  </a:moveTo>
                  <a:lnTo>
                    <a:pt x="1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43" name="Freeform 114"/>
            <p:cNvSpPr>
              <a:spLocks/>
            </p:cNvSpPr>
            <p:nvPr/>
          </p:nvSpPr>
          <p:spPr bwMode="auto">
            <a:xfrm>
              <a:off x="3114" y="2233"/>
              <a:ext cx="39" cy="34"/>
            </a:xfrm>
            <a:custGeom>
              <a:avLst/>
              <a:gdLst>
                <a:gd name="T0" fmla="*/ 1 w 71"/>
                <a:gd name="T1" fmla="*/ 0 h 71"/>
                <a:gd name="T2" fmla="*/ 1 w 71"/>
                <a:gd name="T3" fmla="*/ 0 h 71"/>
                <a:gd name="T4" fmla="*/ 1 w 71"/>
                <a:gd name="T5" fmla="*/ 0 h 71"/>
                <a:gd name="T6" fmla="*/ 1 w 71"/>
                <a:gd name="T7" fmla="*/ 0 h 71"/>
                <a:gd name="T8" fmla="*/ 1 w 71"/>
                <a:gd name="T9" fmla="*/ 0 h 71"/>
                <a:gd name="T10" fmla="*/ 1 w 71"/>
                <a:gd name="T11" fmla="*/ 0 h 71"/>
                <a:gd name="T12" fmla="*/ 1 w 71"/>
                <a:gd name="T13" fmla="*/ 0 h 71"/>
                <a:gd name="T14" fmla="*/ 1 w 71"/>
                <a:gd name="T15" fmla="*/ 0 h 71"/>
                <a:gd name="T16" fmla="*/ 1 w 71"/>
                <a:gd name="T17" fmla="*/ 0 h 71"/>
                <a:gd name="T18" fmla="*/ 1 w 71"/>
                <a:gd name="T19" fmla="*/ 0 h 71"/>
                <a:gd name="T20" fmla="*/ 1 w 71"/>
                <a:gd name="T21" fmla="*/ 0 h 71"/>
                <a:gd name="T22" fmla="*/ 1 w 71"/>
                <a:gd name="T23" fmla="*/ 0 h 71"/>
                <a:gd name="T24" fmla="*/ 0 w 71"/>
                <a:gd name="T25" fmla="*/ 0 h 71"/>
                <a:gd name="T26" fmla="*/ 0 w 71"/>
                <a:gd name="T27" fmla="*/ 0 h 71"/>
                <a:gd name="T28" fmla="*/ 1 w 71"/>
                <a:gd name="T29" fmla="*/ 0 h 71"/>
                <a:gd name="T30" fmla="*/ 1 w 71"/>
                <a:gd name="T31" fmla="*/ 0 h 71"/>
                <a:gd name="T32" fmla="*/ 1 w 71"/>
                <a:gd name="T33" fmla="*/ 0 h 71"/>
                <a:gd name="T34" fmla="*/ 1 w 71"/>
                <a:gd name="T35" fmla="*/ 0 h 71"/>
                <a:gd name="T36" fmla="*/ 1 w 71"/>
                <a:gd name="T37" fmla="*/ 0 h 71"/>
                <a:gd name="T38" fmla="*/ 1 w 71"/>
                <a:gd name="T39" fmla="*/ 0 h 71"/>
                <a:gd name="T40" fmla="*/ 1 w 71"/>
                <a:gd name="T41" fmla="*/ 0 h 71"/>
                <a:gd name="T42" fmla="*/ 1 w 71"/>
                <a:gd name="T43" fmla="*/ 0 h 71"/>
                <a:gd name="T44" fmla="*/ 1 w 71"/>
                <a:gd name="T45" fmla="*/ 0 h 71"/>
                <a:gd name="T46" fmla="*/ 1 w 71"/>
                <a:gd name="T47" fmla="*/ 0 h 71"/>
                <a:gd name="T48" fmla="*/ 1 w 71"/>
                <a:gd name="T49" fmla="*/ 0 h 71"/>
                <a:gd name="T50" fmla="*/ 1 w 71"/>
                <a:gd name="T51" fmla="*/ 0 h 71"/>
                <a:gd name="T52" fmla="*/ 1 w 71"/>
                <a:gd name="T53" fmla="*/ 0 h 71"/>
                <a:gd name="T54" fmla="*/ 1 w 71"/>
                <a:gd name="T55" fmla="*/ 0 h 71"/>
                <a:gd name="T56" fmla="*/ 1 w 71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71">
                  <a:moveTo>
                    <a:pt x="70" y="71"/>
                  </a:moveTo>
                  <a:lnTo>
                    <a:pt x="56" y="71"/>
                  </a:lnTo>
                  <a:lnTo>
                    <a:pt x="48" y="69"/>
                  </a:lnTo>
                  <a:lnTo>
                    <a:pt x="42" y="66"/>
                  </a:lnTo>
                  <a:lnTo>
                    <a:pt x="36" y="63"/>
                  </a:lnTo>
                  <a:lnTo>
                    <a:pt x="30" y="60"/>
                  </a:lnTo>
                  <a:lnTo>
                    <a:pt x="21" y="51"/>
                  </a:lnTo>
                  <a:lnTo>
                    <a:pt x="16" y="46"/>
                  </a:lnTo>
                  <a:lnTo>
                    <a:pt x="12" y="40"/>
                  </a:lnTo>
                  <a:lnTo>
                    <a:pt x="9" y="35"/>
                  </a:lnTo>
                  <a:lnTo>
                    <a:pt x="6" y="28"/>
                  </a:lnTo>
                  <a:lnTo>
                    <a:pt x="1" y="15"/>
                  </a:lnTo>
                  <a:lnTo>
                    <a:pt x="0" y="8"/>
                  </a:lnTo>
                  <a:lnTo>
                    <a:pt x="0" y="2"/>
                  </a:lnTo>
                  <a:lnTo>
                    <a:pt x="13" y="0"/>
                  </a:lnTo>
                  <a:lnTo>
                    <a:pt x="13" y="6"/>
                  </a:lnTo>
                  <a:lnTo>
                    <a:pt x="13" y="12"/>
                  </a:lnTo>
                  <a:lnTo>
                    <a:pt x="18" y="23"/>
                  </a:lnTo>
                  <a:lnTo>
                    <a:pt x="19" y="28"/>
                  </a:lnTo>
                  <a:lnTo>
                    <a:pt x="23" y="32"/>
                  </a:lnTo>
                  <a:lnTo>
                    <a:pt x="26" y="37"/>
                  </a:lnTo>
                  <a:lnTo>
                    <a:pt x="30" y="41"/>
                  </a:lnTo>
                  <a:lnTo>
                    <a:pt x="38" y="49"/>
                  </a:lnTo>
                  <a:lnTo>
                    <a:pt x="42" y="51"/>
                  </a:lnTo>
                  <a:lnTo>
                    <a:pt x="48" y="54"/>
                  </a:lnTo>
                  <a:lnTo>
                    <a:pt x="53" y="55"/>
                  </a:lnTo>
                  <a:lnTo>
                    <a:pt x="58" y="57"/>
                  </a:lnTo>
                  <a:lnTo>
                    <a:pt x="71" y="58"/>
                  </a:lnTo>
                  <a:lnTo>
                    <a:pt x="70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44" name="Freeform 115"/>
            <p:cNvSpPr>
              <a:spLocks/>
            </p:cNvSpPr>
            <p:nvPr/>
          </p:nvSpPr>
          <p:spPr bwMode="auto">
            <a:xfrm>
              <a:off x="3149" y="2260"/>
              <a:ext cx="3" cy="7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" h="13">
                  <a:moveTo>
                    <a:pt x="3" y="13"/>
                  </a:moveTo>
                  <a:lnTo>
                    <a:pt x="2" y="1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45" name="Freeform 116"/>
            <p:cNvSpPr>
              <a:spLocks/>
            </p:cNvSpPr>
            <p:nvPr/>
          </p:nvSpPr>
          <p:spPr bwMode="auto">
            <a:xfrm>
              <a:off x="3114" y="2233"/>
              <a:ext cx="3" cy="0"/>
            </a:xfrm>
            <a:custGeom>
              <a:avLst/>
              <a:gdLst>
                <a:gd name="T0" fmla="*/ 0 w 13"/>
                <a:gd name="T1" fmla="*/ 1 h 2"/>
                <a:gd name="T2" fmla="*/ 0 w 13"/>
                <a:gd name="T3" fmla="*/ 0 h 2"/>
                <a:gd name="T4" fmla="*/ 1 w 13"/>
                <a:gd name="T5" fmla="*/ 1 h 2"/>
                <a:gd name="T6" fmla="*/ 1 w 13"/>
                <a:gd name="T7" fmla="*/ 0 h 2"/>
                <a:gd name="T8" fmla="*/ 0 w 13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0" y="2"/>
                  </a:moveTo>
                  <a:lnTo>
                    <a:pt x="0" y="0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46" name="Rectangle 117"/>
            <p:cNvSpPr>
              <a:spLocks noChangeArrowheads="1"/>
            </p:cNvSpPr>
            <p:nvPr/>
          </p:nvSpPr>
          <p:spPr bwMode="auto">
            <a:xfrm>
              <a:off x="2900" y="2124"/>
              <a:ext cx="59" cy="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</p:grpSp>
      <p:grpSp>
        <p:nvGrpSpPr>
          <p:cNvPr id="23" name="Group 76"/>
          <p:cNvGrpSpPr>
            <a:grpSpLocks/>
          </p:cNvGrpSpPr>
          <p:nvPr/>
        </p:nvGrpSpPr>
        <p:grpSpPr bwMode="auto">
          <a:xfrm flipH="1">
            <a:off x="6440122" y="2141677"/>
            <a:ext cx="203277" cy="130340"/>
            <a:chOff x="2885" y="2075"/>
            <a:chExt cx="404" cy="192"/>
          </a:xfrm>
        </p:grpSpPr>
        <p:sp>
          <p:nvSpPr>
            <p:cNvPr id="648" name="Freeform 77"/>
            <p:cNvSpPr>
              <a:spLocks/>
            </p:cNvSpPr>
            <p:nvPr/>
          </p:nvSpPr>
          <p:spPr bwMode="auto">
            <a:xfrm>
              <a:off x="2888" y="2077"/>
              <a:ext cx="401" cy="150"/>
            </a:xfrm>
            <a:custGeom>
              <a:avLst/>
              <a:gdLst>
                <a:gd name="T0" fmla="*/ 0 w 798"/>
                <a:gd name="T1" fmla="*/ 1 h 300"/>
                <a:gd name="T2" fmla="*/ 0 w 798"/>
                <a:gd name="T3" fmla="*/ 0 h 300"/>
                <a:gd name="T4" fmla="*/ 0 w 798"/>
                <a:gd name="T5" fmla="*/ 0 h 300"/>
                <a:gd name="T6" fmla="*/ 0 w 798"/>
                <a:gd name="T7" fmla="*/ 1 h 300"/>
                <a:gd name="T8" fmla="*/ 0 w 798"/>
                <a:gd name="T9" fmla="*/ 1 h 300"/>
                <a:gd name="T10" fmla="*/ 0 w 798"/>
                <a:gd name="T11" fmla="*/ 1 h 300"/>
                <a:gd name="T12" fmla="*/ 0 w 798"/>
                <a:gd name="T13" fmla="*/ 1 h 3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98" h="300">
                  <a:moveTo>
                    <a:pt x="193" y="73"/>
                  </a:moveTo>
                  <a:lnTo>
                    <a:pt x="193" y="0"/>
                  </a:lnTo>
                  <a:lnTo>
                    <a:pt x="798" y="0"/>
                  </a:lnTo>
                  <a:lnTo>
                    <a:pt x="798" y="300"/>
                  </a:lnTo>
                  <a:lnTo>
                    <a:pt x="2" y="300"/>
                  </a:lnTo>
                  <a:lnTo>
                    <a:pt x="0" y="73"/>
                  </a:lnTo>
                  <a:lnTo>
                    <a:pt x="193" y="73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49" name="Rectangle 78"/>
            <p:cNvSpPr>
              <a:spLocks noChangeArrowheads="1"/>
            </p:cNvSpPr>
            <p:nvPr/>
          </p:nvSpPr>
          <p:spPr bwMode="auto">
            <a:xfrm>
              <a:off x="2983" y="2077"/>
              <a:ext cx="3" cy="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50" name="Rectangle 79"/>
            <p:cNvSpPr>
              <a:spLocks noChangeArrowheads="1"/>
            </p:cNvSpPr>
            <p:nvPr/>
          </p:nvSpPr>
          <p:spPr bwMode="auto">
            <a:xfrm>
              <a:off x="2983" y="2075"/>
              <a:ext cx="303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51" name="Freeform 80"/>
            <p:cNvSpPr>
              <a:spLocks/>
            </p:cNvSpPr>
            <p:nvPr/>
          </p:nvSpPr>
          <p:spPr bwMode="auto">
            <a:xfrm>
              <a:off x="2983" y="2075"/>
              <a:ext cx="3" cy="5"/>
            </a:xfrm>
            <a:custGeom>
              <a:avLst/>
              <a:gdLst>
                <a:gd name="T0" fmla="*/ 0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0 h 11"/>
                <a:gd name="T8" fmla="*/ 0 w 11"/>
                <a:gd name="T9" fmla="*/ 0 h 11"/>
                <a:gd name="T10" fmla="*/ 0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0" y="5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5" y="11"/>
                  </a:lnTo>
                  <a:lnTo>
                    <a:pt x="11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52" name="Rectangle 81"/>
            <p:cNvSpPr>
              <a:spLocks noChangeArrowheads="1"/>
            </p:cNvSpPr>
            <p:nvPr/>
          </p:nvSpPr>
          <p:spPr bwMode="auto">
            <a:xfrm>
              <a:off x="3283" y="2077"/>
              <a:ext cx="6" cy="1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53" name="Freeform 82"/>
            <p:cNvSpPr>
              <a:spLocks/>
            </p:cNvSpPr>
            <p:nvPr/>
          </p:nvSpPr>
          <p:spPr bwMode="auto">
            <a:xfrm>
              <a:off x="3283" y="2075"/>
              <a:ext cx="6" cy="5"/>
            </a:xfrm>
            <a:custGeom>
              <a:avLst/>
              <a:gdLst>
                <a:gd name="T0" fmla="*/ 0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0 h 11"/>
                <a:gd name="T8" fmla="*/ 0 w 11"/>
                <a:gd name="T9" fmla="*/ 0 h 11"/>
                <a:gd name="T10" fmla="*/ 0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5" y="0"/>
                  </a:moveTo>
                  <a:lnTo>
                    <a:pt x="11" y="0"/>
                  </a:lnTo>
                  <a:lnTo>
                    <a:pt x="11" y="5"/>
                  </a:lnTo>
                  <a:lnTo>
                    <a:pt x="0" y="5"/>
                  </a:lnTo>
                  <a:lnTo>
                    <a:pt x="5" y="1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54" name="Rectangle 83"/>
            <p:cNvSpPr>
              <a:spLocks noChangeArrowheads="1"/>
            </p:cNvSpPr>
            <p:nvPr/>
          </p:nvSpPr>
          <p:spPr bwMode="auto">
            <a:xfrm>
              <a:off x="2888" y="2225"/>
              <a:ext cx="401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55" name="Freeform 84"/>
            <p:cNvSpPr>
              <a:spLocks/>
            </p:cNvSpPr>
            <p:nvPr/>
          </p:nvSpPr>
          <p:spPr bwMode="auto">
            <a:xfrm>
              <a:off x="3283" y="2225"/>
              <a:ext cx="6" cy="5"/>
            </a:xfrm>
            <a:custGeom>
              <a:avLst/>
              <a:gdLst>
                <a:gd name="T0" fmla="*/ 0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0 h 11"/>
                <a:gd name="T8" fmla="*/ 0 w 11"/>
                <a:gd name="T9" fmla="*/ 0 h 11"/>
                <a:gd name="T10" fmla="*/ 0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11" y="5"/>
                  </a:moveTo>
                  <a:lnTo>
                    <a:pt x="11" y="11"/>
                  </a:lnTo>
                  <a:lnTo>
                    <a:pt x="5" y="11"/>
                  </a:lnTo>
                  <a:lnTo>
                    <a:pt x="5" y="0"/>
                  </a:lnTo>
                  <a:lnTo>
                    <a:pt x="0" y="5"/>
                  </a:lnTo>
                  <a:lnTo>
                    <a:pt x="1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56" name="Freeform 85"/>
            <p:cNvSpPr>
              <a:spLocks/>
            </p:cNvSpPr>
            <p:nvPr/>
          </p:nvSpPr>
          <p:spPr bwMode="auto">
            <a:xfrm>
              <a:off x="2885" y="2114"/>
              <a:ext cx="6" cy="113"/>
            </a:xfrm>
            <a:custGeom>
              <a:avLst/>
              <a:gdLst>
                <a:gd name="T0" fmla="*/ 0 w 13"/>
                <a:gd name="T1" fmla="*/ 0 h 227"/>
                <a:gd name="T2" fmla="*/ 0 w 13"/>
                <a:gd name="T3" fmla="*/ 0 h 227"/>
                <a:gd name="T4" fmla="*/ 0 w 13"/>
                <a:gd name="T5" fmla="*/ 0 h 227"/>
                <a:gd name="T6" fmla="*/ 0 w 13"/>
                <a:gd name="T7" fmla="*/ 0 h 227"/>
                <a:gd name="T8" fmla="*/ 0 w 13"/>
                <a:gd name="T9" fmla="*/ 0 h 2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27">
                  <a:moveTo>
                    <a:pt x="2" y="227"/>
                  </a:moveTo>
                  <a:lnTo>
                    <a:pt x="13" y="227"/>
                  </a:lnTo>
                  <a:lnTo>
                    <a:pt x="11" y="0"/>
                  </a:lnTo>
                  <a:lnTo>
                    <a:pt x="0" y="0"/>
                  </a:lnTo>
                  <a:lnTo>
                    <a:pt x="2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57" name="Freeform 86"/>
            <p:cNvSpPr>
              <a:spLocks/>
            </p:cNvSpPr>
            <p:nvPr/>
          </p:nvSpPr>
          <p:spPr bwMode="auto">
            <a:xfrm>
              <a:off x="2885" y="2225"/>
              <a:ext cx="6" cy="5"/>
            </a:xfrm>
            <a:custGeom>
              <a:avLst/>
              <a:gdLst>
                <a:gd name="T0" fmla="*/ 1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1 w 11"/>
                <a:gd name="T7" fmla="*/ 0 h 11"/>
                <a:gd name="T8" fmla="*/ 1 w 11"/>
                <a:gd name="T9" fmla="*/ 0 h 11"/>
                <a:gd name="T10" fmla="*/ 1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lnTo>
                    <a:pt x="0" y="11"/>
                  </a:lnTo>
                  <a:lnTo>
                    <a:pt x="0" y="5"/>
                  </a:lnTo>
                  <a:lnTo>
                    <a:pt x="11" y="5"/>
                  </a:lnTo>
                  <a:lnTo>
                    <a:pt x="6" y="0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58" name="Rectangle 87"/>
            <p:cNvSpPr>
              <a:spLocks noChangeArrowheads="1"/>
            </p:cNvSpPr>
            <p:nvPr/>
          </p:nvSpPr>
          <p:spPr bwMode="auto">
            <a:xfrm>
              <a:off x="2888" y="2110"/>
              <a:ext cx="95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59" name="Freeform 88"/>
            <p:cNvSpPr>
              <a:spLocks/>
            </p:cNvSpPr>
            <p:nvPr/>
          </p:nvSpPr>
          <p:spPr bwMode="auto">
            <a:xfrm>
              <a:off x="2885" y="2110"/>
              <a:ext cx="6" cy="5"/>
            </a:xfrm>
            <a:custGeom>
              <a:avLst/>
              <a:gdLst>
                <a:gd name="T0" fmla="*/ 0 w 11"/>
                <a:gd name="T1" fmla="*/ 1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1 h 11"/>
                <a:gd name="T8" fmla="*/ 0 w 11"/>
                <a:gd name="T9" fmla="*/ 1 h 11"/>
                <a:gd name="T10" fmla="*/ 0 w 11"/>
                <a:gd name="T11" fmla="*/ 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0" y="4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11"/>
                  </a:lnTo>
                  <a:lnTo>
                    <a:pt x="11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60" name="Freeform 89"/>
            <p:cNvSpPr>
              <a:spLocks/>
            </p:cNvSpPr>
            <p:nvPr/>
          </p:nvSpPr>
          <p:spPr bwMode="auto">
            <a:xfrm>
              <a:off x="2983" y="2110"/>
              <a:ext cx="3" cy="5"/>
            </a:xfrm>
            <a:custGeom>
              <a:avLst/>
              <a:gdLst>
                <a:gd name="T0" fmla="*/ 0 w 11"/>
                <a:gd name="T1" fmla="*/ 1 h 11"/>
                <a:gd name="T2" fmla="*/ 0 w 11"/>
                <a:gd name="T3" fmla="*/ 1 h 11"/>
                <a:gd name="T4" fmla="*/ 0 w 11"/>
                <a:gd name="T5" fmla="*/ 1 h 11"/>
                <a:gd name="T6" fmla="*/ 0 w 11"/>
                <a:gd name="T7" fmla="*/ 1 h 11"/>
                <a:gd name="T8" fmla="*/ 0 w 11"/>
                <a:gd name="T9" fmla="*/ 0 h 11"/>
                <a:gd name="T10" fmla="*/ 0 w 11"/>
                <a:gd name="T11" fmla="*/ 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5" y="11"/>
                  </a:moveTo>
                  <a:lnTo>
                    <a:pt x="11" y="11"/>
                  </a:lnTo>
                  <a:lnTo>
                    <a:pt x="11" y="4"/>
                  </a:lnTo>
                  <a:lnTo>
                    <a:pt x="0" y="4"/>
                  </a:lnTo>
                  <a:lnTo>
                    <a:pt x="5" y="0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61" name="Freeform 90"/>
            <p:cNvSpPr>
              <a:spLocks/>
            </p:cNvSpPr>
            <p:nvPr/>
          </p:nvSpPr>
          <p:spPr bwMode="auto">
            <a:xfrm>
              <a:off x="2927" y="2200"/>
              <a:ext cx="62" cy="64"/>
            </a:xfrm>
            <a:custGeom>
              <a:avLst/>
              <a:gdLst>
                <a:gd name="T0" fmla="*/ 0 w 127"/>
                <a:gd name="T1" fmla="*/ 1 h 127"/>
                <a:gd name="T2" fmla="*/ 0 w 127"/>
                <a:gd name="T3" fmla="*/ 1 h 127"/>
                <a:gd name="T4" fmla="*/ 0 w 127"/>
                <a:gd name="T5" fmla="*/ 1 h 127"/>
                <a:gd name="T6" fmla="*/ 0 w 127"/>
                <a:gd name="T7" fmla="*/ 1 h 127"/>
                <a:gd name="T8" fmla="*/ 0 w 127"/>
                <a:gd name="T9" fmla="*/ 1 h 127"/>
                <a:gd name="T10" fmla="*/ 0 w 127"/>
                <a:gd name="T11" fmla="*/ 1 h 127"/>
                <a:gd name="T12" fmla="*/ 0 w 127"/>
                <a:gd name="T13" fmla="*/ 1 h 127"/>
                <a:gd name="T14" fmla="*/ 0 w 127"/>
                <a:gd name="T15" fmla="*/ 1 h 127"/>
                <a:gd name="T16" fmla="*/ 0 w 127"/>
                <a:gd name="T17" fmla="*/ 1 h 127"/>
                <a:gd name="T18" fmla="*/ 0 w 127"/>
                <a:gd name="T19" fmla="*/ 1 h 127"/>
                <a:gd name="T20" fmla="*/ 0 w 127"/>
                <a:gd name="T21" fmla="*/ 1 h 127"/>
                <a:gd name="T22" fmla="*/ 0 w 127"/>
                <a:gd name="T23" fmla="*/ 1 h 127"/>
                <a:gd name="T24" fmla="*/ 0 w 127"/>
                <a:gd name="T25" fmla="*/ 0 h 127"/>
                <a:gd name="T26" fmla="*/ 0 w 127"/>
                <a:gd name="T27" fmla="*/ 1 h 127"/>
                <a:gd name="T28" fmla="*/ 0 w 127"/>
                <a:gd name="T29" fmla="*/ 1 h 127"/>
                <a:gd name="T30" fmla="*/ 0 w 127"/>
                <a:gd name="T31" fmla="*/ 1 h 127"/>
                <a:gd name="T32" fmla="*/ 0 w 127"/>
                <a:gd name="T33" fmla="*/ 1 h 127"/>
                <a:gd name="T34" fmla="*/ 0 w 127"/>
                <a:gd name="T35" fmla="*/ 1 h 127"/>
                <a:gd name="T36" fmla="*/ 0 w 127"/>
                <a:gd name="T37" fmla="*/ 1 h 127"/>
                <a:gd name="T38" fmla="*/ 0 w 127"/>
                <a:gd name="T39" fmla="*/ 1 h 127"/>
                <a:gd name="T40" fmla="*/ 0 w 127"/>
                <a:gd name="T41" fmla="*/ 1 h 127"/>
                <a:gd name="T42" fmla="*/ 0 w 127"/>
                <a:gd name="T43" fmla="*/ 1 h 127"/>
                <a:gd name="T44" fmla="*/ 0 w 127"/>
                <a:gd name="T45" fmla="*/ 1 h 127"/>
                <a:gd name="T46" fmla="*/ 0 w 127"/>
                <a:gd name="T47" fmla="*/ 1 h 127"/>
                <a:gd name="T48" fmla="*/ 0 w 127"/>
                <a:gd name="T49" fmla="*/ 1 h 127"/>
                <a:gd name="T50" fmla="*/ 0 w 127"/>
                <a:gd name="T51" fmla="*/ 1 h 127"/>
                <a:gd name="T52" fmla="*/ 0 w 127"/>
                <a:gd name="T53" fmla="*/ 1 h 127"/>
                <a:gd name="T54" fmla="*/ 0 w 127"/>
                <a:gd name="T55" fmla="*/ 1 h 127"/>
                <a:gd name="T56" fmla="*/ 0 w 127"/>
                <a:gd name="T57" fmla="*/ 1 h 127"/>
                <a:gd name="T58" fmla="*/ 0 w 127"/>
                <a:gd name="T59" fmla="*/ 1 h 127"/>
                <a:gd name="T60" fmla="*/ 0 w 127"/>
                <a:gd name="T61" fmla="*/ 1 h 127"/>
                <a:gd name="T62" fmla="*/ 0 w 127"/>
                <a:gd name="T63" fmla="*/ 1 h 127"/>
                <a:gd name="T64" fmla="*/ 0 w 127"/>
                <a:gd name="T65" fmla="*/ 1 h 127"/>
                <a:gd name="T66" fmla="*/ 0 w 127"/>
                <a:gd name="T67" fmla="*/ 1 h 127"/>
                <a:gd name="T68" fmla="*/ 0 w 127"/>
                <a:gd name="T69" fmla="*/ 1 h 127"/>
                <a:gd name="T70" fmla="*/ 0 w 127"/>
                <a:gd name="T71" fmla="*/ 1 h 127"/>
                <a:gd name="T72" fmla="*/ 0 w 127"/>
                <a:gd name="T73" fmla="*/ 1 h 127"/>
                <a:gd name="T74" fmla="*/ 0 w 127"/>
                <a:gd name="T75" fmla="*/ 1 h 127"/>
                <a:gd name="T76" fmla="*/ 0 w 127"/>
                <a:gd name="T77" fmla="*/ 1 h 127"/>
                <a:gd name="T78" fmla="*/ 0 w 127"/>
                <a:gd name="T79" fmla="*/ 1 h 127"/>
                <a:gd name="T80" fmla="*/ 0 w 127"/>
                <a:gd name="T81" fmla="*/ 1 h 127"/>
                <a:gd name="T82" fmla="*/ 0 w 127"/>
                <a:gd name="T83" fmla="*/ 1 h 127"/>
                <a:gd name="T84" fmla="*/ 0 w 127"/>
                <a:gd name="T85" fmla="*/ 1 h 127"/>
                <a:gd name="T86" fmla="*/ 0 w 127"/>
                <a:gd name="T87" fmla="*/ 1 h 127"/>
                <a:gd name="T88" fmla="*/ 0 w 127"/>
                <a:gd name="T89" fmla="*/ 1 h 127"/>
                <a:gd name="T90" fmla="*/ 0 w 127"/>
                <a:gd name="T91" fmla="*/ 1 h 127"/>
                <a:gd name="T92" fmla="*/ 0 w 127"/>
                <a:gd name="T93" fmla="*/ 1 h 127"/>
                <a:gd name="T94" fmla="*/ 0 w 127"/>
                <a:gd name="T95" fmla="*/ 1 h 127"/>
                <a:gd name="T96" fmla="*/ 0 w 127"/>
                <a:gd name="T97" fmla="*/ 1 h 127"/>
                <a:gd name="T98" fmla="*/ 0 w 127"/>
                <a:gd name="T99" fmla="*/ 1 h 127"/>
                <a:gd name="T100" fmla="*/ 0 w 127"/>
                <a:gd name="T101" fmla="*/ 1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7" h="127">
                  <a:moveTo>
                    <a:pt x="0" y="65"/>
                  </a:moveTo>
                  <a:lnTo>
                    <a:pt x="0" y="51"/>
                  </a:lnTo>
                  <a:lnTo>
                    <a:pt x="2" y="45"/>
                  </a:lnTo>
                  <a:lnTo>
                    <a:pt x="5" y="39"/>
                  </a:lnTo>
                  <a:lnTo>
                    <a:pt x="8" y="34"/>
                  </a:lnTo>
                  <a:lnTo>
                    <a:pt x="11" y="28"/>
                  </a:lnTo>
                  <a:lnTo>
                    <a:pt x="19" y="19"/>
                  </a:lnTo>
                  <a:lnTo>
                    <a:pt x="23" y="16"/>
                  </a:lnTo>
                  <a:lnTo>
                    <a:pt x="28" y="11"/>
                  </a:lnTo>
                  <a:lnTo>
                    <a:pt x="32" y="8"/>
                  </a:lnTo>
                  <a:lnTo>
                    <a:pt x="39" y="5"/>
                  </a:lnTo>
                  <a:lnTo>
                    <a:pt x="51" y="2"/>
                  </a:lnTo>
                  <a:lnTo>
                    <a:pt x="63" y="0"/>
                  </a:lnTo>
                  <a:lnTo>
                    <a:pt x="75" y="2"/>
                  </a:lnTo>
                  <a:lnTo>
                    <a:pt x="81" y="3"/>
                  </a:lnTo>
                  <a:lnTo>
                    <a:pt x="87" y="5"/>
                  </a:lnTo>
                  <a:lnTo>
                    <a:pt x="94" y="8"/>
                  </a:lnTo>
                  <a:lnTo>
                    <a:pt x="98" y="11"/>
                  </a:lnTo>
                  <a:lnTo>
                    <a:pt x="107" y="19"/>
                  </a:lnTo>
                  <a:lnTo>
                    <a:pt x="112" y="23"/>
                  </a:lnTo>
                  <a:lnTo>
                    <a:pt x="116" y="28"/>
                  </a:lnTo>
                  <a:lnTo>
                    <a:pt x="120" y="34"/>
                  </a:lnTo>
                  <a:lnTo>
                    <a:pt x="121" y="39"/>
                  </a:lnTo>
                  <a:lnTo>
                    <a:pt x="126" y="51"/>
                  </a:lnTo>
                  <a:lnTo>
                    <a:pt x="126" y="57"/>
                  </a:lnTo>
                  <a:lnTo>
                    <a:pt x="127" y="65"/>
                  </a:lnTo>
                  <a:lnTo>
                    <a:pt x="126" y="77"/>
                  </a:lnTo>
                  <a:lnTo>
                    <a:pt x="124" y="83"/>
                  </a:lnTo>
                  <a:lnTo>
                    <a:pt x="121" y="89"/>
                  </a:lnTo>
                  <a:lnTo>
                    <a:pt x="120" y="94"/>
                  </a:lnTo>
                  <a:lnTo>
                    <a:pt x="116" y="100"/>
                  </a:lnTo>
                  <a:lnTo>
                    <a:pt x="107" y="109"/>
                  </a:lnTo>
                  <a:lnTo>
                    <a:pt x="104" y="114"/>
                  </a:lnTo>
                  <a:lnTo>
                    <a:pt x="98" y="117"/>
                  </a:lnTo>
                  <a:lnTo>
                    <a:pt x="94" y="120"/>
                  </a:lnTo>
                  <a:lnTo>
                    <a:pt x="87" y="123"/>
                  </a:lnTo>
                  <a:lnTo>
                    <a:pt x="75" y="126"/>
                  </a:lnTo>
                  <a:lnTo>
                    <a:pt x="63" y="127"/>
                  </a:lnTo>
                  <a:lnTo>
                    <a:pt x="51" y="126"/>
                  </a:lnTo>
                  <a:lnTo>
                    <a:pt x="45" y="124"/>
                  </a:lnTo>
                  <a:lnTo>
                    <a:pt x="39" y="123"/>
                  </a:lnTo>
                  <a:lnTo>
                    <a:pt x="32" y="120"/>
                  </a:lnTo>
                  <a:lnTo>
                    <a:pt x="28" y="117"/>
                  </a:lnTo>
                  <a:lnTo>
                    <a:pt x="19" y="109"/>
                  </a:lnTo>
                  <a:lnTo>
                    <a:pt x="14" y="104"/>
                  </a:lnTo>
                  <a:lnTo>
                    <a:pt x="11" y="100"/>
                  </a:lnTo>
                  <a:lnTo>
                    <a:pt x="8" y="94"/>
                  </a:lnTo>
                  <a:lnTo>
                    <a:pt x="5" y="89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62" name="Freeform 91"/>
            <p:cNvSpPr>
              <a:spLocks/>
            </p:cNvSpPr>
            <p:nvPr/>
          </p:nvSpPr>
          <p:spPr bwMode="auto">
            <a:xfrm>
              <a:off x="2921" y="2196"/>
              <a:ext cx="39" cy="37"/>
            </a:xfrm>
            <a:custGeom>
              <a:avLst/>
              <a:gdLst>
                <a:gd name="T0" fmla="*/ 0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0 w 70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0" h="71">
                  <a:moveTo>
                    <a:pt x="0" y="69"/>
                  </a:moveTo>
                  <a:lnTo>
                    <a:pt x="1" y="55"/>
                  </a:lnTo>
                  <a:lnTo>
                    <a:pt x="3" y="49"/>
                  </a:lnTo>
                  <a:lnTo>
                    <a:pt x="6" y="43"/>
                  </a:lnTo>
                  <a:lnTo>
                    <a:pt x="9" y="37"/>
                  </a:lnTo>
                  <a:lnTo>
                    <a:pt x="12" y="31"/>
                  </a:lnTo>
                  <a:lnTo>
                    <a:pt x="20" y="20"/>
                  </a:lnTo>
                  <a:lnTo>
                    <a:pt x="26" y="16"/>
                  </a:lnTo>
                  <a:lnTo>
                    <a:pt x="30" y="13"/>
                  </a:lnTo>
                  <a:lnTo>
                    <a:pt x="36" y="8"/>
                  </a:lnTo>
                  <a:lnTo>
                    <a:pt x="43" y="5"/>
                  </a:lnTo>
                  <a:lnTo>
                    <a:pt x="56" y="2"/>
                  </a:lnTo>
                  <a:lnTo>
                    <a:pt x="70" y="0"/>
                  </a:lnTo>
                  <a:lnTo>
                    <a:pt x="70" y="14"/>
                  </a:lnTo>
                  <a:lnTo>
                    <a:pt x="58" y="14"/>
                  </a:lnTo>
                  <a:lnTo>
                    <a:pt x="47" y="19"/>
                  </a:lnTo>
                  <a:lnTo>
                    <a:pt x="43" y="20"/>
                  </a:lnTo>
                  <a:lnTo>
                    <a:pt x="38" y="23"/>
                  </a:lnTo>
                  <a:lnTo>
                    <a:pt x="33" y="26"/>
                  </a:lnTo>
                  <a:lnTo>
                    <a:pt x="30" y="29"/>
                  </a:lnTo>
                  <a:lnTo>
                    <a:pt x="23" y="39"/>
                  </a:lnTo>
                  <a:lnTo>
                    <a:pt x="20" y="43"/>
                  </a:lnTo>
                  <a:lnTo>
                    <a:pt x="18" y="48"/>
                  </a:lnTo>
                  <a:lnTo>
                    <a:pt x="15" y="54"/>
                  </a:lnTo>
                  <a:lnTo>
                    <a:pt x="15" y="58"/>
                  </a:lnTo>
                  <a:lnTo>
                    <a:pt x="13" y="71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63" name="Freeform 92"/>
            <p:cNvSpPr>
              <a:spLocks/>
            </p:cNvSpPr>
            <p:nvPr/>
          </p:nvSpPr>
          <p:spPr bwMode="auto">
            <a:xfrm>
              <a:off x="2959" y="2196"/>
              <a:ext cx="36" cy="37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w 70"/>
                <a:gd name="T55" fmla="*/ 0 h 71"/>
                <a:gd name="T56" fmla="*/ 1 w 70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0" h="71">
                  <a:moveTo>
                    <a:pt x="2" y="0"/>
                  </a:moveTo>
                  <a:lnTo>
                    <a:pt x="14" y="2"/>
                  </a:lnTo>
                  <a:lnTo>
                    <a:pt x="21" y="3"/>
                  </a:lnTo>
                  <a:lnTo>
                    <a:pt x="27" y="5"/>
                  </a:lnTo>
                  <a:lnTo>
                    <a:pt x="34" y="8"/>
                  </a:lnTo>
                  <a:lnTo>
                    <a:pt x="40" y="13"/>
                  </a:lnTo>
                  <a:lnTo>
                    <a:pt x="49" y="20"/>
                  </a:lnTo>
                  <a:lnTo>
                    <a:pt x="53" y="25"/>
                  </a:lnTo>
                  <a:lnTo>
                    <a:pt x="58" y="31"/>
                  </a:lnTo>
                  <a:lnTo>
                    <a:pt x="61" y="37"/>
                  </a:lnTo>
                  <a:lnTo>
                    <a:pt x="64" y="43"/>
                  </a:lnTo>
                  <a:lnTo>
                    <a:pt x="69" y="55"/>
                  </a:lnTo>
                  <a:lnTo>
                    <a:pt x="70" y="63"/>
                  </a:lnTo>
                  <a:lnTo>
                    <a:pt x="70" y="69"/>
                  </a:lnTo>
                  <a:lnTo>
                    <a:pt x="57" y="71"/>
                  </a:lnTo>
                  <a:lnTo>
                    <a:pt x="57" y="65"/>
                  </a:lnTo>
                  <a:lnTo>
                    <a:pt x="57" y="58"/>
                  </a:lnTo>
                  <a:lnTo>
                    <a:pt x="52" y="48"/>
                  </a:lnTo>
                  <a:lnTo>
                    <a:pt x="50" y="43"/>
                  </a:lnTo>
                  <a:lnTo>
                    <a:pt x="47" y="39"/>
                  </a:lnTo>
                  <a:lnTo>
                    <a:pt x="44" y="34"/>
                  </a:lnTo>
                  <a:lnTo>
                    <a:pt x="40" y="29"/>
                  </a:lnTo>
                  <a:lnTo>
                    <a:pt x="32" y="23"/>
                  </a:lnTo>
                  <a:lnTo>
                    <a:pt x="27" y="20"/>
                  </a:lnTo>
                  <a:lnTo>
                    <a:pt x="21" y="17"/>
                  </a:lnTo>
                  <a:lnTo>
                    <a:pt x="17" y="16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64" name="Freeform 93"/>
            <p:cNvSpPr>
              <a:spLocks/>
            </p:cNvSpPr>
            <p:nvPr/>
          </p:nvSpPr>
          <p:spPr bwMode="auto">
            <a:xfrm>
              <a:off x="2959" y="2196"/>
              <a:ext cx="0" cy="8"/>
            </a:xfrm>
            <a:custGeom>
              <a:avLst/>
              <a:gdLst>
                <a:gd name="T0" fmla="*/ 0 w 2"/>
                <a:gd name="T1" fmla="*/ 0 h 14"/>
                <a:gd name="T2" fmla="*/ 1 w 2"/>
                <a:gd name="T3" fmla="*/ 0 h 14"/>
                <a:gd name="T4" fmla="*/ 0 w 2"/>
                <a:gd name="T5" fmla="*/ 1 h 14"/>
                <a:gd name="T6" fmla="*/ 0 w 2"/>
                <a:gd name="T7" fmla="*/ 0 h 1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14">
                  <a:moveTo>
                    <a:pt x="0" y="0"/>
                  </a:moveTo>
                  <a:lnTo>
                    <a:pt x="2" y="0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65" name="Freeform 94"/>
            <p:cNvSpPr>
              <a:spLocks/>
            </p:cNvSpPr>
            <p:nvPr/>
          </p:nvSpPr>
          <p:spPr bwMode="auto">
            <a:xfrm>
              <a:off x="2956" y="2233"/>
              <a:ext cx="36" cy="34"/>
            </a:xfrm>
            <a:custGeom>
              <a:avLst/>
              <a:gdLst>
                <a:gd name="T0" fmla="*/ 1 w 72"/>
                <a:gd name="T1" fmla="*/ 0 h 71"/>
                <a:gd name="T2" fmla="*/ 1 w 72"/>
                <a:gd name="T3" fmla="*/ 0 h 71"/>
                <a:gd name="T4" fmla="*/ 1 w 72"/>
                <a:gd name="T5" fmla="*/ 0 h 71"/>
                <a:gd name="T6" fmla="*/ 1 w 72"/>
                <a:gd name="T7" fmla="*/ 0 h 71"/>
                <a:gd name="T8" fmla="*/ 1 w 72"/>
                <a:gd name="T9" fmla="*/ 0 h 71"/>
                <a:gd name="T10" fmla="*/ 1 w 72"/>
                <a:gd name="T11" fmla="*/ 0 h 71"/>
                <a:gd name="T12" fmla="*/ 1 w 72"/>
                <a:gd name="T13" fmla="*/ 0 h 71"/>
                <a:gd name="T14" fmla="*/ 1 w 72"/>
                <a:gd name="T15" fmla="*/ 0 h 71"/>
                <a:gd name="T16" fmla="*/ 1 w 72"/>
                <a:gd name="T17" fmla="*/ 0 h 71"/>
                <a:gd name="T18" fmla="*/ 1 w 72"/>
                <a:gd name="T19" fmla="*/ 0 h 71"/>
                <a:gd name="T20" fmla="*/ 1 w 72"/>
                <a:gd name="T21" fmla="*/ 0 h 71"/>
                <a:gd name="T22" fmla="*/ 1 w 72"/>
                <a:gd name="T23" fmla="*/ 0 h 71"/>
                <a:gd name="T24" fmla="*/ 1 w 72"/>
                <a:gd name="T25" fmla="*/ 0 h 71"/>
                <a:gd name="T26" fmla="*/ 0 w 72"/>
                <a:gd name="T27" fmla="*/ 0 h 71"/>
                <a:gd name="T28" fmla="*/ 1 w 72"/>
                <a:gd name="T29" fmla="*/ 0 h 71"/>
                <a:gd name="T30" fmla="*/ 1 w 72"/>
                <a:gd name="T31" fmla="*/ 0 h 71"/>
                <a:gd name="T32" fmla="*/ 1 w 72"/>
                <a:gd name="T33" fmla="*/ 0 h 71"/>
                <a:gd name="T34" fmla="*/ 1 w 72"/>
                <a:gd name="T35" fmla="*/ 0 h 71"/>
                <a:gd name="T36" fmla="*/ 1 w 72"/>
                <a:gd name="T37" fmla="*/ 0 h 71"/>
                <a:gd name="T38" fmla="*/ 1 w 72"/>
                <a:gd name="T39" fmla="*/ 0 h 71"/>
                <a:gd name="T40" fmla="*/ 1 w 72"/>
                <a:gd name="T41" fmla="*/ 0 h 71"/>
                <a:gd name="T42" fmla="*/ 1 w 72"/>
                <a:gd name="T43" fmla="*/ 0 h 71"/>
                <a:gd name="T44" fmla="*/ 1 w 72"/>
                <a:gd name="T45" fmla="*/ 0 h 71"/>
                <a:gd name="T46" fmla="*/ 1 w 72"/>
                <a:gd name="T47" fmla="*/ 0 h 71"/>
                <a:gd name="T48" fmla="*/ 1 w 72"/>
                <a:gd name="T49" fmla="*/ 0 h 71"/>
                <a:gd name="T50" fmla="*/ 1 w 72"/>
                <a:gd name="T51" fmla="*/ 0 h 71"/>
                <a:gd name="T52" fmla="*/ 1 w 72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2" h="71">
                  <a:moveTo>
                    <a:pt x="72" y="2"/>
                  </a:moveTo>
                  <a:lnTo>
                    <a:pt x="71" y="14"/>
                  </a:lnTo>
                  <a:lnTo>
                    <a:pt x="69" y="22"/>
                  </a:lnTo>
                  <a:lnTo>
                    <a:pt x="66" y="28"/>
                  </a:lnTo>
                  <a:lnTo>
                    <a:pt x="63" y="34"/>
                  </a:lnTo>
                  <a:lnTo>
                    <a:pt x="60" y="41"/>
                  </a:lnTo>
                  <a:lnTo>
                    <a:pt x="52" y="51"/>
                  </a:lnTo>
                  <a:lnTo>
                    <a:pt x="46" y="55"/>
                  </a:lnTo>
                  <a:lnTo>
                    <a:pt x="42" y="60"/>
                  </a:lnTo>
                  <a:lnTo>
                    <a:pt x="36" y="63"/>
                  </a:lnTo>
                  <a:lnTo>
                    <a:pt x="29" y="66"/>
                  </a:lnTo>
                  <a:lnTo>
                    <a:pt x="16" y="71"/>
                  </a:lnTo>
                  <a:lnTo>
                    <a:pt x="4" y="71"/>
                  </a:lnTo>
                  <a:lnTo>
                    <a:pt x="0" y="58"/>
                  </a:lnTo>
                  <a:lnTo>
                    <a:pt x="13" y="57"/>
                  </a:lnTo>
                  <a:lnTo>
                    <a:pt x="23" y="54"/>
                  </a:lnTo>
                  <a:lnTo>
                    <a:pt x="29" y="51"/>
                  </a:lnTo>
                  <a:lnTo>
                    <a:pt x="34" y="49"/>
                  </a:lnTo>
                  <a:lnTo>
                    <a:pt x="39" y="45"/>
                  </a:lnTo>
                  <a:lnTo>
                    <a:pt x="42" y="41"/>
                  </a:lnTo>
                  <a:lnTo>
                    <a:pt x="49" y="32"/>
                  </a:lnTo>
                  <a:lnTo>
                    <a:pt x="52" y="28"/>
                  </a:lnTo>
                  <a:lnTo>
                    <a:pt x="54" y="23"/>
                  </a:lnTo>
                  <a:lnTo>
                    <a:pt x="57" y="19"/>
                  </a:lnTo>
                  <a:lnTo>
                    <a:pt x="57" y="12"/>
                  </a:lnTo>
                  <a:lnTo>
                    <a:pt x="59" y="0"/>
                  </a:lnTo>
                  <a:lnTo>
                    <a:pt x="72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66" name="Freeform 95"/>
            <p:cNvSpPr>
              <a:spLocks/>
            </p:cNvSpPr>
            <p:nvPr/>
          </p:nvSpPr>
          <p:spPr bwMode="auto">
            <a:xfrm>
              <a:off x="2986" y="2233"/>
              <a:ext cx="9" cy="0"/>
            </a:xfrm>
            <a:custGeom>
              <a:avLst/>
              <a:gdLst>
                <a:gd name="T0" fmla="*/ 1 w 13"/>
                <a:gd name="T1" fmla="*/ 0 h 2"/>
                <a:gd name="T2" fmla="*/ 1 w 13"/>
                <a:gd name="T3" fmla="*/ 1 h 2"/>
                <a:gd name="T4" fmla="*/ 0 w 13"/>
                <a:gd name="T5" fmla="*/ 0 h 2"/>
                <a:gd name="T6" fmla="*/ 0 w 13"/>
                <a:gd name="T7" fmla="*/ 1 h 2"/>
                <a:gd name="T8" fmla="*/ 1 w 1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13" y="0"/>
                  </a:moveTo>
                  <a:lnTo>
                    <a:pt x="1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67" name="Freeform 96"/>
            <p:cNvSpPr>
              <a:spLocks/>
            </p:cNvSpPr>
            <p:nvPr/>
          </p:nvSpPr>
          <p:spPr bwMode="auto">
            <a:xfrm>
              <a:off x="2921" y="2233"/>
              <a:ext cx="39" cy="34"/>
            </a:xfrm>
            <a:custGeom>
              <a:avLst/>
              <a:gdLst>
                <a:gd name="T0" fmla="*/ 1 w 72"/>
                <a:gd name="T1" fmla="*/ 0 h 71"/>
                <a:gd name="T2" fmla="*/ 1 w 72"/>
                <a:gd name="T3" fmla="*/ 0 h 71"/>
                <a:gd name="T4" fmla="*/ 1 w 72"/>
                <a:gd name="T5" fmla="*/ 0 h 71"/>
                <a:gd name="T6" fmla="*/ 1 w 72"/>
                <a:gd name="T7" fmla="*/ 0 h 71"/>
                <a:gd name="T8" fmla="*/ 1 w 72"/>
                <a:gd name="T9" fmla="*/ 0 h 71"/>
                <a:gd name="T10" fmla="*/ 1 w 72"/>
                <a:gd name="T11" fmla="*/ 0 h 71"/>
                <a:gd name="T12" fmla="*/ 1 w 72"/>
                <a:gd name="T13" fmla="*/ 0 h 71"/>
                <a:gd name="T14" fmla="*/ 1 w 72"/>
                <a:gd name="T15" fmla="*/ 0 h 71"/>
                <a:gd name="T16" fmla="*/ 1 w 72"/>
                <a:gd name="T17" fmla="*/ 0 h 71"/>
                <a:gd name="T18" fmla="*/ 1 w 72"/>
                <a:gd name="T19" fmla="*/ 0 h 71"/>
                <a:gd name="T20" fmla="*/ 1 w 72"/>
                <a:gd name="T21" fmla="*/ 0 h 71"/>
                <a:gd name="T22" fmla="*/ 1 w 72"/>
                <a:gd name="T23" fmla="*/ 0 h 71"/>
                <a:gd name="T24" fmla="*/ 0 w 72"/>
                <a:gd name="T25" fmla="*/ 0 h 71"/>
                <a:gd name="T26" fmla="*/ 0 w 72"/>
                <a:gd name="T27" fmla="*/ 0 h 71"/>
                <a:gd name="T28" fmla="*/ 1 w 72"/>
                <a:gd name="T29" fmla="*/ 0 h 71"/>
                <a:gd name="T30" fmla="*/ 1 w 72"/>
                <a:gd name="T31" fmla="*/ 0 h 71"/>
                <a:gd name="T32" fmla="*/ 1 w 72"/>
                <a:gd name="T33" fmla="*/ 0 h 71"/>
                <a:gd name="T34" fmla="*/ 1 w 72"/>
                <a:gd name="T35" fmla="*/ 0 h 71"/>
                <a:gd name="T36" fmla="*/ 1 w 72"/>
                <a:gd name="T37" fmla="*/ 0 h 71"/>
                <a:gd name="T38" fmla="*/ 1 w 72"/>
                <a:gd name="T39" fmla="*/ 0 h 71"/>
                <a:gd name="T40" fmla="*/ 1 w 72"/>
                <a:gd name="T41" fmla="*/ 0 h 71"/>
                <a:gd name="T42" fmla="*/ 1 w 72"/>
                <a:gd name="T43" fmla="*/ 0 h 71"/>
                <a:gd name="T44" fmla="*/ 1 w 72"/>
                <a:gd name="T45" fmla="*/ 0 h 71"/>
                <a:gd name="T46" fmla="*/ 1 w 72"/>
                <a:gd name="T47" fmla="*/ 0 h 71"/>
                <a:gd name="T48" fmla="*/ 1 w 72"/>
                <a:gd name="T49" fmla="*/ 0 h 71"/>
                <a:gd name="T50" fmla="*/ 1 w 72"/>
                <a:gd name="T51" fmla="*/ 0 h 71"/>
                <a:gd name="T52" fmla="*/ 1 w 72"/>
                <a:gd name="T53" fmla="*/ 0 h 71"/>
                <a:gd name="T54" fmla="*/ 1 w 72"/>
                <a:gd name="T55" fmla="*/ 0 h 71"/>
                <a:gd name="T56" fmla="*/ 1 w 72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2" h="71">
                  <a:moveTo>
                    <a:pt x="70" y="71"/>
                  </a:moveTo>
                  <a:lnTo>
                    <a:pt x="56" y="71"/>
                  </a:lnTo>
                  <a:lnTo>
                    <a:pt x="49" y="69"/>
                  </a:lnTo>
                  <a:lnTo>
                    <a:pt x="43" y="66"/>
                  </a:lnTo>
                  <a:lnTo>
                    <a:pt x="36" y="63"/>
                  </a:lnTo>
                  <a:lnTo>
                    <a:pt x="30" y="60"/>
                  </a:lnTo>
                  <a:lnTo>
                    <a:pt x="21" y="51"/>
                  </a:lnTo>
                  <a:lnTo>
                    <a:pt x="17" y="46"/>
                  </a:lnTo>
                  <a:lnTo>
                    <a:pt x="12" y="40"/>
                  </a:lnTo>
                  <a:lnTo>
                    <a:pt x="9" y="35"/>
                  </a:lnTo>
                  <a:lnTo>
                    <a:pt x="6" y="28"/>
                  </a:lnTo>
                  <a:lnTo>
                    <a:pt x="1" y="15"/>
                  </a:lnTo>
                  <a:lnTo>
                    <a:pt x="0" y="8"/>
                  </a:lnTo>
                  <a:lnTo>
                    <a:pt x="0" y="2"/>
                  </a:lnTo>
                  <a:lnTo>
                    <a:pt x="13" y="0"/>
                  </a:lnTo>
                  <a:lnTo>
                    <a:pt x="13" y="6"/>
                  </a:lnTo>
                  <a:lnTo>
                    <a:pt x="13" y="12"/>
                  </a:lnTo>
                  <a:lnTo>
                    <a:pt x="18" y="23"/>
                  </a:lnTo>
                  <a:lnTo>
                    <a:pt x="20" y="28"/>
                  </a:lnTo>
                  <a:lnTo>
                    <a:pt x="23" y="32"/>
                  </a:lnTo>
                  <a:lnTo>
                    <a:pt x="26" y="37"/>
                  </a:lnTo>
                  <a:lnTo>
                    <a:pt x="30" y="41"/>
                  </a:lnTo>
                  <a:lnTo>
                    <a:pt x="38" y="49"/>
                  </a:lnTo>
                  <a:lnTo>
                    <a:pt x="43" y="51"/>
                  </a:lnTo>
                  <a:lnTo>
                    <a:pt x="49" y="54"/>
                  </a:lnTo>
                  <a:lnTo>
                    <a:pt x="53" y="55"/>
                  </a:lnTo>
                  <a:lnTo>
                    <a:pt x="58" y="57"/>
                  </a:lnTo>
                  <a:lnTo>
                    <a:pt x="72" y="58"/>
                  </a:lnTo>
                  <a:lnTo>
                    <a:pt x="70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68" name="Freeform 97"/>
            <p:cNvSpPr>
              <a:spLocks/>
            </p:cNvSpPr>
            <p:nvPr/>
          </p:nvSpPr>
          <p:spPr bwMode="auto">
            <a:xfrm>
              <a:off x="2956" y="2260"/>
              <a:ext cx="3" cy="7"/>
            </a:xfrm>
            <a:custGeom>
              <a:avLst/>
              <a:gdLst>
                <a:gd name="T0" fmla="*/ 1 w 4"/>
                <a:gd name="T1" fmla="*/ 0 h 13"/>
                <a:gd name="T2" fmla="*/ 1 w 4"/>
                <a:gd name="T3" fmla="*/ 0 h 13"/>
                <a:gd name="T4" fmla="*/ 1 w 4"/>
                <a:gd name="T5" fmla="*/ 0 h 13"/>
                <a:gd name="T6" fmla="*/ 0 w 4"/>
                <a:gd name="T7" fmla="*/ 0 h 13"/>
                <a:gd name="T8" fmla="*/ 1 w 4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" h="13">
                  <a:moveTo>
                    <a:pt x="4" y="13"/>
                  </a:moveTo>
                  <a:lnTo>
                    <a:pt x="2" y="13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69" name="Freeform 98"/>
            <p:cNvSpPr>
              <a:spLocks/>
            </p:cNvSpPr>
            <p:nvPr/>
          </p:nvSpPr>
          <p:spPr bwMode="auto">
            <a:xfrm>
              <a:off x="2921" y="2233"/>
              <a:ext cx="9" cy="0"/>
            </a:xfrm>
            <a:custGeom>
              <a:avLst/>
              <a:gdLst>
                <a:gd name="T0" fmla="*/ 0 w 13"/>
                <a:gd name="T1" fmla="*/ 1 h 2"/>
                <a:gd name="T2" fmla="*/ 0 w 13"/>
                <a:gd name="T3" fmla="*/ 0 h 2"/>
                <a:gd name="T4" fmla="*/ 1 w 13"/>
                <a:gd name="T5" fmla="*/ 1 h 2"/>
                <a:gd name="T6" fmla="*/ 1 w 13"/>
                <a:gd name="T7" fmla="*/ 0 h 2"/>
                <a:gd name="T8" fmla="*/ 0 w 13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0" y="2"/>
                  </a:moveTo>
                  <a:lnTo>
                    <a:pt x="0" y="0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70" name="Freeform 99"/>
            <p:cNvSpPr>
              <a:spLocks/>
            </p:cNvSpPr>
            <p:nvPr/>
          </p:nvSpPr>
          <p:spPr bwMode="auto">
            <a:xfrm>
              <a:off x="3197" y="2200"/>
              <a:ext cx="62" cy="64"/>
            </a:xfrm>
            <a:custGeom>
              <a:avLst/>
              <a:gdLst>
                <a:gd name="T0" fmla="*/ 0 w 126"/>
                <a:gd name="T1" fmla="*/ 1 h 127"/>
                <a:gd name="T2" fmla="*/ 1 w 126"/>
                <a:gd name="T3" fmla="*/ 1 h 127"/>
                <a:gd name="T4" fmla="*/ 1 w 126"/>
                <a:gd name="T5" fmla="*/ 1 h 127"/>
                <a:gd name="T6" fmla="*/ 1 w 126"/>
                <a:gd name="T7" fmla="*/ 1 h 127"/>
                <a:gd name="T8" fmla="*/ 1 w 126"/>
                <a:gd name="T9" fmla="*/ 1 h 127"/>
                <a:gd name="T10" fmla="*/ 1 w 126"/>
                <a:gd name="T11" fmla="*/ 1 h 127"/>
                <a:gd name="T12" fmla="*/ 1 w 126"/>
                <a:gd name="T13" fmla="*/ 1 h 127"/>
                <a:gd name="T14" fmla="*/ 1 w 126"/>
                <a:gd name="T15" fmla="*/ 1 h 127"/>
                <a:gd name="T16" fmla="*/ 1 w 126"/>
                <a:gd name="T17" fmla="*/ 1 h 127"/>
                <a:gd name="T18" fmla="*/ 1 w 126"/>
                <a:gd name="T19" fmla="*/ 1 h 127"/>
                <a:gd name="T20" fmla="*/ 1 w 126"/>
                <a:gd name="T21" fmla="*/ 1 h 127"/>
                <a:gd name="T22" fmla="*/ 1 w 126"/>
                <a:gd name="T23" fmla="*/ 1 h 127"/>
                <a:gd name="T24" fmla="*/ 1 w 126"/>
                <a:gd name="T25" fmla="*/ 0 h 127"/>
                <a:gd name="T26" fmla="*/ 1 w 126"/>
                <a:gd name="T27" fmla="*/ 1 h 127"/>
                <a:gd name="T28" fmla="*/ 1 w 126"/>
                <a:gd name="T29" fmla="*/ 1 h 127"/>
                <a:gd name="T30" fmla="*/ 1 w 126"/>
                <a:gd name="T31" fmla="*/ 1 h 127"/>
                <a:gd name="T32" fmla="*/ 1 w 126"/>
                <a:gd name="T33" fmla="*/ 1 h 127"/>
                <a:gd name="T34" fmla="*/ 1 w 126"/>
                <a:gd name="T35" fmla="*/ 1 h 127"/>
                <a:gd name="T36" fmla="*/ 1 w 126"/>
                <a:gd name="T37" fmla="*/ 1 h 127"/>
                <a:gd name="T38" fmla="*/ 1 w 126"/>
                <a:gd name="T39" fmla="*/ 1 h 127"/>
                <a:gd name="T40" fmla="*/ 1 w 126"/>
                <a:gd name="T41" fmla="*/ 1 h 127"/>
                <a:gd name="T42" fmla="*/ 1 w 126"/>
                <a:gd name="T43" fmla="*/ 1 h 127"/>
                <a:gd name="T44" fmla="*/ 1 w 126"/>
                <a:gd name="T45" fmla="*/ 1 h 127"/>
                <a:gd name="T46" fmla="*/ 1 w 126"/>
                <a:gd name="T47" fmla="*/ 1 h 127"/>
                <a:gd name="T48" fmla="*/ 1 w 126"/>
                <a:gd name="T49" fmla="*/ 1 h 127"/>
                <a:gd name="T50" fmla="*/ 1 w 126"/>
                <a:gd name="T51" fmla="*/ 1 h 127"/>
                <a:gd name="T52" fmla="*/ 1 w 126"/>
                <a:gd name="T53" fmla="*/ 1 h 127"/>
                <a:gd name="T54" fmla="*/ 1 w 126"/>
                <a:gd name="T55" fmla="*/ 1 h 127"/>
                <a:gd name="T56" fmla="*/ 1 w 126"/>
                <a:gd name="T57" fmla="*/ 1 h 127"/>
                <a:gd name="T58" fmla="*/ 1 w 126"/>
                <a:gd name="T59" fmla="*/ 1 h 127"/>
                <a:gd name="T60" fmla="*/ 1 w 126"/>
                <a:gd name="T61" fmla="*/ 1 h 127"/>
                <a:gd name="T62" fmla="*/ 1 w 126"/>
                <a:gd name="T63" fmla="*/ 1 h 127"/>
                <a:gd name="T64" fmla="*/ 1 w 126"/>
                <a:gd name="T65" fmla="*/ 1 h 127"/>
                <a:gd name="T66" fmla="*/ 1 w 126"/>
                <a:gd name="T67" fmla="*/ 1 h 127"/>
                <a:gd name="T68" fmla="*/ 1 w 126"/>
                <a:gd name="T69" fmla="*/ 1 h 127"/>
                <a:gd name="T70" fmla="*/ 1 w 126"/>
                <a:gd name="T71" fmla="*/ 1 h 127"/>
                <a:gd name="T72" fmla="*/ 1 w 126"/>
                <a:gd name="T73" fmla="*/ 1 h 127"/>
                <a:gd name="T74" fmla="*/ 1 w 126"/>
                <a:gd name="T75" fmla="*/ 1 h 127"/>
                <a:gd name="T76" fmla="*/ 1 w 126"/>
                <a:gd name="T77" fmla="*/ 1 h 127"/>
                <a:gd name="T78" fmla="*/ 1 w 126"/>
                <a:gd name="T79" fmla="*/ 1 h 127"/>
                <a:gd name="T80" fmla="*/ 1 w 126"/>
                <a:gd name="T81" fmla="*/ 1 h 127"/>
                <a:gd name="T82" fmla="*/ 1 w 126"/>
                <a:gd name="T83" fmla="*/ 1 h 127"/>
                <a:gd name="T84" fmla="*/ 1 w 126"/>
                <a:gd name="T85" fmla="*/ 1 h 127"/>
                <a:gd name="T86" fmla="*/ 1 w 126"/>
                <a:gd name="T87" fmla="*/ 1 h 127"/>
                <a:gd name="T88" fmla="*/ 1 w 126"/>
                <a:gd name="T89" fmla="*/ 1 h 127"/>
                <a:gd name="T90" fmla="*/ 1 w 126"/>
                <a:gd name="T91" fmla="*/ 1 h 127"/>
                <a:gd name="T92" fmla="*/ 1 w 126"/>
                <a:gd name="T93" fmla="*/ 1 h 127"/>
                <a:gd name="T94" fmla="*/ 1 w 126"/>
                <a:gd name="T95" fmla="*/ 1 h 127"/>
                <a:gd name="T96" fmla="*/ 1 w 126"/>
                <a:gd name="T97" fmla="*/ 1 h 127"/>
                <a:gd name="T98" fmla="*/ 0 w 126"/>
                <a:gd name="T99" fmla="*/ 1 h 127"/>
                <a:gd name="T100" fmla="*/ 0 w 126"/>
                <a:gd name="T101" fmla="*/ 1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6" h="127">
                  <a:moveTo>
                    <a:pt x="0" y="65"/>
                  </a:moveTo>
                  <a:lnTo>
                    <a:pt x="1" y="51"/>
                  </a:lnTo>
                  <a:lnTo>
                    <a:pt x="3" y="45"/>
                  </a:lnTo>
                  <a:lnTo>
                    <a:pt x="4" y="39"/>
                  </a:lnTo>
                  <a:lnTo>
                    <a:pt x="7" y="34"/>
                  </a:lnTo>
                  <a:lnTo>
                    <a:pt x="10" y="28"/>
                  </a:lnTo>
                  <a:lnTo>
                    <a:pt x="18" y="19"/>
                  </a:lnTo>
                  <a:lnTo>
                    <a:pt x="22" y="16"/>
                  </a:lnTo>
                  <a:lnTo>
                    <a:pt x="27" y="11"/>
                  </a:lnTo>
                  <a:lnTo>
                    <a:pt x="33" y="8"/>
                  </a:lnTo>
                  <a:lnTo>
                    <a:pt x="38" y="5"/>
                  </a:lnTo>
                  <a:lnTo>
                    <a:pt x="50" y="2"/>
                  </a:lnTo>
                  <a:lnTo>
                    <a:pt x="64" y="0"/>
                  </a:lnTo>
                  <a:lnTo>
                    <a:pt x="76" y="2"/>
                  </a:lnTo>
                  <a:lnTo>
                    <a:pt x="82" y="3"/>
                  </a:lnTo>
                  <a:lnTo>
                    <a:pt x="88" y="5"/>
                  </a:lnTo>
                  <a:lnTo>
                    <a:pt x="93" y="8"/>
                  </a:lnTo>
                  <a:lnTo>
                    <a:pt x="99" y="11"/>
                  </a:lnTo>
                  <a:lnTo>
                    <a:pt x="108" y="19"/>
                  </a:lnTo>
                  <a:lnTo>
                    <a:pt x="113" y="23"/>
                  </a:lnTo>
                  <a:lnTo>
                    <a:pt x="116" y="28"/>
                  </a:lnTo>
                  <a:lnTo>
                    <a:pt x="119" y="34"/>
                  </a:lnTo>
                  <a:lnTo>
                    <a:pt x="122" y="39"/>
                  </a:lnTo>
                  <a:lnTo>
                    <a:pt x="125" y="51"/>
                  </a:lnTo>
                  <a:lnTo>
                    <a:pt x="126" y="57"/>
                  </a:lnTo>
                  <a:lnTo>
                    <a:pt x="126" y="65"/>
                  </a:lnTo>
                  <a:lnTo>
                    <a:pt x="125" y="77"/>
                  </a:lnTo>
                  <a:lnTo>
                    <a:pt x="123" y="83"/>
                  </a:lnTo>
                  <a:lnTo>
                    <a:pt x="122" y="89"/>
                  </a:lnTo>
                  <a:lnTo>
                    <a:pt x="119" y="94"/>
                  </a:lnTo>
                  <a:lnTo>
                    <a:pt x="116" y="100"/>
                  </a:lnTo>
                  <a:lnTo>
                    <a:pt x="108" y="109"/>
                  </a:lnTo>
                  <a:lnTo>
                    <a:pt x="103" y="114"/>
                  </a:lnTo>
                  <a:lnTo>
                    <a:pt x="99" y="117"/>
                  </a:lnTo>
                  <a:lnTo>
                    <a:pt x="93" y="120"/>
                  </a:lnTo>
                  <a:lnTo>
                    <a:pt x="88" y="123"/>
                  </a:lnTo>
                  <a:lnTo>
                    <a:pt x="76" y="126"/>
                  </a:lnTo>
                  <a:lnTo>
                    <a:pt x="64" y="127"/>
                  </a:lnTo>
                  <a:lnTo>
                    <a:pt x="50" y="126"/>
                  </a:lnTo>
                  <a:lnTo>
                    <a:pt x="44" y="124"/>
                  </a:lnTo>
                  <a:lnTo>
                    <a:pt x="38" y="123"/>
                  </a:lnTo>
                  <a:lnTo>
                    <a:pt x="33" y="120"/>
                  </a:lnTo>
                  <a:lnTo>
                    <a:pt x="27" y="117"/>
                  </a:lnTo>
                  <a:lnTo>
                    <a:pt x="18" y="109"/>
                  </a:lnTo>
                  <a:lnTo>
                    <a:pt x="15" y="104"/>
                  </a:lnTo>
                  <a:lnTo>
                    <a:pt x="10" y="100"/>
                  </a:lnTo>
                  <a:lnTo>
                    <a:pt x="7" y="94"/>
                  </a:lnTo>
                  <a:lnTo>
                    <a:pt x="4" y="89"/>
                  </a:lnTo>
                  <a:lnTo>
                    <a:pt x="1" y="77"/>
                  </a:lnTo>
                  <a:lnTo>
                    <a:pt x="0" y="71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71" name="Freeform 100"/>
            <p:cNvSpPr>
              <a:spLocks/>
            </p:cNvSpPr>
            <p:nvPr/>
          </p:nvSpPr>
          <p:spPr bwMode="auto">
            <a:xfrm>
              <a:off x="3194" y="2196"/>
              <a:ext cx="33" cy="37"/>
            </a:xfrm>
            <a:custGeom>
              <a:avLst/>
              <a:gdLst>
                <a:gd name="T0" fmla="*/ 0 w 71"/>
                <a:gd name="T1" fmla="*/ 0 h 71"/>
                <a:gd name="T2" fmla="*/ 0 w 71"/>
                <a:gd name="T3" fmla="*/ 0 h 71"/>
                <a:gd name="T4" fmla="*/ 0 w 71"/>
                <a:gd name="T5" fmla="*/ 0 h 71"/>
                <a:gd name="T6" fmla="*/ 0 w 71"/>
                <a:gd name="T7" fmla="*/ 0 h 71"/>
                <a:gd name="T8" fmla="*/ 0 w 71"/>
                <a:gd name="T9" fmla="*/ 0 h 71"/>
                <a:gd name="T10" fmla="*/ 0 w 71"/>
                <a:gd name="T11" fmla="*/ 0 h 71"/>
                <a:gd name="T12" fmla="*/ 0 w 71"/>
                <a:gd name="T13" fmla="*/ 0 h 71"/>
                <a:gd name="T14" fmla="*/ 0 w 71"/>
                <a:gd name="T15" fmla="*/ 0 h 71"/>
                <a:gd name="T16" fmla="*/ 0 w 71"/>
                <a:gd name="T17" fmla="*/ 0 h 71"/>
                <a:gd name="T18" fmla="*/ 0 w 71"/>
                <a:gd name="T19" fmla="*/ 0 h 71"/>
                <a:gd name="T20" fmla="*/ 0 w 71"/>
                <a:gd name="T21" fmla="*/ 0 h 71"/>
                <a:gd name="T22" fmla="*/ 0 w 71"/>
                <a:gd name="T23" fmla="*/ 0 h 71"/>
                <a:gd name="T24" fmla="*/ 0 w 71"/>
                <a:gd name="T25" fmla="*/ 0 h 71"/>
                <a:gd name="T26" fmla="*/ 0 w 71"/>
                <a:gd name="T27" fmla="*/ 0 h 71"/>
                <a:gd name="T28" fmla="*/ 0 w 71"/>
                <a:gd name="T29" fmla="*/ 0 h 71"/>
                <a:gd name="T30" fmla="*/ 0 w 71"/>
                <a:gd name="T31" fmla="*/ 0 h 71"/>
                <a:gd name="T32" fmla="*/ 0 w 71"/>
                <a:gd name="T33" fmla="*/ 0 h 71"/>
                <a:gd name="T34" fmla="*/ 0 w 71"/>
                <a:gd name="T35" fmla="*/ 0 h 71"/>
                <a:gd name="T36" fmla="*/ 0 w 71"/>
                <a:gd name="T37" fmla="*/ 0 h 71"/>
                <a:gd name="T38" fmla="*/ 0 w 71"/>
                <a:gd name="T39" fmla="*/ 0 h 71"/>
                <a:gd name="T40" fmla="*/ 0 w 71"/>
                <a:gd name="T41" fmla="*/ 0 h 71"/>
                <a:gd name="T42" fmla="*/ 0 w 71"/>
                <a:gd name="T43" fmla="*/ 0 h 71"/>
                <a:gd name="T44" fmla="*/ 0 w 71"/>
                <a:gd name="T45" fmla="*/ 0 h 71"/>
                <a:gd name="T46" fmla="*/ 0 w 71"/>
                <a:gd name="T47" fmla="*/ 0 h 71"/>
                <a:gd name="T48" fmla="*/ 0 w 71"/>
                <a:gd name="T49" fmla="*/ 0 h 71"/>
                <a:gd name="T50" fmla="*/ 0 w 71"/>
                <a:gd name="T51" fmla="*/ 0 h 71"/>
                <a:gd name="T52" fmla="*/ 0 w 71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1" h="71">
                  <a:moveTo>
                    <a:pt x="0" y="69"/>
                  </a:moveTo>
                  <a:lnTo>
                    <a:pt x="2" y="55"/>
                  </a:lnTo>
                  <a:lnTo>
                    <a:pt x="3" y="49"/>
                  </a:lnTo>
                  <a:lnTo>
                    <a:pt x="5" y="43"/>
                  </a:lnTo>
                  <a:lnTo>
                    <a:pt x="8" y="37"/>
                  </a:lnTo>
                  <a:lnTo>
                    <a:pt x="13" y="31"/>
                  </a:lnTo>
                  <a:lnTo>
                    <a:pt x="20" y="20"/>
                  </a:lnTo>
                  <a:lnTo>
                    <a:pt x="25" y="16"/>
                  </a:lnTo>
                  <a:lnTo>
                    <a:pt x="31" y="13"/>
                  </a:lnTo>
                  <a:lnTo>
                    <a:pt x="37" y="8"/>
                  </a:lnTo>
                  <a:lnTo>
                    <a:pt x="43" y="5"/>
                  </a:lnTo>
                  <a:lnTo>
                    <a:pt x="55" y="2"/>
                  </a:lnTo>
                  <a:lnTo>
                    <a:pt x="69" y="0"/>
                  </a:lnTo>
                  <a:lnTo>
                    <a:pt x="71" y="14"/>
                  </a:lnTo>
                  <a:lnTo>
                    <a:pt x="58" y="14"/>
                  </a:lnTo>
                  <a:lnTo>
                    <a:pt x="48" y="19"/>
                  </a:lnTo>
                  <a:lnTo>
                    <a:pt x="43" y="20"/>
                  </a:lnTo>
                  <a:lnTo>
                    <a:pt x="39" y="23"/>
                  </a:lnTo>
                  <a:lnTo>
                    <a:pt x="34" y="26"/>
                  </a:lnTo>
                  <a:lnTo>
                    <a:pt x="29" y="29"/>
                  </a:lnTo>
                  <a:lnTo>
                    <a:pt x="23" y="39"/>
                  </a:lnTo>
                  <a:lnTo>
                    <a:pt x="20" y="43"/>
                  </a:lnTo>
                  <a:lnTo>
                    <a:pt x="17" y="48"/>
                  </a:lnTo>
                  <a:lnTo>
                    <a:pt x="16" y="54"/>
                  </a:lnTo>
                  <a:lnTo>
                    <a:pt x="14" y="58"/>
                  </a:lnTo>
                  <a:lnTo>
                    <a:pt x="13" y="71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72" name="Freeform 101"/>
            <p:cNvSpPr>
              <a:spLocks/>
            </p:cNvSpPr>
            <p:nvPr/>
          </p:nvSpPr>
          <p:spPr bwMode="auto">
            <a:xfrm>
              <a:off x="3227" y="2196"/>
              <a:ext cx="36" cy="37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w 70"/>
                <a:gd name="T55" fmla="*/ 0 h 71"/>
                <a:gd name="T56" fmla="*/ 1 w 70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0" h="71">
                  <a:moveTo>
                    <a:pt x="2" y="0"/>
                  </a:moveTo>
                  <a:lnTo>
                    <a:pt x="14" y="2"/>
                  </a:lnTo>
                  <a:lnTo>
                    <a:pt x="22" y="3"/>
                  </a:lnTo>
                  <a:lnTo>
                    <a:pt x="28" y="5"/>
                  </a:lnTo>
                  <a:lnTo>
                    <a:pt x="34" y="8"/>
                  </a:lnTo>
                  <a:lnTo>
                    <a:pt x="40" y="13"/>
                  </a:lnTo>
                  <a:lnTo>
                    <a:pt x="51" y="20"/>
                  </a:lnTo>
                  <a:lnTo>
                    <a:pt x="55" y="25"/>
                  </a:lnTo>
                  <a:lnTo>
                    <a:pt x="60" y="31"/>
                  </a:lnTo>
                  <a:lnTo>
                    <a:pt x="63" y="37"/>
                  </a:lnTo>
                  <a:lnTo>
                    <a:pt x="66" y="43"/>
                  </a:lnTo>
                  <a:lnTo>
                    <a:pt x="70" y="55"/>
                  </a:lnTo>
                  <a:lnTo>
                    <a:pt x="70" y="63"/>
                  </a:lnTo>
                  <a:lnTo>
                    <a:pt x="70" y="69"/>
                  </a:lnTo>
                  <a:lnTo>
                    <a:pt x="58" y="71"/>
                  </a:lnTo>
                  <a:lnTo>
                    <a:pt x="57" y="65"/>
                  </a:lnTo>
                  <a:lnTo>
                    <a:pt x="57" y="58"/>
                  </a:lnTo>
                  <a:lnTo>
                    <a:pt x="54" y="48"/>
                  </a:lnTo>
                  <a:lnTo>
                    <a:pt x="51" y="43"/>
                  </a:lnTo>
                  <a:lnTo>
                    <a:pt x="47" y="39"/>
                  </a:lnTo>
                  <a:lnTo>
                    <a:pt x="44" y="34"/>
                  </a:lnTo>
                  <a:lnTo>
                    <a:pt x="41" y="29"/>
                  </a:lnTo>
                  <a:lnTo>
                    <a:pt x="32" y="23"/>
                  </a:lnTo>
                  <a:lnTo>
                    <a:pt x="28" y="20"/>
                  </a:lnTo>
                  <a:lnTo>
                    <a:pt x="23" y="17"/>
                  </a:lnTo>
                  <a:lnTo>
                    <a:pt x="17" y="16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73" name="Freeform 102"/>
            <p:cNvSpPr>
              <a:spLocks/>
            </p:cNvSpPr>
            <p:nvPr/>
          </p:nvSpPr>
          <p:spPr bwMode="auto">
            <a:xfrm>
              <a:off x="3227" y="2196"/>
              <a:ext cx="3" cy="8"/>
            </a:xfrm>
            <a:custGeom>
              <a:avLst/>
              <a:gdLst>
                <a:gd name="T0" fmla="*/ 0 w 2"/>
                <a:gd name="T1" fmla="*/ 0 h 14"/>
                <a:gd name="T2" fmla="*/ 1 w 2"/>
                <a:gd name="T3" fmla="*/ 0 h 14"/>
                <a:gd name="T4" fmla="*/ 0 w 2"/>
                <a:gd name="T5" fmla="*/ 1 h 14"/>
                <a:gd name="T6" fmla="*/ 1 w 2"/>
                <a:gd name="T7" fmla="*/ 1 h 14"/>
                <a:gd name="T8" fmla="*/ 0 w 2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4">
                  <a:moveTo>
                    <a:pt x="0" y="0"/>
                  </a:moveTo>
                  <a:lnTo>
                    <a:pt x="2" y="0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74" name="Freeform 103"/>
            <p:cNvSpPr>
              <a:spLocks/>
            </p:cNvSpPr>
            <p:nvPr/>
          </p:nvSpPr>
          <p:spPr bwMode="auto">
            <a:xfrm>
              <a:off x="3227" y="2233"/>
              <a:ext cx="36" cy="34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0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0" h="71">
                  <a:moveTo>
                    <a:pt x="70" y="2"/>
                  </a:moveTo>
                  <a:lnTo>
                    <a:pt x="70" y="14"/>
                  </a:lnTo>
                  <a:lnTo>
                    <a:pt x="67" y="22"/>
                  </a:lnTo>
                  <a:lnTo>
                    <a:pt x="66" y="28"/>
                  </a:lnTo>
                  <a:lnTo>
                    <a:pt x="63" y="34"/>
                  </a:lnTo>
                  <a:lnTo>
                    <a:pt x="60" y="41"/>
                  </a:lnTo>
                  <a:lnTo>
                    <a:pt x="51" y="51"/>
                  </a:lnTo>
                  <a:lnTo>
                    <a:pt x="46" y="55"/>
                  </a:lnTo>
                  <a:lnTo>
                    <a:pt x="40" y="60"/>
                  </a:lnTo>
                  <a:lnTo>
                    <a:pt x="35" y="63"/>
                  </a:lnTo>
                  <a:lnTo>
                    <a:pt x="28" y="66"/>
                  </a:lnTo>
                  <a:lnTo>
                    <a:pt x="15" y="71"/>
                  </a:lnTo>
                  <a:lnTo>
                    <a:pt x="2" y="71"/>
                  </a:lnTo>
                  <a:lnTo>
                    <a:pt x="0" y="58"/>
                  </a:lnTo>
                  <a:lnTo>
                    <a:pt x="12" y="57"/>
                  </a:lnTo>
                  <a:lnTo>
                    <a:pt x="23" y="54"/>
                  </a:lnTo>
                  <a:lnTo>
                    <a:pt x="28" y="51"/>
                  </a:lnTo>
                  <a:lnTo>
                    <a:pt x="32" y="49"/>
                  </a:lnTo>
                  <a:lnTo>
                    <a:pt x="37" y="45"/>
                  </a:lnTo>
                  <a:lnTo>
                    <a:pt x="41" y="41"/>
                  </a:lnTo>
                  <a:lnTo>
                    <a:pt x="49" y="32"/>
                  </a:lnTo>
                  <a:lnTo>
                    <a:pt x="51" y="28"/>
                  </a:lnTo>
                  <a:lnTo>
                    <a:pt x="54" y="23"/>
                  </a:lnTo>
                  <a:lnTo>
                    <a:pt x="55" y="19"/>
                  </a:lnTo>
                  <a:lnTo>
                    <a:pt x="57" y="12"/>
                  </a:lnTo>
                  <a:lnTo>
                    <a:pt x="58" y="0"/>
                  </a:lnTo>
                  <a:lnTo>
                    <a:pt x="7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75" name="Freeform 104"/>
            <p:cNvSpPr>
              <a:spLocks/>
            </p:cNvSpPr>
            <p:nvPr/>
          </p:nvSpPr>
          <p:spPr bwMode="auto">
            <a:xfrm>
              <a:off x="3256" y="2233"/>
              <a:ext cx="6" cy="0"/>
            </a:xfrm>
            <a:custGeom>
              <a:avLst/>
              <a:gdLst>
                <a:gd name="T0" fmla="*/ 1 w 12"/>
                <a:gd name="T1" fmla="*/ 0 h 2"/>
                <a:gd name="T2" fmla="*/ 1 w 12"/>
                <a:gd name="T3" fmla="*/ 1 h 2"/>
                <a:gd name="T4" fmla="*/ 0 w 12"/>
                <a:gd name="T5" fmla="*/ 0 h 2"/>
                <a:gd name="T6" fmla="*/ 0 w 12"/>
                <a:gd name="T7" fmla="*/ 1 h 2"/>
                <a:gd name="T8" fmla="*/ 1 w 1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" h="2">
                  <a:moveTo>
                    <a:pt x="12" y="0"/>
                  </a:moveTo>
                  <a:lnTo>
                    <a:pt x="12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76" name="Freeform 105"/>
            <p:cNvSpPr>
              <a:spLocks/>
            </p:cNvSpPr>
            <p:nvPr/>
          </p:nvSpPr>
          <p:spPr bwMode="auto">
            <a:xfrm>
              <a:off x="3194" y="2233"/>
              <a:ext cx="33" cy="34"/>
            </a:xfrm>
            <a:custGeom>
              <a:avLst/>
              <a:gdLst>
                <a:gd name="T0" fmla="*/ 0 w 71"/>
                <a:gd name="T1" fmla="*/ 0 h 71"/>
                <a:gd name="T2" fmla="*/ 0 w 71"/>
                <a:gd name="T3" fmla="*/ 0 h 71"/>
                <a:gd name="T4" fmla="*/ 0 w 71"/>
                <a:gd name="T5" fmla="*/ 0 h 71"/>
                <a:gd name="T6" fmla="*/ 0 w 71"/>
                <a:gd name="T7" fmla="*/ 0 h 71"/>
                <a:gd name="T8" fmla="*/ 0 w 71"/>
                <a:gd name="T9" fmla="*/ 0 h 71"/>
                <a:gd name="T10" fmla="*/ 0 w 71"/>
                <a:gd name="T11" fmla="*/ 0 h 71"/>
                <a:gd name="T12" fmla="*/ 0 w 71"/>
                <a:gd name="T13" fmla="*/ 0 h 71"/>
                <a:gd name="T14" fmla="*/ 0 w 71"/>
                <a:gd name="T15" fmla="*/ 0 h 71"/>
                <a:gd name="T16" fmla="*/ 0 w 71"/>
                <a:gd name="T17" fmla="*/ 0 h 71"/>
                <a:gd name="T18" fmla="*/ 0 w 71"/>
                <a:gd name="T19" fmla="*/ 0 h 71"/>
                <a:gd name="T20" fmla="*/ 0 w 71"/>
                <a:gd name="T21" fmla="*/ 0 h 71"/>
                <a:gd name="T22" fmla="*/ 0 w 71"/>
                <a:gd name="T23" fmla="*/ 0 h 71"/>
                <a:gd name="T24" fmla="*/ 0 w 71"/>
                <a:gd name="T25" fmla="*/ 0 h 71"/>
                <a:gd name="T26" fmla="*/ 0 w 71"/>
                <a:gd name="T27" fmla="*/ 0 h 71"/>
                <a:gd name="T28" fmla="*/ 0 w 71"/>
                <a:gd name="T29" fmla="*/ 0 h 71"/>
                <a:gd name="T30" fmla="*/ 0 w 71"/>
                <a:gd name="T31" fmla="*/ 0 h 71"/>
                <a:gd name="T32" fmla="*/ 0 w 71"/>
                <a:gd name="T33" fmla="*/ 0 h 71"/>
                <a:gd name="T34" fmla="*/ 0 w 71"/>
                <a:gd name="T35" fmla="*/ 0 h 71"/>
                <a:gd name="T36" fmla="*/ 0 w 71"/>
                <a:gd name="T37" fmla="*/ 0 h 71"/>
                <a:gd name="T38" fmla="*/ 0 w 71"/>
                <a:gd name="T39" fmla="*/ 0 h 71"/>
                <a:gd name="T40" fmla="*/ 0 w 71"/>
                <a:gd name="T41" fmla="*/ 0 h 71"/>
                <a:gd name="T42" fmla="*/ 0 w 71"/>
                <a:gd name="T43" fmla="*/ 0 h 71"/>
                <a:gd name="T44" fmla="*/ 0 w 71"/>
                <a:gd name="T45" fmla="*/ 0 h 71"/>
                <a:gd name="T46" fmla="*/ 0 w 71"/>
                <a:gd name="T47" fmla="*/ 0 h 71"/>
                <a:gd name="T48" fmla="*/ 0 w 71"/>
                <a:gd name="T49" fmla="*/ 0 h 71"/>
                <a:gd name="T50" fmla="*/ 0 w 71"/>
                <a:gd name="T51" fmla="*/ 0 h 71"/>
                <a:gd name="T52" fmla="*/ 0 w 71"/>
                <a:gd name="T53" fmla="*/ 0 h 71"/>
                <a:gd name="T54" fmla="*/ 0 w 71"/>
                <a:gd name="T55" fmla="*/ 0 h 71"/>
                <a:gd name="T56" fmla="*/ 0 w 71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71">
                  <a:moveTo>
                    <a:pt x="69" y="71"/>
                  </a:moveTo>
                  <a:lnTo>
                    <a:pt x="55" y="71"/>
                  </a:lnTo>
                  <a:lnTo>
                    <a:pt x="49" y="69"/>
                  </a:lnTo>
                  <a:lnTo>
                    <a:pt x="43" y="66"/>
                  </a:lnTo>
                  <a:lnTo>
                    <a:pt x="37" y="63"/>
                  </a:lnTo>
                  <a:lnTo>
                    <a:pt x="31" y="60"/>
                  </a:lnTo>
                  <a:lnTo>
                    <a:pt x="20" y="51"/>
                  </a:lnTo>
                  <a:lnTo>
                    <a:pt x="16" y="46"/>
                  </a:lnTo>
                  <a:lnTo>
                    <a:pt x="11" y="40"/>
                  </a:lnTo>
                  <a:lnTo>
                    <a:pt x="8" y="35"/>
                  </a:lnTo>
                  <a:lnTo>
                    <a:pt x="5" y="28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2"/>
                  </a:lnTo>
                  <a:lnTo>
                    <a:pt x="13" y="0"/>
                  </a:lnTo>
                  <a:lnTo>
                    <a:pt x="13" y="6"/>
                  </a:lnTo>
                  <a:lnTo>
                    <a:pt x="14" y="12"/>
                  </a:lnTo>
                  <a:lnTo>
                    <a:pt x="17" y="23"/>
                  </a:lnTo>
                  <a:lnTo>
                    <a:pt x="20" y="28"/>
                  </a:lnTo>
                  <a:lnTo>
                    <a:pt x="23" y="32"/>
                  </a:lnTo>
                  <a:lnTo>
                    <a:pt x="26" y="37"/>
                  </a:lnTo>
                  <a:lnTo>
                    <a:pt x="29" y="41"/>
                  </a:lnTo>
                  <a:lnTo>
                    <a:pt x="39" y="49"/>
                  </a:lnTo>
                  <a:lnTo>
                    <a:pt x="43" y="51"/>
                  </a:lnTo>
                  <a:lnTo>
                    <a:pt x="48" y="54"/>
                  </a:lnTo>
                  <a:lnTo>
                    <a:pt x="52" y="55"/>
                  </a:lnTo>
                  <a:lnTo>
                    <a:pt x="58" y="57"/>
                  </a:lnTo>
                  <a:lnTo>
                    <a:pt x="71" y="58"/>
                  </a:lnTo>
                  <a:lnTo>
                    <a:pt x="69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77" name="Freeform 106"/>
            <p:cNvSpPr>
              <a:spLocks/>
            </p:cNvSpPr>
            <p:nvPr/>
          </p:nvSpPr>
          <p:spPr bwMode="auto">
            <a:xfrm>
              <a:off x="3227" y="2260"/>
              <a:ext cx="3" cy="7"/>
            </a:xfrm>
            <a:custGeom>
              <a:avLst/>
              <a:gdLst>
                <a:gd name="T0" fmla="*/ 1 w 2"/>
                <a:gd name="T1" fmla="*/ 0 h 13"/>
                <a:gd name="T2" fmla="*/ 0 w 2"/>
                <a:gd name="T3" fmla="*/ 0 h 13"/>
                <a:gd name="T4" fmla="*/ 1 w 2"/>
                <a:gd name="T5" fmla="*/ 0 h 13"/>
                <a:gd name="T6" fmla="*/ 0 w 2"/>
                <a:gd name="T7" fmla="*/ 0 h 13"/>
                <a:gd name="T8" fmla="*/ 1 w 2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3">
                  <a:moveTo>
                    <a:pt x="2" y="13"/>
                  </a:moveTo>
                  <a:lnTo>
                    <a:pt x="0" y="1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78" name="Freeform 107"/>
            <p:cNvSpPr>
              <a:spLocks/>
            </p:cNvSpPr>
            <p:nvPr/>
          </p:nvSpPr>
          <p:spPr bwMode="auto">
            <a:xfrm>
              <a:off x="3194" y="2233"/>
              <a:ext cx="3" cy="0"/>
            </a:xfrm>
            <a:custGeom>
              <a:avLst/>
              <a:gdLst>
                <a:gd name="T0" fmla="*/ 0 w 13"/>
                <a:gd name="T1" fmla="*/ 1 h 2"/>
                <a:gd name="T2" fmla="*/ 0 w 13"/>
                <a:gd name="T3" fmla="*/ 0 h 2"/>
                <a:gd name="T4" fmla="*/ 0 w 13"/>
                <a:gd name="T5" fmla="*/ 1 h 2"/>
                <a:gd name="T6" fmla="*/ 0 w 13"/>
                <a:gd name="T7" fmla="*/ 0 h 2"/>
                <a:gd name="T8" fmla="*/ 0 w 13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0" y="2"/>
                  </a:moveTo>
                  <a:lnTo>
                    <a:pt x="0" y="0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79" name="Freeform 108"/>
            <p:cNvSpPr>
              <a:spLocks/>
            </p:cNvSpPr>
            <p:nvPr/>
          </p:nvSpPr>
          <p:spPr bwMode="auto">
            <a:xfrm>
              <a:off x="3120" y="2200"/>
              <a:ext cx="65" cy="64"/>
            </a:xfrm>
            <a:custGeom>
              <a:avLst/>
              <a:gdLst>
                <a:gd name="T0" fmla="*/ 0 w 127"/>
                <a:gd name="T1" fmla="*/ 1 h 127"/>
                <a:gd name="T2" fmla="*/ 0 w 127"/>
                <a:gd name="T3" fmla="*/ 1 h 127"/>
                <a:gd name="T4" fmla="*/ 1 w 127"/>
                <a:gd name="T5" fmla="*/ 1 h 127"/>
                <a:gd name="T6" fmla="*/ 1 w 127"/>
                <a:gd name="T7" fmla="*/ 1 h 127"/>
                <a:gd name="T8" fmla="*/ 1 w 127"/>
                <a:gd name="T9" fmla="*/ 1 h 127"/>
                <a:gd name="T10" fmla="*/ 1 w 127"/>
                <a:gd name="T11" fmla="*/ 1 h 127"/>
                <a:gd name="T12" fmla="*/ 1 w 127"/>
                <a:gd name="T13" fmla="*/ 1 h 127"/>
                <a:gd name="T14" fmla="*/ 1 w 127"/>
                <a:gd name="T15" fmla="*/ 1 h 127"/>
                <a:gd name="T16" fmla="*/ 1 w 127"/>
                <a:gd name="T17" fmla="*/ 1 h 127"/>
                <a:gd name="T18" fmla="*/ 1 w 127"/>
                <a:gd name="T19" fmla="*/ 1 h 127"/>
                <a:gd name="T20" fmla="*/ 1 w 127"/>
                <a:gd name="T21" fmla="*/ 1 h 127"/>
                <a:gd name="T22" fmla="*/ 1 w 127"/>
                <a:gd name="T23" fmla="*/ 1 h 127"/>
                <a:gd name="T24" fmla="*/ 1 w 127"/>
                <a:gd name="T25" fmla="*/ 0 h 127"/>
                <a:gd name="T26" fmla="*/ 1 w 127"/>
                <a:gd name="T27" fmla="*/ 1 h 127"/>
                <a:gd name="T28" fmla="*/ 1 w 127"/>
                <a:gd name="T29" fmla="*/ 1 h 127"/>
                <a:gd name="T30" fmla="*/ 1 w 127"/>
                <a:gd name="T31" fmla="*/ 1 h 127"/>
                <a:gd name="T32" fmla="*/ 1 w 127"/>
                <a:gd name="T33" fmla="*/ 1 h 127"/>
                <a:gd name="T34" fmla="*/ 1 w 127"/>
                <a:gd name="T35" fmla="*/ 1 h 127"/>
                <a:gd name="T36" fmla="*/ 1 w 127"/>
                <a:gd name="T37" fmla="*/ 1 h 127"/>
                <a:gd name="T38" fmla="*/ 1 w 127"/>
                <a:gd name="T39" fmla="*/ 1 h 127"/>
                <a:gd name="T40" fmla="*/ 1 w 127"/>
                <a:gd name="T41" fmla="*/ 1 h 127"/>
                <a:gd name="T42" fmla="*/ 1 w 127"/>
                <a:gd name="T43" fmla="*/ 1 h 127"/>
                <a:gd name="T44" fmla="*/ 1 w 127"/>
                <a:gd name="T45" fmla="*/ 1 h 127"/>
                <a:gd name="T46" fmla="*/ 1 w 127"/>
                <a:gd name="T47" fmla="*/ 1 h 127"/>
                <a:gd name="T48" fmla="*/ 1 w 127"/>
                <a:gd name="T49" fmla="*/ 1 h 127"/>
                <a:gd name="T50" fmla="*/ 1 w 127"/>
                <a:gd name="T51" fmla="*/ 1 h 127"/>
                <a:gd name="T52" fmla="*/ 1 w 127"/>
                <a:gd name="T53" fmla="*/ 1 h 127"/>
                <a:gd name="T54" fmla="*/ 1 w 127"/>
                <a:gd name="T55" fmla="*/ 1 h 127"/>
                <a:gd name="T56" fmla="*/ 1 w 127"/>
                <a:gd name="T57" fmla="*/ 1 h 127"/>
                <a:gd name="T58" fmla="*/ 1 w 127"/>
                <a:gd name="T59" fmla="*/ 1 h 127"/>
                <a:gd name="T60" fmla="*/ 1 w 127"/>
                <a:gd name="T61" fmla="*/ 1 h 127"/>
                <a:gd name="T62" fmla="*/ 1 w 127"/>
                <a:gd name="T63" fmla="*/ 1 h 127"/>
                <a:gd name="T64" fmla="*/ 1 w 127"/>
                <a:gd name="T65" fmla="*/ 1 h 127"/>
                <a:gd name="T66" fmla="*/ 1 w 127"/>
                <a:gd name="T67" fmla="*/ 1 h 127"/>
                <a:gd name="T68" fmla="*/ 1 w 127"/>
                <a:gd name="T69" fmla="*/ 1 h 127"/>
                <a:gd name="T70" fmla="*/ 1 w 127"/>
                <a:gd name="T71" fmla="*/ 1 h 127"/>
                <a:gd name="T72" fmla="*/ 1 w 127"/>
                <a:gd name="T73" fmla="*/ 1 h 127"/>
                <a:gd name="T74" fmla="*/ 1 w 127"/>
                <a:gd name="T75" fmla="*/ 1 h 127"/>
                <a:gd name="T76" fmla="*/ 1 w 127"/>
                <a:gd name="T77" fmla="*/ 1 h 127"/>
                <a:gd name="T78" fmla="*/ 1 w 127"/>
                <a:gd name="T79" fmla="*/ 1 h 127"/>
                <a:gd name="T80" fmla="*/ 1 w 127"/>
                <a:gd name="T81" fmla="*/ 1 h 127"/>
                <a:gd name="T82" fmla="*/ 1 w 127"/>
                <a:gd name="T83" fmla="*/ 1 h 127"/>
                <a:gd name="T84" fmla="*/ 1 w 127"/>
                <a:gd name="T85" fmla="*/ 1 h 127"/>
                <a:gd name="T86" fmla="*/ 1 w 127"/>
                <a:gd name="T87" fmla="*/ 1 h 127"/>
                <a:gd name="T88" fmla="*/ 1 w 127"/>
                <a:gd name="T89" fmla="*/ 1 h 127"/>
                <a:gd name="T90" fmla="*/ 1 w 127"/>
                <a:gd name="T91" fmla="*/ 1 h 127"/>
                <a:gd name="T92" fmla="*/ 1 w 127"/>
                <a:gd name="T93" fmla="*/ 1 h 127"/>
                <a:gd name="T94" fmla="*/ 1 w 127"/>
                <a:gd name="T95" fmla="*/ 1 h 127"/>
                <a:gd name="T96" fmla="*/ 0 w 127"/>
                <a:gd name="T97" fmla="*/ 1 h 127"/>
                <a:gd name="T98" fmla="*/ 0 w 127"/>
                <a:gd name="T99" fmla="*/ 1 h 127"/>
                <a:gd name="T100" fmla="*/ 0 w 127"/>
                <a:gd name="T101" fmla="*/ 1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7" h="127">
                  <a:moveTo>
                    <a:pt x="0" y="65"/>
                  </a:moveTo>
                  <a:lnTo>
                    <a:pt x="0" y="51"/>
                  </a:lnTo>
                  <a:lnTo>
                    <a:pt x="2" y="45"/>
                  </a:lnTo>
                  <a:lnTo>
                    <a:pt x="5" y="39"/>
                  </a:lnTo>
                  <a:lnTo>
                    <a:pt x="8" y="34"/>
                  </a:lnTo>
                  <a:lnTo>
                    <a:pt x="11" y="28"/>
                  </a:lnTo>
                  <a:lnTo>
                    <a:pt x="19" y="19"/>
                  </a:lnTo>
                  <a:lnTo>
                    <a:pt x="23" y="16"/>
                  </a:lnTo>
                  <a:lnTo>
                    <a:pt x="28" y="11"/>
                  </a:lnTo>
                  <a:lnTo>
                    <a:pt x="32" y="8"/>
                  </a:lnTo>
                  <a:lnTo>
                    <a:pt x="38" y="5"/>
                  </a:lnTo>
                  <a:lnTo>
                    <a:pt x="51" y="2"/>
                  </a:lnTo>
                  <a:lnTo>
                    <a:pt x="63" y="0"/>
                  </a:lnTo>
                  <a:lnTo>
                    <a:pt x="75" y="2"/>
                  </a:lnTo>
                  <a:lnTo>
                    <a:pt x="81" y="3"/>
                  </a:lnTo>
                  <a:lnTo>
                    <a:pt x="87" y="5"/>
                  </a:lnTo>
                  <a:lnTo>
                    <a:pt x="93" y="8"/>
                  </a:lnTo>
                  <a:lnTo>
                    <a:pt x="98" y="11"/>
                  </a:lnTo>
                  <a:lnTo>
                    <a:pt x="107" y="19"/>
                  </a:lnTo>
                  <a:lnTo>
                    <a:pt x="112" y="23"/>
                  </a:lnTo>
                  <a:lnTo>
                    <a:pt x="116" y="28"/>
                  </a:lnTo>
                  <a:lnTo>
                    <a:pt x="119" y="34"/>
                  </a:lnTo>
                  <a:lnTo>
                    <a:pt x="121" y="39"/>
                  </a:lnTo>
                  <a:lnTo>
                    <a:pt x="125" y="51"/>
                  </a:lnTo>
                  <a:lnTo>
                    <a:pt x="125" y="57"/>
                  </a:lnTo>
                  <a:lnTo>
                    <a:pt x="127" y="65"/>
                  </a:lnTo>
                  <a:lnTo>
                    <a:pt x="125" y="77"/>
                  </a:lnTo>
                  <a:lnTo>
                    <a:pt x="124" y="83"/>
                  </a:lnTo>
                  <a:lnTo>
                    <a:pt x="121" y="89"/>
                  </a:lnTo>
                  <a:lnTo>
                    <a:pt x="119" y="94"/>
                  </a:lnTo>
                  <a:lnTo>
                    <a:pt x="116" y="100"/>
                  </a:lnTo>
                  <a:lnTo>
                    <a:pt x="107" y="109"/>
                  </a:lnTo>
                  <a:lnTo>
                    <a:pt x="104" y="114"/>
                  </a:lnTo>
                  <a:lnTo>
                    <a:pt x="98" y="117"/>
                  </a:lnTo>
                  <a:lnTo>
                    <a:pt x="93" y="120"/>
                  </a:lnTo>
                  <a:lnTo>
                    <a:pt x="87" y="123"/>
                  </a:lnTo>
                  <a:lnTo>
                    <a:pt x="75" y="126"/>
                  </a:lnTo>
                  <a:lnTo>
                    <a:pt x="63" y="127"/>
                  </a:lnTo>
                  <a:lnTo>
                    <a:pt x="51" y="126"/>
                  </a:lnTo>
                  <a:lnTo>
                    <a:pt x="45" y="124"/>
                  </a:lnTo>
                  <a:lnTo>
                    <a:pt x="38" y="123"/>
                  </a:lnTo>
                  <a:lnTo>
                    <a:pt x="32" y="120"/>
                  </a:lnTo>
                  <a:lnTo>
                    <a:pt x="28" y="117"/>
                  </a:lnTo>
                  <a:lnTo>
                    <a:pt x="19" y="109"/>
                  </a:lnTo>
                  <a:lnTo>
                    <a:pt x="14" y="104"/>
                  </a:lnTo>
                  <a:lnTo>
                    <a:pt x="11" y="100"/>
                  </a:lnTo>
                  <a:lnTo>
                    <a:pt x="8" y="94"/>
                  </a:lnTo>
                  <a:lnTo>
                    <a:pt x="5" y="89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80" name="Freeform 109"/>
            <p:cNvSpPr>
              <a:spLocks/>
            </p:cNvSpPr>
            <p:nvPr/>
          </p:nvSpPr>
          <p:spPr bwMode="auto">
            <a:xfrm>
              <a:off x="3114" y="2196"/>
              <a:ext cx="36" cy="37"/>
            </a:xfrm>
            <a:custGeom>
              <a:avLst/>
              <a:gdLst>
                <a:gd name="T0" fmla="*/ 0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0 w 70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0" h="71">
                  <a:moveTo>
                    <a:pt x="0" y="69"/>
                  </a:moveTo>
                  <a:lnTo>
                    <a:pt x="1" y="55"/>
                  </a:lnTo>
                  <a:lnTo>
                    <a:pt x="3" y="49"/>
                  </a:lnTo>
                  <a:lnTo>
                    <a:pt x="6" y="43"/>
                  </a:lnTo>
                  <a:lnTo>
                    <a:pt x="9" y="37"/>
                  </a:lnTo>
                  <a:lnTo>
                    <a:pt x="12" y="31"/>
                  </a:lnTo>
                  <a:lnTo>
                    <a:pt x="19" y="20"/>
                  </a:lnTo>
                  <a:lnTo>
                    <a:pt x="26" y="16"/>
                  </a:lnTo>
                  <a:lnTo>
                    <a:pt x="30" y="13"/>
                  </a:lnTo>
                  <a:lnTo>
                    <a:pt x="36" y="8"/>
                  </a:lnTo>
                  <a:lnTo>
                    <a:pt x="42" y="5"/>
                  </a:lnTo>
                  <a:lnTo>
                    <a:pt x="56" y="2"/>
                  </a:lnTo>
                  <a:lnTo>
                    <a:pt x="70" y="0"/>
                  </a:lnTo>
                  <a:lnTo>
                    <a:pt x="70" y="14"/>
                  </a:lnTo>
                  <a:lnTo>
                    <a:pt x="58" y="14"/>
                  </a:lnTo>
                  <a:lnTo>
                    <a:pt x="47" y="19"/>
                  </a:lnTo>
                  <a:lnTo>
                    <a:pt x="42" y="20"/>
                  </a:lnTo>
                  <a:lnTo>
                    <a:pt x="38" y="23"/>
                  </a:lnTo>
                  <a:lnTo>
                    <a:pt x="33" y="26"/>
                  </a:lnTo>
                  <a:lnTo>
                    <a:pt x="30" y="29"/>
                  </a:lnTo>
                  <a:lnTo>
                    <a:pt x="23" y="39"/>
                  </a:lnTo>
                  <a:lnTo>
                    <a:pt x="19" y="43"/>
                  </a:lnTo>
                  <a:lnTo>
                    <a:pt x="18" y="48"/>
                  </a:lnTo>
                  <a:lnTo>
                    <a:pt x="15" y="54"/>
                  </a:lnTo>
                  <a:lnTo>
                    <a:pt x="15" y="58"/>
                  </a:lnTo>
                  <a:lnTo>
                    <a:pt x="13" y="71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81" name="Freeform 110"/>
            <p:cNvSpPr>
              <a:spLocks/>
            </p:cNvSpPr>
            <p:nvPr/>
          </p:nvSpPr>
          <p:spPr bwMode="auto">
            <a:xfrm>
              <a:off x="3149" y="2196"/>
              <a:ext cx="36" cy="37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w 70"/>
                <a:gd name="T55" fmla="*/ 0 h 71"/>
                <a:gd name="T56" fmla="*/ 1 w 70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0" h="71">
                  <a:moveTo>
                    <a:pt x="1" y="0"/>
                  </a:moveTo>
                  <a:lnTo>
                    <a:pt x="14" y="2"/>
                  </a:lnTo>
                  <a:lnTo>
                    <a:pt x="21" y="3"/>
                  </a:lnTo>
                  <a:lnTo>
                    <a:pt x="27" y="5"/>
                  </a:lnTo>
                  <a:lnTo>
                    <a:pt x="33" y="8"/>
                  </a:lnTo>
                  <a:lnTo>
                    <a:pt x="40" y="13"/>
                  </a:lnTo>
                  <a:lnTo>
                    <a:pt x="49" y="20"/>
                  </a:lnTo>
                  <a:lnTo>
                    <a:pt x="53" y="25"/>
                  </a:lnTo>
                  <a:lnTo>
                    <a:pt x="58" y="31"/>
                  </a:lnTo>
                  <a:lnTo>
                    <a:pt x="61" y="37"/>
                  </a:lnTo>
                  <a:lnTo>
                    <a:pt x="64" y="43"/>
                  </a:lnTo>
                  <a:lnTo>
                    <a:pt x="69" y="55"/>
                  </a:lnTo>
                  <a:lnTo>
                    <a:pt x="70" y="63"/>
                  </a:lnTo>
                  <a:lnTo>
                    <a:pt x="70" y="69"/>
                  </a:lnTo>
                  <a:lnTo>
                    <a:pt x="56" y="71"/>
                  </a:lnTo>
                  <a:lnTo>
                    <a:pt x="56" y="65"/>
                  </a:lnTo>
                  <a:lnTo>
                    <a:pt x="56" y="58"/>
                  </a:lnTo>
                  <a:lnTo>
                    <a:pt x="52" y="48"/>
                  </a:lnTo>
                  <a:lnTo>
                    <a:pt x="50" y="43"/>
                  </a:lnTo>
                  <a:lnTo>
                    <a:pt x="47" y="39"/>
                  </a:lnTo>
                  <a:lnTo>
                    <a:pt x="44" y="34"/>
                  </a:lnTo>
                  <a:lnTo>
                    <a:pt x="40" y="29"/>
                  </a:lnTo>
                  <a:lnTo>
                    <a:pt x="32" y="23"/>
                  </a:lnTo>
                  <a:lnTo>
                    <a:pt x="27" y="20"/>
                  </a:lnTo>
                  <a:lnTo>
                    <a:pt x="21" y="17"/>
                  </a:lnTo>
                  <a:lnTo>
                    <a:pt x="17" y="16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82" name="Freeform 111"/>
            <p:cNvSpPr>
              <a:spLocks/>
            </p:cNvSpPr>
            <p:nvPr/>
          </p:nvSpPr>
          <p:spPr bwMode="auto">
            <a:xfrm>
              <a:off x="3149" y="2196"/>
              <a:ext cx="3" cy="8"/>
            </a:xfrm>
            <a:custGeom>
              <a:avLst/>
              <a:gdLst>
                <a:gd name="T0" fmla="*/ 0 w 1"/>
                <a:gd name="T1" fmla="*/ 0 h 14"/>
                <a:gd name="T2" fmla="*/ 1 w 1"/>
                <a:gd name="T3" fmla="*/ 0 h 14"/>
                <a:gd name="T4" fmla="*/ 0 w 1"/>
                <a:gd name="T5" fmla="*/ 1 h 14"/>
                <a:gd name="T6" fmla="*/ 0 w 1"/>
                <a:gd name="T7" fmla="*/ 0 h 1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4">
                  <a:moveTo>
                    <a:pt x="0" y="0"/>
                  </a:moveTo>
                  <a:lnTo>
                    <a:pt x="1" y="0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83" name="Freeform 112"/>
            <p:cNvSpPr>
              <a:spLocks/>
            </p:cNvSpPr>
            <p:nvPr/>
          </p:nvSpPr>
          <p:spPr bwMode="auto">
            <a:xfrm>
              <a:off x="3149" y="2233"/>
              <a:ext cx="36" cy="34"/>
            </a:xfrm>
            <a:custGeom>
              <a:avLst/>
              <a:gdLst>
                <a:gd name="T0" fmla="*/ 1 w 72"/>
                <a:gd name="T1" fmla="*/ 0 h 71"/>
                <a:gd name="T2" fmla="*/ 1 w 72"/>
                <a:gd name="T3" fmla="*/ 0 h 71"/>
                <a:gd name="T4" fmla="*/ 1 w 72"/>
                <a:gd name="T5" fmla="*/ 0 h 71"/>
                <a:gd name="T6" fmla="*/ 1 w 72"/>
                <a:gd name="T7" fmla="*/ 0 h 71"/>
                <a:gd name="T8" fmla="*/ 1 w 72"/>
                <a:gd name="T9" fmla="*/ 0 h 71"/>
                <a:gd name="T10" fmla="*/ 1 w 72"/>
                <a:gd name="T11" fmla="*/ 0 h 71"/>
                <a:gd name="T12" fmla="*/ 1 w 72"/>
                <a:gd name="T13" fmla="*/ 0 h 71"/>
                <a:gd name="T14" fmla="*/ 1 w 72"/>
                <a:gd name="T15" fmla="*/ 0 h 71"/>
                <a:gd name="T16" fmla="*/ 1 w 72"/>
                <a:gd name="T17" fmla="*/ 0 h 71"/>
                <a:gd name="T18" fmla="*/ 1 w 72"/>
                <a:gd name="T19" fmla="*/ 0 h 71"/>
                <a:gd name="T20" fmla="*/ 1 w 72"/>
                <a:gd name="T21" fmla="*/ 0 h 71"/>
                <a:gd name="T22" fmla="*/ 1 w 72"/>
                <a:gd name="T23" fmla="*/ 0 h 71"/>
                <a:gd name="T24" fmla="*/ 1 w 72"/>
                <a:gd name="T25" fmla="*/ 0 h 71"/>
                <a:gd name="T26" fmla="*/ 0 w 72"/>
                <a:gd name="T27" fmla="*/ 0 h 71"/>
                <a:gd name="T28" fmla="*/ 1 w 72"/>
                <a:gd name="T29" fmla="*/ 0 h 71"/>
                <a:gd name="T30" fmla="*/ 1 w 72"/>
                <a:gd name="T31" fmla="*/ 0 h 71"/>
                <a:gd name="T32" fmla="*/ 1 w 72"/>
                <a:gd name="T33" fmla="*/ 0 h 71"/>
                <a:gd name="T34" fmla="*/ 1 w 72"/>
                <a:gd name="T35" fmla="*/ 0 h 71"/>
                <a:gd name="T36" fmla="*/ 1 w 72"/>
                <a:gd name="T37" fmla="*/ 0 h 71"/>
                <a:gd name="T38" fmla="*/ 1 w 72"/>
                <a:gd name="T39" fmla="*/ 0 h 71"/>
                <a:gd name="T40" fmla="*/ 1 w 72"/>
                <a:gd name="T41" fmla="*/ 0 h 71"/>
                <a:gd name="T42" fmla="*/ 1 w 72"/>
                <a:gd name="T43" fmla="*/ 0 h 71"/>
                <a:gd name="T44" fmla="*/ 1 w 72"/>
                <a:gd name="T45" fmla="*/ 0 h 71"/>
                <a:gd name="T46" fmla="*/ 1 w 72"/>
                <a:gd name="T47" fmla="*/ 0 h 71"/>
                <a:gd name="T48" fmla="*/ 1 w 72"/>
                <a:gd name="T49" fmla="*/ 0 h 71"/>
                <a:gd name="T50" fmla="*/ 1 w 72"/>
                <a:gd name="T51" fmla="*/ 0 h 71"/>
                <a:gd name="T52" fmla="*/ 1 w 72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2" h="71">
                  <a:moveTo>
                    <a:pt x="72" y="2"/>
                  </a:moveTo>
                  <a:lnTo>
                    <a:pt x="71" y="14"/>
                  </a:lnTo>
                  <a:lnTo>
                    <a:pt x="69" y="22"/>
                  </a:lnTo>
                  <a:lnTo>
                    <a:pt x="66" y="28"/>
                  </a:lnTo>
                  <a:lnTo>
                    <a:pt x="63" y="34"/>
                  </a:lnTo>
                  <a:lnTo>
                    <a:pt x="60" y="41"/>
                  </a:lnTo>
                  <a:lnTo>
                    <a:pt x="52" y="51"/>
                  </a:lnTo>
                  <a:lnTo>
                    <a:pt x="46" y="55"/>
                  </a:lnTo>
                  <a:lnTo>
                    <a:pt x="42" y="60"/>
                  </a:lnTo>
                  <a:lnTo>
                    <a:pt x="35" y="63"/>
                  </a:lnTo>
                  <a:lnTo>
                    <a:pt x="29" y="66"/>
                  </a:lnTo>
                  <a:lnTo>
                    <a:pt x="16" y="71"/>
                  </a:lnTo>
                  <a:lnTo>
                    <a:pt x="3" y="71"/>
                  </a:lnTo>
                  <a:lnTo>
                    <a:pt x="0" y="58"/>
                  </a:lnTo>
                  <a:lnTo>
                    <a:pt x="13" y="57"/>
                  </a:lnTo>
                  <a:lnTo>
                    <a:pt x="23" y="54"/>
                  </a:lnTo>
                  <a:lnTo>
                    <a:pt x="29" y="51"/>
                  </a:lnTo>
                  <a:lnTo>
                    <a:pt x="34" y="49"/>
                  </a:lnTo>
                  <a:lnTo>
                    <a:pt x="39" y="45"/>
                  </a:lnTo>
                  <a:lnTo>
                    <a:pt x="42" y="41"/>
                  </a:lnTo>
                  <a:lnTo>
                    <a:pt x="49" y="32"/>
                  </a:lnTo>
                  <a:lnTo>
                    <a:pt x="52" y="28"/>
                  </a:lnTo>
                  <a:lnTo>
                    <a:pt x="54" y="23"/>
                  </a:lnTo>
                  <a:lnTo>
                    <a:pt x="57" y="19"/>
                  </a:lnTo>
                  <a:lnTo>
                    <a:pt x="57" y="12"/>
                  </a:lnTo>
                  <a:lnTo>
                    <a:pt x="58" y="0"/>
                  </a:lnTo>
                  <a:lnTo>
                    <a:pt x="72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84" name="Freeform 113"/>
            <p:cNvSpPr>
              <a:spLocks/>
            </p:cNvSpPr>
            <p:nvPr/>
          </p:nvSpPr>
          <p:spPr bwMode="auto">
            <a:xfrm>
              <a:off x="3179" y="2233"/>
              <a:ext cx="9" cy="0"/>
            </a:xfrm>
            <a:custGeom>
              <a:avLst/>
              <a:gdLst>
                <a:gd name="T0" fmla="*/ 1 w 14"/>
                <a:gd name="T1" fmla="*/ 0 h 2"/>
                <a:gd name="T2" fmla="*/ 1 w 14"/>
                <a:gd name="T3" fmla="*/ 1 h 2"/>
                <a:gd name="T4" fmla="*/ 0 w 14"/>
                <a:gd name="T5" fmla="*/ 0 h 2"/>
                <a:gd name="T6" fmla="*/ 0 w 14"/>
                <a:gd name="T7" fmla="*/ 1 h 2"/>
                <a:gd name="T8" fmla="*/ 1 w 1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2">
                  <a:moveTo>
                    <a:pt x="14" y="0"/>
                  </a:moveTo>
                  <a:lnTo>
                    <a:pt x="1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85" name="Freeform 114"/>
            <p:cNvSpPr>
              <a:spLocks/>
            </p:cNvSpPr>
            <p:nvPr/>
          </p:nvSpPr>
          <p:spPr bwMode="auto">
            <a:xfrm>
              <a:off x="3114" y="2233"/>
              <a:ext cx="39" cy="34"/>
            </a:xfrm>
            <a:custGeom>
              <a:avLst/>
              <a:gdLst>
                <a:gd name="T0" fmla="*/ 1 w 71"/>
                <a:gd name="T1" fmla="*/ 0 h 71"/>
                <a:gd name="T2" fmla="*/ 1 w 71"/>
                <a:gd name="T3" fmla="*/ 0 h 71"/>
                <a:gd name="T4" fmla="*/ 1 w 71"/>
                <a:gd name="T5" fmla="*/ 0 h 71"/>
                <a:gd name="T6" fmla="*/ 1 w 71"/>
                <a:gd name="T7" fmla="*/ 0 h 71"/>
                <a:gd name="T8" fmla="*/ 1 w 71"/>
                <a:gd name="T9" fmla="*/ 0 h 71"/>
                <a:gd name="T10" fmla="*/ 1 w 71"/>
                <a:gd name="T11" fmla="*/ 0 h 71"/>
                <a:gd name="T12" fmla="*/ 1 w 71"/>
                <a:gd name="T13" fmla="*/ 0 h 71"/>
                <a:gd name="T14" fmla="*/ 1 w 71"/>
                <a:gd name="T15" fmla="*/ 0 h 71"/>
                <a:gd name="T16" fmla="*/ 1 w 71"/>
                <a:gd name="T17" fmla="*/ 0 h 71"/>
                <a:gd name="T18" fmla="*/ 1 w 71"/>
                <a:gd name="T19" fmla="*/ 0 h 71"/>
                <a:gd name="T20" fmla="*/ 1 w 71"/>
                <a:gd name="T21" fmla="*/ 0 h 71"/>
                <a:gd name="T22" fmla="*/ 1 w 71"/>
                <a:gd name="T23" fmla="*/ 0 h 71"/>
                <a:gd name="T24" fmla="*/ 0 w 71"/>
                <a:gd name="T25" fmla="*/ 0 h 71"/>
                <a:gd name="T26" fmla="*/ 0 w 71"/>
                <a:gd name="T27" fmla="*/ 0 h 71"/>
                <a:gd name="T28" fmla="*/ 1 w 71"/>
                <a:gd name="T29" fmla="*/ 0 h 71"/>
                <a:gd name="T30" fmla="*/ 1 w 71"/>
                <a:gd name="T31" fmla="*/ 0 h 71"/>
                <a:gd name="T32" fmla="*/ 1 w 71"/>
                <a:gd name="T33" fmla="*/ 0 h 71"/>
                <a:gd name="T34" fmla="*/ 1 w 71"/>
                <a:gd name="T35" fmla="*/ 0 h 71"/>
                <a:gd name="T36" fmla="*/ 1 w 71"/>
                <a:gd name="T37" fmla="*/ 0 h 71"/>
                <a:gd name="T38" fmla="*/ 1 w 71"/>
                <a:gd name="T39" fmla="*/ 0 h 71"/>
                <a:gd name="T40" fmla="*/ 1 w 71"/>
                <a:gd name="T41" fmla="*/ 0 h 71"/>
                <a:gd name="T42" fmla="*/ 1 w 71"/>
                <a:gd name="T43" fmla="*/ 0 h 71"/>
                <a:gd name="T44" fmla="*/ 1 w 71"/>
                <a:gd name="T45" fmla="*/ 0 h 71"/>
                <a:gd name="T46" fmla="*/ 1 w 71"/>
                <a:gd name="T47" fmla="*/ 0 h 71"/>
                <a:gd name="T48" fmla="*/ 1 w 71"/>
                <a:gd name="T49" fmla="*/ 0 h 71"/>
                <a:gd name="T50" fmla="*/ 1 w 71"/>
                <a:gd name="T51" fmla="*/ 0 h 71"/>
                <a:gd name="T52" fmla="*/ 1 w 71"/>
                <a:gd name="T53" fmla="*/ 0 h 71"/>
                <a:gd name="T54" fmla="*/ 1 w 71"/>
                <a:gd name="T55" fmla="*/ 0 h 71"/>
                <a:gd name="T56" fmla="*/ 1 w 71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71">
                  <a:moveTo>
                    <a:pt x="70" y="71"/>
                  </a:moveTo>
                  <a:lnTo>
                    <a:pt x="56" y="71"/>
                  </a:lnTo>
                  <a:lnTo>
                    <a:pt x="48" y="69"/>
                  </a:lnTo>
                  <a:lnTo>
                    <a:pt x="42" y="66"/>
                  </a:lnTo>
                  <a:lnTo>
                    <a:pt x="36" y="63"/>
                  </a:lnTo>
                  <a:lnTo>
                    <a:pt x="30" y="60"/>
                  </a:lnTo>
                  <a:lnTo>
                    <a:pt x="21" y="51"/>
                  </a:lnTo>
                  <a:lnTo>
                    <a:pt x="16" y="46"/>
                  </a:lnTo>
                  <a:lnTo>
                    <a:pt x="12" y="40"/>
                  </a:lnTo>
                  <a:lnTo>
                    <a:pt x="9" y="35"/>
                  </a:lnTo>
                  <a:lnTo>
                    <a:pt x="6" y="28"/>
                  </a:lnTo>
                  <a:lnTo>
                    <a:pt x="1" y="15"/>
                  </a:lnTo>
                  <a:lnTo>
                    <a:pt x="0" y="8"/>
                  </a:lnTo>
                  <a:lnTo>
                    <a:pt x="0" y="2"/>
                  </a:lnTo>
                  <a:lnTo>
                    <a:pt x="13" y="0"/>
                  </a:lnTo>
                  <a:lnTo>
                    <a:pt x="13" y="6"/>
                  </a:lnTo>
                  <a:lnTo>
                    <a:pt x="13" y="12"/>
                  </a:lnTo>
                  <a:lnTo>
                    <a:pt x="18" y="23"/>
                  </a:lnTo>
                  <a:lnTo>
                    <a:pt x="19" y="28"/>
                  </a:lnTo>
                  <a:lnTo>
                    <a:pt x="23" y="32"/>
                  </a:lnTo>
                  <a:lnTo>
                    <a:pt x="26" y="37"/>
                  </a:lnTo>
                  <a:lnTo>
                    <a:pt x="30" y="41"/>
                  </a:lnTo>
                  <a:lnTo>
                    <a:pt x="38" y="49"/>
                  </a:lnTo>
                  <a:lnTo>
                    <a:pt x="42" y="51"/>
                  </a:lnTo>
                  <a:lnTo>
                    <a:pt x="48" y="54"/>
                  </a:lnTo>
                  <a:lnTo>
                    <a:pt x="53" y="55"/>
                  </a:lnTo>
                  <a:lnTo>
                    <a:pt x="58" y="57"/>
                  </a:lnTo>
                  <a:lnTo>
                    <a:pt x="71" y="58"/>
                  </a:lnTo>
                  <a:lnTo>
                    <a:pt x="70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86" name="Freeform 115"/>
            <p:cNvSpPr>
              <a:spLocks/>
            </p:cNvSpPr>
            <p:nvPr/>
          </p:nvSpPr>
          <p:spPr bwMode="auto">
            <a:xfrm>
              <a:off x="3149" y="2260"/>
              <a:ext cx="3" cy="7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" h="13">
                  <a:moveTo>
                    <a:pt x="3" y="13"/>
                  </a:moveTo>
                  <a:lnTo>
                    <a:pt x="2" y="1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87" name="Freeform 116"/>
            <p:cNvSpPr>
              <a:spLocks/>
            </p:cNvSpPr>
            <p:nvPr/>
          </p:nvSpPr>
          <p:spPr bwMode="auto">
            <a:xfrm>
              <a:off x="3114" y="2233"/>
              <a:ext cx="3" cy="0"/>
            </a:xfrm>
            <a:custGeom>
              <a:avLst/>
              <a:gdLst>
                <a:gd name="T0" fmla="*/ 0 w 13"/>
                <a:gd name="T1" fmla="*/ 1 h 2"/>
                <a:gd name="T2" fmla="*/ 0 w 13"/>
                <a:gd name="T3" fmla="*/ 0 h 2"/>
                <a:gd name="T4" fmla="*/ 1 w 13"/>
                <a:gd name="T5" fmla="*/ 1 h 2"/>
                <a:gd name="T6" fmla="*/ 1 w 13"/>
                <a:gd name="T7" fmla="*/ 0 h 2"/>
                <a:gd name="T8" fmla="*/ 0 w 13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0" y="2"/>
                  </a:moveTo>
                  <a:lnTo>
                    <a:pt x="0" y="0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88" name="Rectangle 117"/>
            <p:cNvSpPr>
              <a:spLocks noChangeArrowheads="1"/>
            </p:cNvSpPr>
            <p:nvPr/>
          </p:nvSpPr>
          <p:spPr bwMode="auto">
            <a:xfrm>
              <a:off x="2900" y="2124"/>
              <a:ext cx="59" cy="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</p:grpSp>
      <p:cxnSp>
        <p:nvCxnSpPr>
          <p:cNvPr id="689" name="直線矢印コネクタ 688"/>
          <p:cNvCxnSpPr/>
          <p:nvPr/>
        </p:nvCxnSpPr>
        <p:spPr bwMode="auto">
          <a:xfrm>
            <a:off x="4159232" y="2277393"/>
            <a:ext cx="475310" cy="0"/>
          </a:xfrm>
          <a:prstGeom prst="straightConnector1">
            <a:avLst/>
          </a:prstGeom>
          <a:solidFill>
            <a:schemeClr val="hlink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sp>
        <p:nvSpPr>
          <p:cNvPr id="690" name="テキスト ボックス 1"/>
          <p:cNvSpPr txBox="1">
            <a:spLocks noChangeArrowheads="1"/>
          </p:cNvSpPr>
          <p:nvPr/>
        </p:nvSpPr>
        <p:spPr bwMode="auto">
          <a:xfrm>
            <a:off x="1025137" y="1528715"/>
            <a:ext cx="3052147" cy="170394"/>
          </a:xfrm>
          <a:prstGeom prst="rect">
            <a:avLst/>
          </a:prstGeom>
          <a:solidFill>
            <a:srgbClr val="C0C0C0">
              <a:alpha val="50000"/>
            </a:srgbClr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79470"/>
            <a:r>
              <a:rPr lang="en-US" altLang="ja-JP" sz="1036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untry A (Origin)</a:t>
            </a:r>
            <a:endParaRPr lang="ja-JP" altLang="en-US" sz="1036" dirty="0">
              <a:solidFill>
                <a:schemeClr val="accent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91" name="テキスト ボックス 354"/>
          <p:cNvSpPr txBox="1">
            <a:spLocks noChangeArrowheads="1"/>
          </p:cNvSpPr>
          <p:nvPr/>
        </p:nvSpPr>
        <p:spPr bwMode="auto">
          <a:xfrm>
            <a:off x="4726951" y="1530210"/>
            <a:ext cx="5196094" cy="191039"/>
          </a:xfrm>
          <a:prstGeom prst="rect">
            <a:avLst/>
          </a:prstGeom>
          <a:solidFill>
            <a:srgbClr val="C0C0C0">
              <a:alpha val="50000"/>
            </a:srgbClr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79470"/>
            <a:r>
              <a:rPr lang="en-US" altLang="ja-JP" sz="1036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untry B (Destination)</a:t>
            </a:r>
            <a:endParaRPr lang="ja-JP" altLang="en-US" sz="1036" dirty="0">
              <a:solidFill>
                <a:schemeClr val="accent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24" name="グループ化 1"/>
          <p:cNvGrpSpPr>
            <a:grpSpLocks/>
          </p:cNvGrpSpPr>
          <p:nvPr/>
        </p:nvGrpSpPr>
        <p:grpSpPr bwMode="auto">
          <a:xfrm>
            <a:off x="1722897" y="2008352"/>
            <a:ext cx="508192" cy="339293"/>
            <a:chOff x="9015413" y="5886451"/>
            <a:chExt cx="1108074" cy="849314"/>
          </a:xfrm>
        </p:grpSpPr>
        <p:sp>
          <p:nvSpPr>
            <p:cNvPr id="693" name="AutoShape 94"/>
            <p:cNvSpPr>
              <a:spLocks noChangeAspect="1" noChangeArrowheads="1"/>
            </p:cNvSpPr>
            <p:nvPr/>
          </p:nvSpPr>
          <p:spPr bwMode="auto">
            <a:xfrm flipV="1">
              <a:off x="9015413" y="5886451"/>
              <a:ext cx="619218" cy="849314"/>
            </a:xfrm>
            <a:prstGeom prst="downArrow">
              <a:avLst>
                <a:gd name="adj1" fmla="val 79315"/>
                <a:gd name="adj2" fmla="val 27148"/>
              </a:avLst>
            </a:prstGeom>
            <a:solidFill>
              <a:srgbClr val="003F56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wrap="none" lIns="64531" tIns="32266" rIns="64531" bIns="32266" anchor="ctr"/>
            <a:lstStyle/>
            <a:p>
              <a:pPr defTabSz="879470" eaLnBrk="0" hangingPunct="0">
                <a:defRPr/>
              </a:pPr>
              <a:endParaRPr lang="ja-JP" altLang="en-US" sz="1047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94" name="AutoShape 95"/>
            <p:cNvSpPr>
              <a:spLocks noChangeAspect="1" noChangeArrowheads="1"/>
            </p:cNvSpPr>
            <p:nvPr/>
          </p:nvSpPr>
          <p:spPr bwMode="auto">
            <a:xfrm flipV="1">
              <a:off x="9504269" y="5886451"/>
              <a:ext cx="619218" cy="849314"/>
            </a:xfrm>
            <a:prstGeom prst="downArrow">
              <a:avLst>
                <a:gd name="adj1" fmla="val 79315"/>
                <a:gd name="adj2" fmla="val 27148"/>
              </a:avLst>
            </a:prstGeom>
            <a:solidFill>
              <a:srgbClr val="003F56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wrap="none" lIns="64531" tIns="32266" rIns="64531" bIns="32266" anchor="ctr"/>
            <a:lstStyle/>
            <a:p>
              <a:pPr defTabSz="879470" eaLnBrk="0" hangingPunct="0">
                <a:defRPr/>
              </a:pPr>
              <a:endParaRPr lang="ja-JP" altLang="en-US" sz="1047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95" name="Rectangle 96"/>
            <p:cNvSpPr>
              <a:spLocks noChangeAspect="1" noChangeArrowheads="1"/>
            </p:cNvSpPr>
            <p:nvPr/>
          </p:nvSpPr>
          <p:spPr bwMode="auto">
            <a:xfrm>
              <a:off x="9263100" y="6477604"/>
              <a:ext cx="52145" cy="231972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96" name="Rectangle 97"/>
            <p:cNvSpPr>
              <a:spLocks noChangeAspect="1" noChangeArrowheads="1"/>
            </p:cNvSpPr>
            <p:nvPr/>
          </p:nvSpPr>
          <p:spPr bwMode="auto">
            <a:xfrm>
              <a:off x="9341317" y="6477604"/>
              <a:ext cx="52145" cy="231972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97" name="Rectangle 98"/>
            <p:cNvSpPr>
              <a:spLocks noChangeAspect="1" noChangeArrowheads="1"/>
            </p:cNvSpPr>
            <p:nvPr/>
          </p:nvSpPr>
          <p:spPr bwMode="auto">
            <a:xfrm>
              <a:off x="9735662" y="6477604"/>
              <a:ext cx="52145" cy="231972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698" name="Rectangle 99"/>
            <p:cNvSpPr>
              <a:spLocks noChangeAspect="1" noChangeArrowheads="1"/>
            </p:cNvSpPr>
            <p:nvPr/>
          </p:nvSpPr>
          <p:spPr bwMode="auto">
            <a:xfrm>
              <a:off x="9817137" y="6477604"/>
              <a:ext cx="52145" cy="231972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</p:grpSp>
      <p:cxnSp>
        <p:nvCxnSpPr>
          <p:cNvPr id="699" name="直線矢印コネクタ 698"/>
          <p:cNvCxnSpPr/>
          <p:nvPr/>
        </p:nvCxnSpPr>
        <p:spPr bwMode="auto">
          <a:xfrm>
            <a:off x="2229168" y="2277393"/>
            <a:ext cx="189824" cy="0"/>
          </a:xfrm>
          <a:prstGeom prst="straightConnector1">
            <a:avLst/>
          </a:prstGeom>
          <a:solidFill>
            <a:schemeClr val="hlink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sp>
        <p:nvSpPr>
          <p:cNvPr id="700" name="Text Box 142"/>
          <p:cNvSpPr txBox="1">
            <a:spLocks noChangeArrowheads="1"/>
          </p:cNvSpPr>
          <p:nvPr/>
        </p:nvSpPr>
        <p:spPr bwMode="auto">
          <a:xfrm>
            <a:off x="2274435" y="2892307"/>
            <a:ext cx="1085141" cy="349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97" tIns="35998" rIns="71997" bIns="35998">
            <a:spAutoFit/>
          </a:bodyPr>
          <a:lstStyle/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Warehouse</a:t>
            </a:r>
          </a:p>
          <a:p>
            <a:pPr algn="ctr" defTabSz="816074">
              <a:buClr>
                <a:srgbClr val="DDDDDD"/>
              </a:buClr>
            </a:pPr>
            <a:r>
              <a:rPr lang="ja-JP" altLang="en-US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（</a:t>
            </a: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Inventory</a:t>
            </a:r>
            <a:r>
              <a:rPr lang="ja-JP" altLang="en-US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）</a:t>
            </a:r>
          </a:p>
        </p:txBody>
      </p:sp>
      <p:grpSp>
        <p:nvGrpSpPr>
          <p:cNvPr id="25" name="グループ化 1"/>
          <p:cNvGrpSpPr>
            <a:grpSpLocks/>
          </p:cNvGrpSpPr>
          <p:nvPr/>
        </p:nvGrpSpPr>
        <p:grpSpPr bwMode="auto">
          <a:xfrm>
            <a:off x="7522274" y="2024793"/>
            <a:ext cx="509688" cy="339294"/>
            <a:chOff x="9015413" y="5886451"/>
            <a:chExt cx="1108074" cy="849314"/>
          </a:xfrm>
        </p:grpSpPr>
        <p:sp>
          <p:nvSpPr>
            <p:cNvPr id="702" name="AutoShape 94"/>
            <p:cNvSpPr>
              <a:spLocks noChangeAspect="1" noChangeArrowheads="1"/>
            </p:cNvSpPr>
            <p:nvPr/>
          </p:nvSpPr>
          <p:spPr bwMode="auto">
            <a:xfrm flipV="1">
              <a:off x="9015413" y="5886451"/>
              <a:ext cx="620652" cy="849314"/>
            </a:xfrm>
            <a:prstGeom prst="downArrow">
              <a:avLst>
                <a:gd name="adj1" fmla="val 79315"/>
                <a:gd name="adj2" fmla="val 27148"/>
              </a:avLst>
            </a:prstGeom>
            <a:solidFill>
              <a:srgbClr val="003F56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wrap="none" lIns="64531" tIns="32266" rIns="64531" bIns="32266" anchor="ctr"/>
            <a:lstStyle/>
            <a:p>
              <a:pPr defTabSz="879470" eaLnBrk="0" hangingPunct="0">
                <a:defRPr/>
              </a:pPr>
              <a:endParaRPr lang="ja-JP" altLang="en-US" sz="1047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03" name="AutoShape 95"/>
            <p:cNvSpPr>
              <a:spLocks noChangeAspect="1" noChangeArrowheads="1"/>
            </p:cNvSpPr>
            <p:nvPr/>
          </p:nvSpPr>
          <p:spPr bwMode="auto">
            <a:xfrm flipV="1">
              <a:off x="9502835" y="5886451"/>
              <a:ext cx="620652" cy="849314"/>
            </a:xfrm>
            <a:prstGeom prst="downArrow">
              <a:avLst>
                <a:gd name="adj1" fmla="val 79315"/>
                <a:gd name="adj2" fmla="val 27148"/>
              </a:avLst>
            </a:prstGeom>
            <a:solidFill>
              <a:srgbClr val="003F56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wrap="none" lIns="64531" tIns="32266" rIns="64531" bIns="32266" anchor="ctr"/>
            <a:lstStyle/>
            <a:p>
              <a:pPr defTabSz="879470" eaLnBrk="0" hangingPunct="0">
                <a:defRPr/>
              </a:pPr>
              <a:endParaRPr lang="ja-JP" altLang="en-US" sz="1047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04" name="Rectangle 96"/>
            <p:cNvSpPr>
              <a:spLocks noChangeAspect="1" noChangeArrowheads="1"/>
            </p:cNvSpPr>
            <p:nvPr/>
          </p:nvSpPr>
          <p:spPr bwMode="auto">
            <a:xfrm>
              <a:off x="9262374" y="6477603"/>
              <a:ext cx="51992" cy="231971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05" name="Rectangle 97"/>
            <p:cNvSpPr>
              <a:spLocks noChangeAspect="1" noChangeArrowheads="1"/>
            </p:cNvSpPr>
            <p:nvPr/>
          </p:nvSpPr>
          <p:spPr bwMode="auto">
            <a:xfrm>
              <a:off x="9340361" y="6477603"/>
              <a:ext cx="51992" cy="231971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06" name="Rectangle 98"/>
            <p:cNvSpPr>
              <a:spLocks noChangeAspect="1" noChangeArrowheads="1"/>
            </p:cNvSpPr>
            <p:nvPr/>
          </p:nvSpPr>
          <p:spPr bwMode="auto">
            <a:xfrm>
              <a:off x="9736798" y="6477603"/>
              <a:ext cx="51992" cy="231971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07" name="Rectangle 99"/>
            <p:cNvSpPr>
              <a:spLocks noChangeAspect="1" noChangeArrowheads="1"/>
            </p:cNvSpPr>
            <p:nvPr/>
          </p:nvSpPr>
          <p:spPr bwMode="auto">
            <a:xfrm>
              <a:off x="9814785" y="6477603"/>
              <a:ext cx="51992" cy="231971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64531" tIns="32266" rIns="64531" bIns="32266" anchor="ctr"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47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</p:grpSp>
      <p:cxnSp>
        <p:nvCxnSpPr>
          <p:cNvPr id="708" name="直線矢印コネクタ 707"/>
          <p:cNvCxnSpPr/>
          <p:nvPr/>
        </p:nvCxnSpPr>
        <p:spPr bwMode="auto">
          <a:xfrm>
            <a:off x="8045413" y="2276647"/>
            <a:ext cx="334809" cy="1495"/>
          </a:xfrm>
          <a:prstGeom prst="straightConnector1">
            <a:avLst/>
          </a:prstGeom>
          <a:solidFill>
            <a:schemeClr val="hlink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grpSp>
        <p:nvGrpSpPr>
          <p:cNvPr id="26" name="Group 76"/>
          <p:cNvGrpSpPr>
            <a:grpSpLocks/>
          </p:cNvGrpSpPr>
          <p:nvPr/>
        </p:nvGrpSpPr>
        <p:grpSpPr bwMode="auto">
          <a:xfrm flipH="1">
            <a:off x="8100717" y="2141677"/>
            <a:ext cx="203277" cy="130340"/>
            <a:chOff x="2885" y="2075"/>
            <a:chExt cx="404" cy="192"/>
          </a:xfrm>
        </p:grpSpPr>
        <p:sp>
          <p:nvSpPr>
            <p:cNvPr id="710" name="Freeform 77"/>
            <p:cNvSpPr>
              <a:spLocks/>
            </p:cNvSpPr>
            <p:nvPr/>
          </p:nvSpPr>
          <p:spPr bwMode="auto">
            <a:xfrm>
              <a:off x="2888" y="2077"/>
              <a:ext cx="401" cy="150"/>
            </a:xfrm>
            <a:custGeom>
              <a:avLst/>
              <a:gdLst>
                <a:gd name="T0" fmla="*/ 0 w 798"/>
                <a:gd name="T1" fmla="*/ 1 h 300"/>
                <a:gd name="T2" fmla="*/ 0 w 798"/>
                <a:gd name="T3" fmla="*/ 0 h 300"/>
                <a:gd name="T4" fmla="*/ 0 w 798"/>
                <a:gd name="T5" fmla="*/ 0 h 300"/>
                <a:gd name="T6" fmla="*/ 0 w 798"/>
                <a:gd name="T7" fmla="*/ 1 h 300"/>
                <a:gd name="T8" fmla="*/ 0 w 798"/>
                <a:gd name="T9" fmla="*/ 1 h 300"/>
                <a:gd name="T10" fmla="*/ 0 w 798"/>
                <a:gd name="T11" fmla="*/ 1 h 300"/>
                <a:gd name="T12" fmla="*/ 0 w 798"/>
                <a:gd name="T13" fmla="*/ 1 h 3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98" h="300">
                  <a:moveTo>
                    <a:pt x="193" y="73"/>
                  </a:moveTo>
                  <a:lnTo>
                    <a:pt x="193" y="0"/>
                  </a:lnTo>
                  <a:lnTo>
                    <a:pt x="798" y="0"/>
                  </a:lnTo>
                  <a:lnTo>
                    <a:pt x="798" y="300"/>
                  </a:lnTo>
                  <a:lnTo>
                    <a:pt x="2" y="300"/>
                  </a:lnTo>
                  <a:lnTo>
                    <a:pt x="0" y="73"/>
                  </a:lnTo>
                  <a:lnTo>
                    <a:pt x="193" y="73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11" name="Rectangle 78"/>
            <p:cNvSpPr>
              <a:spLocks noChangeArrowheads="1"/>
            </p:cNvSpPr>
            <p:nvPr/>
          </p:nvSpPr>
          <p:spPr bwMode="auto">
            <a:xfrm>
              <a:off x="2983" y="2077"/>
              <a:ext cx="3" cy="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12" name="Rectangle 79"/>
            <p:cNvSpPr>
              <a:spLocks noChangeArrowheads="1"/>
            </p:cNvSpPr>
            <p:nvPr/>
          </p:nvSpPr>
          <p:spPr bwMode="auto">
            <a:xfrm>
              <a:off x="2983" y="2075"/>
              <a:ext cx="303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13" name="Freeform 80"/>
            <p:cNvSpPr>
              <a:spLocks/>
            </p:cNvSpPr>
            <p:nvPr/>
          </p:nvSpPr>
          <p:spPr bwMode="auto">
            <a:xfrm>
              <a:off x="2983" y="2075"/>
              <a:ext cx="3" cy="5"/>
            </a:xfrm>
            <a:custGeom>
              <a:avLst/>
              <a:gdLst>
                <a:gd name="T0" fmla="*/ 0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0 h 11"/>
                <a:gd name="T8" fmla="*/ 0 w 11"/>
                <a:gd name="T9" fmla="*/ 0 h 11"/>
                <a:gd name="T10" fmla="*/ 0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0" y="5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5" y="11"/>
                  </a:lnTo>
                  <a:lnTo>
                    <a:pt x="11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14" name="Rectangle 81"/>
            <p:cNvSpPr>
              <a:spLocks noChangeArrowheads="1"/>
            </p:cNvSpPr>
            <p:nvPr/>
          </p:nvSpPr>
          <p:spPr bwMode="auto">
            <a:xfrm>
              <a:off x="3283" y="2077"/>
              <a:ext cx="6" cy="1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15" name="Freeform 82"/>
            <p:cNvSpPr>
              <a:spLocks/>
            </p:cNvSpPr>
            <p:nvPr/>
          </p:nvSpPr>
          <p:spPr bwMode="auto">
            <a:xfrm>
              <a:off x="3283" y="2075"/>
              <a:ext cx="6" cy="5"/>
            </a:xfrm>
            <a:custGeom>
              <a:avLst/>
              <a:gdLst>
                <a:gd name="T0" fmla="*/ 0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0 h 11"/>
                <a:gd name="T8" fmla="*/ 0 w 11"/>
                <a:gd name="T9" fmla="*/ 0 h 11"/>
                <a:gd name="T10" fmla="*/ 0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5" y="0"/>
                  </a:moveTo>
                  <a:lnTo>
                    <a:pt x="11" y="0"/>
                  </a:lnTo>
                  <a:lnTo>
                    <a:pt x="11" y="5"/>
                  </a:lnTo>
                  <a:lnTo>
                    <a:pt x="0" y="5"/>
                  </a:lnTo>
                  <a:lnTo>
                    <a:pt x="5" y="1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16" name="Rectangle 83"/>
            <p:cNvSpPr>
              <a:spLocks noChangeArrowheads="1"/>
            </p:cNvSpPr>
            <p:nvPr/>
          </p:nvSpPr>
          <p:spPr bwMode="auto">
            <a:xfrm>
              <a:off x="2888" y="2225"/>
              <a:ext cx="401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17" name="Freeform 84"/>
            <p:cNvSpPr>
              <a:spLocks/>
            </p:cNvSpPr>
            <p:nvPr/>
          </p:nvSpPr>
          <p:spPr bwMode="auto">
            <a:xfrm>
              <a:off x="3283" y="2225"/>
              <a:ext cx="6" cy="5"/>
            </a:xfrm>
            <a:custGeom>
              <a:avLst/>
              <a:gdLst>
                <a:gd name="T0" fmla="*/ 0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0 h 11"/>
                <a:gd name="T8" fmla="*/ 0 w 11"/>
                <a:gd name="T9" fmla="*/ 0 h 11"/>
                <a:gd name="T10" fmla="*/ 0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11" y="5"/>
                  </a:moveTo>
                  <a:lnTo>
                    <a:pt x="11" y="11"/>
                  </a:lnTo>
                  <a:lnTo>
                    <a:pt x="5" y="11"/>
                  </a:lnTo>
                  <a:lnTo>
                    <a:pt x="5" y="0"/>
                  </a:lnTo>
                  <a:lnTo>
                    <a:pt x="0" y="5"/>
                  </a:lnTo>
                  <a:lnTo>
                    <a:pt x="1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18" name="Freeform 85"/>
            <p:cNvSpPr>
              <a:spLocks/>
            </p:cNvSpPr>
            <p:nvPr/>
          </p:nvSpPr>
          <p:spPr bwMode="auto">
            <a:xfrm>
              <a:off x="2885" y="2114"/>
              <a:ext cx="6" cy="113"/>
            </a:xfrm>
            <a:custGeom>
              <a:avLst/>
              <a:gdLst>
                <a:gd name="T0" fmla="*/ 0 w 13"/>
                <a:gd name="T1" fmla="*/ 0 h 227"/>
                <a:gd name="T2" fmla="*/ 0 w 13"/>
                <a:gd name="T3" fmla="*/ 0 h 227"/>
                <a:gd name="T4" fmla="*/ 0 w 13"/>
                <a:gd name="T5" fmla="*/ 0 h 227"/>
                <a:gd name="T6" fmla="*/ 0 w 13"/>
                <a:gd name="T7" fmla="*/ 0 h 227"/>
                <a:gd name="T8" fmla="*/ 0 w 13"/>
                <a:gd name="T9" fmla="*/ 0 h 2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27">
                  <a:moveTo>
                    <a:pt x="2" y="227"/>
                  </a:moveTo>
                  <a:lnTo>
                    <a:pt x="13" y="227"/>
                  </a:lnTo>
                  <a:lnTo>
                    <a:pt x="11" y="0"/>
                  </a:lnTo>
                  <a:lnTo>
                    <a:pt x="0" y="0"/>
                  </a:lnTo>
                  <a:lnTo>
                    <a:pt x="2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19" name="Freeform 86"/>
            <p:cNvSpPr>
              <a:spLocks/>
            </p:cNvSpPr>
            <p:nvPr/>
          </p:nvSpPr>
          <p:spPr bwMode="auto">
            <a:xfrm>
              <a:off x="2885" y="2225"/>
              <a:ext cx="6" cy="5"/>
            </a:xfrm>
            <a:custGeom>
              <a:avLst/>
              <a:gdLst>
                <a:gd name="T0" fmla="*/ 1 w 11"/>
                <a:gd name="T1" fmla="*/ 0 h 11"/>
                <a:gd name="T2" fmla="*/ 0 w 11"/>
                <a:gd name="T3" fmla="*/ 0 h 11"/>
                <a:gd name="T4" fmla="*/ 0 w 11"/>
                <a:gd name="T5" fmla="*/ 0 h 11"/>
                <a:gd name="T6" fmla="*/ 1 w 11"/>
                <a:gd name="T7" fmla="*/ 0 h 11"/>
                <a:gd name="T8" fmla="*/ 1 w 11"/>
                <a:gd name="T9" fmla="*/ 0 h 11"/>
                <a:gd name="T10" fmla="*/ 1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lnTo>
                    <a:pt x="0" y="11"/>
                  </a:lnTo>
                  <a:lnTo>
                    <a:pt x="0" y="5"/>
                  </a:lnTo>
                  <a:lnTo>
                    <a:pt x="11" y="5"/>
                  </a:lnTo>
                  <a:lnTo>
                    <a:pt x="6" y="0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20" name="Rectangle 87"/>
            <p:cNvSpPr>
              <a:spLocks noChangeArrowheads="1"/>
            </p:cNvSpPr>
            <p:nvPr/>
          </p:nvSpPr>
          <p:spPr bwMode="auto">
            <a:xfrm>
              <a:off x="2888" y="2110"/>
              <a:ext cx="95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21" name="Freeform 88"/>
            <p:cNvSpPr>
              <a:spLocks/>
            </p:cNvSpPr>
            <p:nvPr/>
          </p:nvSpPr>
          <p:spPr bwMode="auto">
            <a:xfrm>
              <a:off x="2885" y="2110"/>
              <a:ext cx="6" cy="5"/>
            </a:xfrm>
            <a:custGeom>
              <a:avLst/>
              <a:gdLst>
                <a:gd name="T0" fmla="*/ 0 w 11"/>
                <a:gd name="T1" fmla="*/ 1 h 11"/>
                <a:gd name="T2" fmla="*/ 0 w 11"/>
                <a:gd name="T3" fmla="*/ 0 h 11"/>
                <a:gd name="T4" fmla="*/ 0 w 11"/>
                <a:gd name="T5" fmla="*/ 0 h 11"/>
                <a:gd name="T6" fmla="*/ 0 w 11"/>
                <a:gd name="T7" fmla="*/ 1 h 11"/>
                <a:gd name="T8" fmla="*/ 0 w 11"/>
                <a:gd name="T9" fmla="*/ 1 h 11"/>
                <a:gd name="T10" fmla="*/ 0 w 11"/>
                <a:gd name="T11" fmla="*/ 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0" y="4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11"/>
                  </a:lnTo>
                  <a:lnTo>
                    <a:pt x="11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22" name="Freeform 89"/>
            <p:cNvSpPr>
              <a:spLocks/>
            </p:cNvSpPr>
            <p:nvPr/>
          </p:nvSpPr>
          <p:spPr bwMode="auto">
            <a:xfrm>
              <a:off x="2983" y="2110"/>
              <a:ext cx="3" cy="5"/>
            </a:xfrm>
            <a:custGeom>
              <a:avLst/>
              <a:gdLst>
                <a:gd name="T0" fmla="*/ 0 w 11"/>
                <a:gd name="T1" fmla="*/ 1 h 11"/>
                <a:gd name="T2" fmla="*/ 0 w 11"/>
                <a:gd name="T3" fmla="*/ 1 h 11"/>
                <a:gd name="T4" fmla="*/ 0 w 11"/>
                <a:gd name="T5" fmla="*/ 1 h 11"/>
                <a:gd name="T6" fmla="*/ 0 w 11"/>
                <a:gd name="T7" fmla="*/ 1 h 11"/>
                <a:gd name="T8" fmla="*/ 0 w 11"/>
                <a:gd name="T9" fmla="*/ 0 h 11"/>
                <a:gd name="T10" fmla="*/ 0 w 11"/>
                <a:gd name="T11" fmla="*/ 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1">
                  <a:moveTo>
                    <a:pt x="5" y="11"/>
                  </a:moveTo>
                  <a:lnTo>
                    <a:pt x="11" y="11"/>
                  </a:lnTo>
                  <a:lnTo>
                    <a:pt x="11" y="4"/>
                  </a:lnTo>
                  <a:lnTo>
                    <a:pt x="0" y="4"/>
                  </a:lnTo>
                  <a:lnTo>
                    <a:pt x="5" y="0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23" name="Freeform 90"/>
            <p:cNvSpPr>
              <a:spLocks/>
            </p:cNvSpPr>
            <p:nvPr/>
          </p:nvSpPr>
          <p:spPr bwMode="auto">
            <a:xfrm>
              <a:off x="2927" y="2200"/>
              <a:ext cx="62" cy="64"/>
            </a:xfrm>
            <a:custGeom>
              <a:avLst/>
              <a:gdLst>
                <a:gd name="T0" fmla="*/ 0 w 127"/>
                <a:gd name="T1" fmla="*/ 1 h 127"/>
                <a:gd name="T2" fmla="*/ 0 w 127"/>
                <a:gd name="T3" fmla="*/ 1 h 127"/>
                <a:gd name="T4" fmla="*/ 0 w 127"/>
                <a:gd name="T5" fmla="*/ 1 h 127"/>
                <a:gd name="T6" fmla="*/ 0 w 127"/>
                <a:gd name="T7" fmla="*/ 1 h 127"/>
                <a:gd name="T8" fmla="*/ 0 w 127"/>
                <a:gd name="T9" fmla="*/ 1 h 127"/>
                <a:gd name="T10" fmla="*/ 0 w 127"/>
                <a:gd name="T11" fmla="*/ 1 h 127"/>
                <a:gd name="T12" fmla="*/ 0 w 127"/>
                <a:gd name="T13" fmla="*/ 1 h 127"/>
                <a:gd name="T14" fmla="*/ 0 w 127"/>
                <a:gd name="T15" fmla="*/ 1 h 127"/>
                <a:gd name="T16" fmla="*/ 0 w 127"/>
                <a:gd name="T17" fmla="*/ 1 h 127"/>
                <a:gd name="T18" fmla="*/ 0 w 127"/>
                <a:gd name="T19" fmla="*/ 1 h 127"/>
                <a:gd name="T20" fmla="*/ 0 w 127"/>
                <a:gd name="T21" fmla="*/ 1 h 127"/>
                <a:gd name="T22" fmla="*/ 0 w 127"/>
                <a:gd name="T23" fmla="*/ 1 h 127"/>
                <a:gd name="T24" fmla="*/ 0 w 127"/>
                <a:gd name="T25" fmla="*/ 0 h 127"/>
                <a:gd name="T26" fmla="*/ 0 w 127"/>
                <a:gd name="T27" fmla="*/ 1 h 127"/>
                <a:gd name="T28" fmla="*/ 0 w 127"/>
                <a:gd name="T29" fmla="*/ 1 h 127"/>
                <a:gd name="T30" fmla="*/ 0 w 127"/>
                <a:gd name="T31" fmla="*/ 1 h 127"/>
                <a:gd name="T32" fmla="*/ 0 w 127"/>
                <a:gd name="T33" fmla="*/ 1 h 127"/>
                <a:gd name="T34" fmla="*/ 0 w 127"/>
                <a:gd name="T35" fmla="*/ 1 h 127"/>
                <a:gd name="T36" fmla="*/ 0 w 127"/>
                <a:gd name="T37" fmla="*/ 1 h 127"/>
                <a:gd name="T38" fmla="*/ 0 w 127"/>
                <a:gd name="T39" fmla="*/ 1 h 127"/>
                <a:gd name="T40" fmla="*/ 0 w 127"/>
                <a:gd name="T41" fmla="*/ 1 h 127"/>
                <a:gd name="T42" fmla="*/ 0 w 127"/>
                <a:gd name="T43" fmla="*/ 1 h 127"/>
                <a:gd name="T44" fmla="*/ 0 w 127"/>
                <a:gd name="T45" fmla="*/ 1 h 127"/>
                <a:gd name="T46" fmla="*/ 0 w 127"/>
                <a:gd name="T47" fmla="*/ 1 h 127"/>
                <a:gd name="T48" fmla="*/ 0 w 127"/>
                <a:gd name="T49" fmla="*/ 1 h 127"/>
                <a:gd name="T50" fmla="*/ 0 w 127"/>
                <a:gd name="T51" fmla="*/ 1 h 127"/>
                <a:gd name="T52" fmla="*/ 0 w 127"/>
                <a:gd name="T53" fmla="*/ 1 h 127"/>
                <a:gd name="T54" fmla="*/ 0 w 127"/>
                <a:gd name="T55" fmla="*/ 1 h 127"/>
                <a:gd name="T56" fmla="*/ 0 w 127"/>
                <a:gd name="T57" fmla="*/ 1 h 127"/>
                <a:gd name="T58" fmla="*/ 0 w 127"/>
                <a:gd name="T59" fmla="*/ 1 h 127"/>
                <a:gd name="T60" fmla="*/ 0 w 127"/>
                <a:gd name="T61" fmla="*/ 1 h 127"/>
                <a:gd name="T62" fmla="*/ 0 w 127"/>
                <a:gd name="T63" fmla="*/ 1 h 127"/>
                <a:gd name="T64" fmla="*/ 0 w 127"/>
                <a:gd name="T65" fmla="*/ 1 h 127"/>
                <a:gd name="T66" fmla="*/ 0 w 127"/>
                <a:gd name="T67" fmla="*/ 1 h 127"/>
                <a:gd name="T68" fmla="*/ 0 w 127"/>
                <a:gd name="T69" fmla="*/ 1 h 127"/>
                <a:gd name="T70" fmla="*/ 0 w 127"/>
                <a:gd name="T71" fmla="*/ 1 h 127"/>
                <a:gd name="T72" fmla="*/ 0 w 127"/>
                <a:gd name="T73" fmla="*/ 1 h 127"/>
                <a:gd name="T74" fmla="*/ 0 w 127"/>
                <a:gd name="T75" fmla="*/ 1 h 127"/>
                <a:gd name="T76" fmla="*/ 0 w 127"/>
                <a:gd name="T77" fmla="*/ 1 h 127"/>
                <a:gd name="T78" fmla="*/ 0 w 127"/>
                <a:gd name="T79" fmla="*/ 1 h 127"/>
                <a:gd name="T80" fmla="*/ 0 w 127"/>
                <a:gd name="T81" fmla="*/ 1 h 127"/>
                <a:gd name="T82" fmla="*/ 0 w 127"/>
                <a:gd name="T83" fmla="*/ 1 h 127"/>
                <a:gd name="T84" fmla="*/ 0 w 127"/>
                <a:gd name="T85" fmla="*/ 1 h 127"/>
                <a:gd name="T86" fmla="*/ 0 w 127"/>
                <a:gd name="T87" fmla="*/ 1 h 127"/>
                <a:gd name="T88" fmla="*/ 0 w 127"/>
                <a:gd name="T89" fmla="*/ 1 h 127"/>
                <a:gd name="T90" fmla="*/ 0 w 127"/>
                <a:gd name="T91" fmla="*/ 1 h 127"/>
                <a:gd name="T92" fmla="*/ 0 w 127"/>
                <a:gd name="T93" fmla="*/ 1 h 127"/>
                <a:gd name="T94" fmla="*/ 0 w 127"/>
                <a:gd name="T95" fmla="*/ 1 h 127"/>
                <a:gd name="T96" fmla="*/ 0 w 127"/>
                <a:gd name="T97" fmla="*/ 1 h 127"/>
                <a:gd name="T98" fmla="*/ 0 w 127"/>
                <a:gd name="T99" fmla="*/ 1 h 127"/>
                <a:gd name="T100" fmla="*/ 0 w 127"/>
                <a:gd name="T101" fmla="*/ 1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7" h="127">
                  <a:moveTo>
                    <a:pt x="0" y="65"/>
                  </a:moveTo>
                  <a:lnTo>
                    <a:pt x="0" y="51"/>
                  </a:lnTo>
                  <a:lnTo>
                    <a:pt x="2" y="45"/>
                  </a:lnTo>
                  <a:lnTo>
                    <a:pt x="5" y="39"/>
                  </a:lnTo>
                  <a:lnTo>
                    <a:pt x="8" y="34"/>
                  </a:lnTo>
                  <a:lnTo>
                    <a:pt x="11" y="28"/>
                  </a:lnTo>
                  <a:lnTo>
                    <a:pt x="19" y="19"/>
                  </a:lnTo>
                  <a:lnTo>
                    <a:pt x="23" y="16"/>
                  </a:lnTo>
                  <a:lnTo>
                    <a:pt x="28" y="11"/>
                  </a:lnTo>
                  <a:lnTo>
                    <a:pt x="32" y="8"/>
                  </a:lnTo>
                  <a:lnTo>
                    <a:pt x="39" y="5"/>
                  </a:lnTo>
                  <a:lnTo>
                    <a:pt x="51" y="2"/>
                  </a:lnTo>
                  <a:lnTo>
                    <a:pt x="63" y="0"/>
                  </a:lnTo>
                  <a:lnTo>
                    <a:pt x="75" y="2"/>
                  </a:lnTo>
                  <a:lnTo>
                    <a:pt x="81" y="3"/>
                  </a:lnTo>
                  <a:lnTo>
                    <a:pt x="87" y="5"/>
                  </a:lnTo>
                  <a:lnTo>
                    <a:pt x="94" y="8"/>
                  </a:lnTo>
                  <a:lnTo>
                    <a:pt x="98" y="11"/>
                  </a:lnTo>
                  <a:lnTo>
                    <a:pt x="107" y="19"/>
                  </a:lnTo>
                  <a:lnTo>
                    <a:pt x="112" y="23"/>
                  </a:lnTo>
                  <a:lnTo>
                    <a:pt x="116" y="28"/>
                  </a:lnTo>
                  <a:lnTo>
                    <a:pt x="120" y="34"/>
                  </a:lnTo>
                  <a:lnTo>
                    <a:pt x="121" y="39"/>
                  </a:lnTo>
                  <a:lnTo>
                    <a:pt x="126" y="51"/>
                  </a:lnTo>
                  <a:lnTo>
                    <a:pt x="126" y="57"/>
                  </a:lnTo>
                  <a:lnTo>
                    <a:pt x="127" y="65"/>
                  </a:lnTo>
                  <a:lnTo>
                    <a:pt x="126" y="77"/>
                  </a:lnTo>
                  <a:lnTo>
                    <a:pt x="124" y="83"/>
                  </a:lnTo>
                  <a:lnTo>
                    <a:pt x="121" y="89"/>
                  </a:lnTo>
                  <a:lnTo>
                    <a:pt x="120" y="94"/>
                  </a:lnTo>
                  <a:lnTo>
                    <a:pt x="116" y="100"/>
                  </a:lnTo>
                  <a:lnTo>
                    <a:pt x="107" y="109"/>
                  </a:lnTo>
                  <a:lnTo>
                    <a:pt x="104" y="114"/>
                  </a:lnTo>
                  <a:lnTo>
                    <a:pt x="98" y="117"/>
                  </a:lnTo>
                  <a:lnTo>
                    <a:pt x="94" y="120"/>
                  </a:lnTo>
                  <a:lnTo>
                    <a:pt x="87" y="123"/>
                  </a:lnTo>
                  <a:lnTo>
                    <a:pt x="75" y="126"/>
                  </a:lnTo>
                  <a:lnTo>
                    <a:pt x="63" y="127"/>
                  </a:lnTo>
                  <a:lnTo>
                    <a:pt x="51" y="126"/>
                  </a:lnTo>
                  <a:lnTo>
                    <a:pt x="45" y="124"/>
                  </a:lnTo>
                  <a:lnTo>
                    <a:pt x="39" y="123"/>
                  </a:lnTo>
                  <a:lnTo>
                    <a:pt x="32" y="120"/>
                  </a:lnTo>
                  <a:lnTo>
                    <a:pt x="28" y="117"/>
                  </a:lnTo>
                  <a:lnTo>
                    <a:pt x="19" y="109"/>
                  </a:lnTo>
                  <a:lnTo>
                    <a:pt x="14" y="104"/>
                  </a:lnTo>
                  <a:lnTo>
                    <a:pt x="11" y="100"/>
                  </a:lnTo>
                  <a:lnTo>
                    <a:pt x="8" y="94"/>
                  </a:lnTo>
                  <a:lnTo>
                    <a:pt x="5" y="89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24" name="Freeform 91"/>
            <p:cNvSpPr>
              <a:spLocks/>
            </p:cNvSpPr>
            <p:nvPr/>
          </p:nvSpPr>
          <p:spPr bwMode="auto">
            <a:xfrm>
              <a:off x="2921" y="2196"/>
              <a:ext cx="39" cy="37"/>
            </a:xfrm>
            <a:custGeom>
              <a:avLst/>
              <a:gdLst>
                <a:gd name="T0" fmla="*/ 0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0 w 70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0" h="71">
                  <a:moveTo>
                    <a:pt x="0" y="69"/>
                  </a:moveTo>
                  <a:lnTo>
                    <a:pt x="1" y="55"/>
                  </a:lnTo>
                  <a:lnTo>
                    <a:pt x="3" y="49"/>
                  </a:lnTo>
                  <a:lnTo>
                    <a:pt x="6" y="43"/>
                  </a:lnTo>
                  <a:lnTo>
                    <a:pt x="9" y="37"/>
                  </a:lnTo>
                  <a:lnTo>
                    <a:pt x="12" y="31"/>
                  </a:lnTo>
                  <a:lnTo>
                    <a:pt x="20" y="20"/>
                  </a:lnTo>
                  <a:lnTo>
                    <a:pt x="26" y="16"/>
                  </a:lnTo>
                  <a:lnTo>
                    <a:pt x="30" y="13"/>
                  </a:lnTo>
                  <a:lnTo>
                    <a:pt x="36" y="8"/>
                  </a:lnTo>
                  <a:lnTo>
                    <a:pt x="43" y="5"/>
                  </a:lnTo>
                  <a:lnTo>
                    <a:pt x="56" y="2"/>
                  </a:lnTo>
                  <a:lnTo>
                    <a:pt x="70" y="0"/>
                  </a:lnTo>
                  <a:lnTo>
                    <a:pt x="70" y="14"/>
                  </a:lnTo>
                  <a:lnTo>
                    <a:pt x="58" y="14"/>
                  </a:lnTo>
                  <a:lnTo>
                    <a:pt x="47" y="19"/>
                  </a:lnTo>
                  <a:lnTo>
                    <a:pt x="43" y="20"/>
                  </a:lnTo>
                  <a:lnTo>
                    <a:pt x="38" y="23"/>
                  </a:lnTo>
                  <a:lnTo>
                    <a:pt x="33" y="26"/>
                  </a:lnTo>
                  <a:lnTo>
                    <a:pt x="30" y="29"/>
                  </a:lnTo>
                  <a:lnTo>
                    <a:pt x="23" y="39"/>
                  </a:lnTo>
                  <a:lnTo>
                    <a:pt x="20" y="43"/>
                  </a:lnTo>
                  <a:lnTo>
                    <a:pt x="18" y="48"/>
                  </a:lnTo>
                  <a:lnTo>
                    <a:pt x="15" y="54"/>
                  </a:lnTo>
                  <a:lnTo>
                    <a:pt x="15" y="58"/>
                  </a:lnTo>
                  <a:lnTo>
                    <a:pt x="13" y="71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25" name="Freeform 92"/>
            <p:cNvSpPr>
              <a:spLocks/>
            </p:cNvSpPr>
            <p:nvPr/>
          </p:nvSpPr>
          <p:spPr bwMode="auto">
            <a:xfrm>
              <a:off x="2959" y="2196"/>
              <a:ext cx="36" cy="37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w 70"/>
                <a:gd name="T55" fmla="*/ 0 h 71"/>
                <a:gd name="T56" fmla="*/ 1 w 70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0" h="71">
                  <a:moveTo>
                    <a:pt x="2" y="0"/>
                  </a:moveTo>
                  <a:lnTo>
                    <a:pt x="14" y="2"/>
                  </a:lnTo>
                  <a:lnTo>
                    <a:pt x="21" y="3"/>
                  </a:lnTo>
                  <a:lnTo>
                    <a:pt x="27" y="5"/>
                  </a:lnTo>
                  <a:lnTo>
                    <a:pt x="34" y="8"/>
                  </a:lnTo>
                  <a:lnTo>
                    <a:pt x="40" y="13"/>
                  </a:lnTo>
                  <a:lnTo>
                    <a:pt x="49" y="20"/>
                  </a:lnTo>
                  <a:lnTo>
                    <a:pt x="53" y="25"/>
                  </a:lnTo>
                  <a:lnTo>
                    <a:pt x="58" y="31"/>
                  </a:lnTo>
                  <a:lnTo>
                    <a:pt x="61" y="37"/>
                  </a:lnTo>
                  <a:lnTo>
                    <a:pt x="64" y="43"/>
                  </a:lnTo>
                  <a:lnTo>
                    <a:pt x="69" y="55"/>
                  </a:lnTo>
                  <a:lnTo>
                    <a:pt x="70" y="63"/>
                  </a:lnTo>
                  <a:lnTo>
                    <a:pt x="70" y="69"/>
                  </a:lnTo>
                  <a:lnTo>
                    <a:pt x="57" y="71"/>
                  </a:lnTo>
                  <a:lnTo>
                    <a:pt x="57" y="65"/>
                  </a:lnTo>
                  <a:lnTo>
                    <a:pt x="57" y="58"/>
                  </a:lnTo>
                  <a:lnTo>
                    <a:pt x="52" y="48"/>
                  </a:lnTo>
                  <a:lnTo>
                    <a:pt x="50" y="43"/>
                  </a:lnTo>
                  <a:lnTo>
                    <a:pt x="47" y="39"/>
                  </a:lnTo>
                  <a:lnTo>
                    <a:pt x="44" y="34"/>
                  </a:lnTo>
                  <a:lnTo>
                    <a:pt x="40" y="29"/>
                  </a:lnTo>
                  <a:lnTo>
                    <a:pt x="32" y="23"/>
                  </a:lnTo>
                  <a:lnTo>
                    <a:pt x="27" y="20"/>
                  </a:lnTo>
                  <a:lnTo>
                    <a:pt x="21" y="17"/>
                  </a:lnTo>
                  <a:lnTo>
                    <a:pt x="17" y="16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26" name="Freeform 93"/>
            <p:cNvSpPr>
              <a:spLocks/>
            </p:cNvSpPr>
            <p:nvPr/>
          </p:nvSpPr>
          <p:spPr bwMode="auto">
            <a:xfrm>
              <a:off x="2959" y="2196"/>
              <a:ext cx="0" cy="8"/>
            </a:xfrm>
            <a:custGeom>
              <a:avLst/>
              <a:gdLst>
                <a:gd name="T0" fmla="*/ 0 w 2"/>
                <a:gd name="T1" fmla="*/ 0 h 14"/>
                <a:gd name="T2" fmla="*/ 1 w 2"/>
                <a:gd name="T3" fmla="*/ 0 h 14"/>
                <a:gd name="T4" fmla="*/ 0 w 2"/>
                <a:gd name="T5" fmla="*/ 1 h 14"/>
                <a:gd name="T6" fmla="*/ 0 w 2"/>
                <a:gd name="T7" fmla="*/ 0 h 1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14">
                  <a:moveTo>
                    <a:pt x="0" y="0"/>
                  </a:moveTo>
                  <a:lnTo>
                    <a:pt x="2" y="0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27" name="Freeform 94"/>
            <p:cNvSpPr>
              <a:spLocks/>
            </p:cNvSpPr>
            <p:nvPr/>
          </p:nvSpPr>
          <p:spPr bwMode="auto">
            <a:xfrm>
              <a:off x="2956" y="2233"/>
              <a:ext cx="36" cy="34"/>
            </a:xfrm>
            <a:custGeom>
              <a:avLst/>
              <a:gdLst>
                <a:gd name="T0" fmla="*/ 1 w 72"/>
                <a:gd name="T1" fmla="*/ 0 h 71"/>
                <a:gd name="T2" fmla="*/ 1 w 72"/>
                <a:gd name="T3" fmla="*/ 0 h 71"/>
                <a:gd name="T4" fmla="*/ 1 w 72"/>
                <a:gd name="T5" fmla="*/ 0 h 71"/>
                <a:gd name="T6" fmla="*/ 1 w 72"/>
                <a:gd name="T7" fmla="*/ 0 h 71"/>
                <a:gd name="T8" fmla="*/ 1 w 72"/>
                <a:gd name="T9" fmla="*/ 0 h 71"/>
                <a:gd name="T10" fmla="*/ 1 w 72"/>
                <a:gd name="T11" fmla="*/ 0 h 71"/>
                <a:gd name="T12" fmla="*/ 1 w 72"/>
                <a:gd name="T13" fmla="*/ 0 h 71"/>
                <a:gd name="T14" fmla="*/ 1 w 72"/>
                <a:gd name="T15" fmla="*/ 0 h 71"/>
                <a:gd name="T16" fmla="*/ 1 w 72"/>
                <a:gd name="T17" fmla="*/ 0 h 71"/>
                <a:gd name="T18" fmla="*/ 1 w 72"/>
                <a:gd name="T19" fmla="*/ 0 h 71"/>
                <a:gd name="T20" fmla="*/ 1 w 72"/>
                <a:gd name="T21" fmla="*/ 0 h 71"/>
                <a:gd name="T22" fmla="*/ 1 w 72"/>
                <a:gd name="T23" fmla="*/ 0 h 71"/>
                <a:gd name="T24" fmla="*/ 1 w 72"/>
                <a:gd name="T25" fmla="*/ 0 h 71"/>
                <a:gd name="T26" fmla="*/ 0 w 72"/>
                <a:gd name="T27" fmla="*/ 0 h 71"/>
                <a:gd name="T28" fmla="*/ 1 w 72"/>
                <a:gd name="T29" fmla="*/ 0 h 71"/>
                <a:gd name="T30" fmla="*/ 1 w 72"/>
                <a:gd name="T31" fmla="*/ 0 h 71"/>
                <a:gd name="T32" fmla="*/ 1 w 72"/>
                <a:gd name="T33" fmla="*/ 0 h 71"/>
                <a:gd name="T34" fmla="*/ 1 w 72"/>
                <a:gd name="T35" fmla="*/ 0 h 71"/>
                <a:gd name="T36" fmla="*/ 1 w 72"/>
                <a:gd name="T37" fmla="*/ 0 h 71"/>
                <a:gd name="T38" fmla="*/ 1 w 72"/>
                <a:gd name="T39" fmla="*/ 0 h 71"/>
                <a:gd name="T40" fmla="*/ 1 w 72"/>
                <a:gd name="T41" fmla="*/ 0 h 71"/>
                <a:gd name="T42" fmla="*/ 1 w 72"/>
                <a:gd name="T43" fmla="*/ 0 h 71"/>
                <a:gd name="T44" fmla="*/ 1 w 72"/>
                <a:gd name="T45" fmla="*/ 0 h 71"/>
                <a:gd name="T46" fmla="*/ 1 w 72"/>
                <a:gd name="T47" fmla="*/ 0 h 71"/>
                <a:gd name="T48" fmla="*/ 1 w 72"/>
                <a:gd name="T49" fmla="*/ 0 h 71"/>
                <a:gd name="T50" fmla="*/ 1 w 72"/>
                <a:gd name="T51" fmla="*/ 0 h 71"/>
                <a:gd name="T52" fmla="*/ 1 w 72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2" h="71">
                  <a:moveTo>
                    <a:pt x="72" y="2"/>
                  </a:moveTo>
                  <a:lnTo>
                    <a:pt x="71" y="14"/>
                  </a:lnTo>
                  <a:lnTo>
                    <a:pt x="69" y="22"/>
                  </a:lnTo>
                  <a:lnTo>
                    <a:pt x="66" y="28"/>
                  </a:lnTo>
                  <a:lnTo>
                    <a:pt x="63" y="34"/>
                  </a:lnTo>
                  <a:lnTo>
                    <a:pt x="60" y="41"/>
                  </a:lnTo>
                  <a:lnTo>
                    <a:pt x="52" y="51"/>
                  </a:lnTo>
                  <a:lnTo>
                    <a:pt x="46" y="55"/>
                  </a:lnTo>
                  <a:lnTo>
                    <a:pt x="42" y="60"/>
                  </a:lnTo>
                  <a:lnTo>
                    <a:pt x="36" y="63"/>
                  </a:lnTo>
                  <a:lnTo>
                    <a:pt x="29" y="66"/>
                  </a:lnTo>
                  <a:lnTo>
                    <a:pt x="16" y="71"/>
                  </a:lnTo>
                  <a:lnTo>
                    <a:pt x="4" y="71"/>
                  </a:lnTo>
                  <a:lnTo>
                    <a:pt x="0" y="58"/>
                  </a:lnTo>
                  <a:lnTo>
                    <a:pt x="13" y="57"/>
                  </a:lnTo>
                  <a:lnTo>
                    <a:pt x="23" y="54"/>
                  </a:lnTo>
                  <a:lnTo>
                    <a:pt x="29" y="51"/>
                  </a:lnTo>
                  <a:lnTo>
                    <a:pt x="34" y="49"/>
                  </a:lnTo>
                  <a:lnTo>
                    <a:pt x="39" y="45"/>
                  </a:lnTo>
                  <a:lnTo>
                    <a:pt x="42" y="41"/>
                  </a:lnTo>
                  <a:lnTo>
                    <a:pt x="49" y="32"/>
                  </a:lnTo>
                  <a:lnTo>
                    <a:pt x="52" y="28"/>
                  </a:lnTo>
                  <a:lnTo>
                    <a:pt x="54" y="23"/>
                  </a:lnTo>
                  <a:lnTo>
                    <a:pt x="57" y="19"/>
                  </a:lnTo>
                  <a:lnTo>
                    <a:pt x="57" y="12"/>
                  </a:lnTo>
                  <a:lnTo>
                    <a:pt x="59" y="0"/>
                  </a:lnTo>
                  <a:lnTo>
                    <a:pt x="72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28" name="Freeform 95"/>
            <p:cNvSpPr>
              <a:spLocks/>
            </p:cNvSpPr>
            <p:nvPr/>
          </p:nvSpPr>
          <p:spPr bwMode="auto">
            <a:xfrm>
              <a:off x="2986" y="2233"/>
              <a:ext cx="9" cy="0"/>
            </a:xfrm>
            <a:custGeom>
              <a:avLst/>
              <a:gdLst>
                <a:gd name="T0" fmla="*/ 1 w 13"/>
                <a:gd name="T1" fmla="*/ 0 h 2"/>
                <a:gd name="T2" fmla="*/ 1 w 13"/>
                <a:gd name="T3" fmla="*/ 1 h 2"/>
                <a:gd name="T4" fmla="*/ 0 w 13"/>
                <a:gd name="T5" fmla="*/ 0 h 2"/>
                <a:gd name="T6" fmla="*/ 0 w 13"/>
                <a:gd name="T7" fmla="*/ 1 h 2"/>
                <a:gd name="T8" fmla="*/ 1 w 1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13" y="0"/>
                  </a:moveTo>
                  <a:lnTo>
                    <a:pt x="1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29" name="Freeform 96"/>
            <p:cNvSpPr>
              <a:spLocks/>
            </p:cNvSpPr>
            <p:nvPr/>
          </p:nvSpPr>
          <p:spPr bwMode="auto">
            <a:xfrm>
              <a:off x="2921" y="2233"/>
              <a:ext cx="39" cy="34"/>
            </a:xfrm>
            <a:custGeom>
              <a:avLst/>
              <a:gdLst>
                <a:gd name="T0" fmla="*/ 1 w 72"/>
                <a:gd name="T1" fmla="*/ 0 h 71"/>
                <a:gd name="T2" fmla="*/ 1 w 72"/>
                <a:gd name="T3" fmla="*/ 0 h 71"/>
                <a:gd name="T4" fmla="*/ 1 w 72"/>
                <a:gd name="T5" fmla="*/ 0 h 71"/>
                <a:gd name="T6" fmla="*/ 1 w 72"/>
                <a:gd name="T7" fmla="*/ 0 h 71"/>
                <a:gd name="T8" fmla="*/ 1 w 72"/>
                <a:gd name="T9" fmla="*/ 0 h 71"/>
                <a:gd name="T10" fmla="*/ 1 w 72"/>
                <a:gd name="T11" fmla="*/ 0 h 71"/>
                <a:gd name="T12" fmla="*/ 1 w 72"/>
                <a:gd name="T13" fmla="*/ 0 h 71"/>
                <a:gd name="T14" fmla="*/ 1 w 72"/>
                <a:gd name="T15" fmla="*/ 0 h 71"/>
                <a:gd name="T16" fmla="*/ 1 w 72"/>
                <a:gd name="T17" fmla="*/ 0 h 71"/>
                <a:gd name="T18" fmla="*/ 1 w 72"/>
                <a:gd name="T19" fmla="*/ 0 h 71"/>
                <a:gd name="T20" fmla="*/ 1 w 72"/>
                <a:gd name="T21" fmla="*/ 0 h 71"/>
                <a:gd name="T22" fmla="*/ 1 w 72"/>
                <a:gd name="T23" fmla="*/ 0 h 71"/>
                <a:gd name="T24" fmla="*/ 0 w 72"/>
                <a:gd name="T25" fmla="*/ 0 h 71"/>
                <a:gd name="T26" fmla="*/ 0 w 72"/>
                <a:gd name="T27" fmla="*/ 0 h 71"/>
                <a:gd name="T28" fmla="*/ 1 w 72"/>
                <a:gd name="T29" fmla="*/ 0 h 71"/>
                <a:gd name="T30" fmla="*/ 1 w 72"/>
                <a:gd name="T31" fmla="*/ 0 h 71"/>
                <a:gd name="T32" fmla="*/ 1 w 72"/>
                <a:gd name="T33" fmla="*/ 0 h 71"/>
                <a:gd name="T34" fmla="*/ 1 w 72"/>
                <a:gd name="T35" fmla="*/ 0 h 71"/>
                <a:gd name="T36" fmla="*/ 1 w 72"/>
                <a:gd name="T37" fmla="*/ 0 h 71"/>
                <a:gd name="T38" fmla="*/ 1 w 72"/>
                <a:gd name="T39" fmla="*/ 0 h 71"/>
                <a:gd name="T40" fmla="*/ 1 w 72"/>
                <a:gd name="T41" fmla="*/ 0 h 71"/>
                <a:gd name="T42" fmla="*/ 1 w 72"/>
                <a:gd name="T43" fmla="*/ 0 h 71"/>
                <a:gd name="T44" fmla="*/ 1 w 72"/>
                <a:gd name="T45" fmla="*/ 0 h 71"/>
                <a:gd name="T46" fmla="*/ 1 w 72"/>
                <a:gd name="T47" fmla="*/ 0 h 71"/>
                <a:gd name="T48" fmla="*/ 1 w 72"/>
                <a:gd name="T49" fmla="*/ 0 h 71"/>
                <a:gd name="T50" fmla="*/ 1 w 72"/>
                <a:gd name="T51" fmla="*/ 0 h 71"/>
                <a:gd name="T52" fmla="*/ 1 w 72"/>
                <a:gd name="T53" fmla="*/ 0 h 71"/>
                <a:gd name="T54" fmla="*/ 1 w 72"/>
                <a:gd name="T55" fmla="*/ 0 h 71"/>
                <a:gd name="T56" fmla="*/ 1 w 72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2" h="71">
                  <a:moveTo>
                    <a:pt x="70" y="71"/>
                  </a:moveTo>
                  <a:lnTo>
                    <a:pt x="56" y="71"/>
                  </a:lnTo>
                  <a:lnTo>
                    <a:pt x="49" y="69"/>
                  </a:lnTo>
                  <a:lnTo>
                    <a:pt x="43" y="66"/>
                  </a:lnTo>
                  <a:lnTo>
                    <a:pt x="36" y="63"/>
                  </a:lnTo>
                  <a:lnTo>
                    <a:pt x="30" y="60"/>
                  </a:lnTo>
                  <a:lnTo>
                    <a:pt x="21" y="51"/>
                  </a:lnTo>
                  <a:lnTo>
                    <a:pt x="17" y="46"/>
                  </a:lnTo>
                  <a:lnTo>
                    <a:pt x="12" y="40"/>
                  </a:lnTo>
                  <a:lnTo>
                    <a:pt x="9" y="35"/>
                  </a:lnTo>
                  <a:lnTo>
                    <a:pt x="6" y="28"/>
                  </a:lnTo>
                  <a:lnTo>
                    <a:pt x="1" y="15"/>
                  </a:lnTo>
                  <a:lnTo>
                    <a:pt x="0" y="8"/>
                  </a:lnTo>
                  <a:lnTo>
                    <a:pt x="0" y="2"/>
                  </a:lnTo>
                  <a:lnTo>
                    <a:pt x="13" y="0"/>
                  </a:lnTo>
                  <a:lnTo>
                    <a:pt x="13" y="6"/>
                  </a:lnTo>
                  <a:lnTo>
                    <a:pt x="13" y="12"/>
                  </a:lnTo>
                  <a:lnTo>
                    <a:pt x="18" y="23"/>
                  </a:lnTo>
                  <a:lnTo>
                    <a:pt x="20" y="28"/>
                  </a:lnTo>
                  <a:lnTo>
                    <a:pt x="23" y="32"/>
                  </a:lnTo>
                  <a:lnTo>
                    <a:pt x="26" y="37"/>
                  </a:lnTo>
                  <a:lnTo>
                    <a:pt x="30" y="41"/>
                  </a:lnTo>
                  <a:lnTo>
                    <a:pt x="38" y="49"/>
                  </a:lnTo>
                  <a:lnTo>
                    <a:pt x="43" y="51"/>
                  </a:lnTo>
                  <a:lnTo>
                    <a:pt x="49" y="54"/>
                  </a:lnTo>
                  <a:lnTo>
                    <a:pt x="53" y="55"/>
                  </a:lnTo>
                  <a:lnTo>
                    <a:pt x="58" y="57"/>
                  </a:lnTo>
                  <a:lnTo>
                    <a:pt x="72" y="58"/>
                  </a:lnTo>
                  <a:lnTo>
                    <a:pt x="70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30" name="Freeform 97"/>
            <p:cNvSpPr>
              <a:spLocks/>
            </p:cNvSpPr>
            <p:nvPr/>
          </p:nvSpPr>
          <p:spPr bwMode="auto">
            <a:xfrm>
              <a:off x="2956" y="2260"/>
              <a:ext cx="3" cy="7"/>
            </a:xfrm>
            <a:custGeom>
              <a:avLst/>
              <a:gdLst>
                <a:gd name="T0" fmla="*/ 1 w 4"/>
                <a:gd name="T1" fmla="*/ 0 h 13"/>
                <a:gd name="T2" fmla="*/ 1 w 4"/>
                <a:gd name="T3" fmla="*/ 0 h 13"/>
                <a:gd name="T4" fmla="*/ 1 w 4"/>
                <a:gd name="T5" fmla="*/ 0 h 13"/>
                <a:gd name="T6" fmla="*/ 0 w 4"/>
                <a:gd name="T7" fmla="*/ 0 h 13"/>
                <a:gd name="T8" fmla="*/ 1 w 4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" h="13">
                  <a:moveTo>
                    <a:pt x="4" y="13"/>
                  </a:moveTo>
                  <a:lnTo>
                    <a:pt x="2" y="13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31" name="Freeform 98"/>
            <p:cNvSpPr>
              <a:spLocks/>
            </p:cNvSpPr>
            <p:nvPr/>
          </p:nvSpPr>
          <p:spPr bwMode="auto">
            <a:xfrm>
              <a:off x="2921" y="2233"/>
              <a:ext cx="9" cy="0"/>
            </a:xfrm>
            <a:custGeom>
              <a:avLst/>
              <a:gdLst>
                <a:gd name="T0" fmla="*/ 0 w 13"/>
                <a:gd name="T1" fmla="*/ 1 h 2"/>
                <a:gd name="T2" fmla="*/ 0 w 13"/>
                <a:gd name="T3" fmla="*/ 0 h 2"/>
                <a:gd name="T4" fmla="*/ 1 w 13"/>
                <a:gd name="T5" fmla="*/ 1 h 2"/>
                <a:gd name="T6" fmla="*/ 1 w 13"/>
                <a:gd name="T7" fmla="*/ 0 h 2"/>
                <a:gd name="T8" fmla="*/ 0 w 13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0" y="2"/>
                  </a:moveTo>
                  <a:lnTo>
                    <a:pt x="0" y="0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32" name="Freeform 99"/>
            <p:cNvSpPr>
              <a:spLocks/>
            </p:cNvSpPr>
            <p:nvPr/>
          </p:nvSpPr>
          <p:spPr bwMode="auto">
            <a:xfrm>
              <a:off x="3197" y="2200"/>
              <a:ext cx="62" cy="64"/>
            </a:xfrm>
            <a:custGeom>
              <a:avLst/>
              <a:gdLst>
                <a:gd name="T0" fmla="*/ 0 w 126"/>
                <a:gd name="T1" fmla="*/ 1 h 127"/>
                <a:gd name="T2" fmla="*/ 1 w 126"/>
                <a:gd name="T3" fmla="*/ 1 h 127"/>
                <a:gd name="T4" fmla="*/ 1 w 126"/>
                <a:gd name="T5" fmla="*/ 1 h 127"/>
                <a:gd name="T6" fmla="*/ 1 w 126"/>
                <a:gd name="T7" fmla="*/ 1 h 127"/>
                <a:gd name="T8" fmla="*/ 1 w 126"/>
                <a:gd name="T9" fmla="*/ 1 h 127"/>
                <a:gd name="T10" fmla="*/ 1 w 126"/>
                <a:gd name="T11" fmla="*/ 1 h 127"/>
                <a:gd name="T12" fmla="*/ 1 w 126"/>
                <a:gd name="T13" fmla="*/ 1 h 127"/>
                <a:gd name="T14" fmla="*/ 1 w 126"/>
                <a:gd name="T15" fmla="*/ 1 h 127"/>
                <a:gd name="T16" fmla="*/ 1 w 126"/>
                <a:gd name="T17" fmla="*/ 1 h 127"/>
                <a:gd name="T18" fmla="*/ 1 w 126"/>
                <a:gd name="T19" fmla="*/ 1 h 127"/>
                <a:gd name="T20" fmla="*/ 1 w 126"/>
                <a:gd name="T21" fmla="*/ 1 h 127"/>
                <a:gd name="T22" fmla="*/ 1 w 126"/>
                <a:gd name="T23" fmla="*/ 1 h 127"/>
                <a:gd name="T24" fmla="*/ 1 w 126"/>
                <a:gd name="T25" fmla="*/ 0 h 127"/>
                <a:gd name="T26" fmla="*/ 1 w 126"/>
                <a:gd name="T27" fmla="*/ 1 h 127"/>
                <a:gd name="T28" fmla="*/ 1 w 126"/>
                <a:gd name="T29" fmla="*/ 1 h 127"/>
                <a:gd name="T30" fmla="*/ 1 w 126"/>
                <a:gd name="T31" fmla="*/ 1 h 127"/>
                <a:gd name="T32" fmla="*/ 1 w 126"/>
                <a:gd name="T33" fmla="*/ 1 h 127"/>
                <a:gd name="T34" fmla="*/ 1 w 126"/>
                <a:gd name="T35" fmla="*/ 1 h 127"/>
                <a:gd name="T36" fmla="*/ 1 w 126"/>
                <a:gd name="T37" fmla="*/ 1 h 127"/>
                <a:gd name="T38" fmla="*/ 1 w 126"/>
                <a:gd name="T39" fmla="*/ 1 h 127"/>
                <a:gd name="T40" fmla="*/ 1 w 126"/>
                <a:gd name="T41" fmla="*/ 1 h 127"/>
                <a:gd name="T42" fmla="*/ 1 w 126"/>
                <a:gd name="T43" fmla="*/ 1 h 127"/>
                <a:gd name="T44" fmla="*/ 1 w 126"/>
                <a:gd name="T45" fmla="*/ 1 h 127"/>
                <a:gd name="T46" fmla="*/ 1 w 126"/>
                <a:gd name="T47" fmla="*/ 1 h 127"/>
                <a:gd name="T48" fmla="*/ 1 w 126"/>
                <a:gd name="T49" fmla="*/ 1 h 127"/>
                <a:gd name="T50" fmla="*/ 1 w 126"/>
                <a:gd name="T51" fmla="*/ 1 h 127"/>
                <a:gd name="T52" fmla="*/ 1 w 126"/>
                <a:gd name="T53" fmla="*/ 1 h 127"/>
                <a:gd name="T54" fmla="*/ 1 w 126"/>
                <a:gd name="T55" fmla="*/ 1 h 127"/>
                <a:gd name="T56" fmla="*/ 1 w 126"/>
                <a:gd name="T57" fmla="*/ 1 h 127"/>
                <a:gd name="T58" fmla="*/ 1 w 126"/>
                <a:gd name="T59" fmla="*/ 1 h 127"/>
                <a:gd name="T60" fmla="*/ 1 w 126"/>
                <a:gd name="T61" fmla="*/ 1 h 127"/>
                <a:gd name="T62" fmla="*/ 1 w 126"/>
                <a:gd name="T63" fmla="*/ 1 h 127"/>
                <a:gd name="T64" fmla="*/ 1 w 126"/>
                <a:gd name="T65" fmla="*/ 1 h 127"/>
                <a:gd name="T66" fmla="*/ 1 w 126"/>
                <a:gd name="T67" fmla="*/ 1 h 127"/>
                <a:gd name="T68" fmla="*/ 1 w 126"/>
                <a:gd name="T69" fmla="*/ 1 h 127"/>
                <a:gd name="T70" fmla="*/ 1 w 126"/>
                <a:gd name="T71" fmla="*/ 1 h 127"/>
                <a:gd name="T72" fmla="*/ 1 w 126"/>
                <a:gd name="T73" fmla="*/ 1 h 127"/>
                <a:gd name="T74" fmla="*/ 1 w 126"/>
                <a:gd name="T75" fmla="*/ 1 h 127"/>
                <a:gd name="T76" fmla="*/ 1 w 126"/>
                <a:gd name="T77" fmla="*/ 1 h 127"/>
                <a:gd name="T78" fmla="*/ 1 w 126"/>
                <a:gd name="T79" fmla="*/ 1 h 127"/>
                <a:gd name="T80" fmla="*/ 1 w 126"/>
                <a:gd name="T81" fmla="*/ 1 h 127"/>
                <a:gd name="T82" fmla="*/ 1 w 126"/>
                <a:gd name="T83" fmla="*/ 1 h 127"/>
                <a:gd name="T84" fmla="*/ 1 w 126"/>
                <a:gd name="T85" fmla="*/ 1 h 127"/>
                <a:gd name="T86" fmla="*/ 1 w 126"/>
                <a:gd name="T87" fmla="*/ 1 h 127"/>
                <a:gd name="T88" fmla="*/ 1 w 126"/>
                <a:gd name="T89" fmla="*/ 1 h 127"/>
                <a:gd name="T90" fmla="*/ 1 w 126"/>
                <a:gd name="T91" fmla="*/ 1 h 127"/>
                <a:gd name="T92" fmla="*/ 1 w 126"/>
                <a:gd name="T93" fmla="*/ 1 h 127"/>
                <a:gd name="T94" fmla="*/ 1 w 126"/>
                <a:gd name="T95" fmla="*/ 1 h 127"/>
                <a:gd name="T96" fmla="*/ 1 w 126"/>
                <a:gd name="T97" fmla="*/ 1 h 127"/>
                <a:gd name="T98" fmla="*/ 0 w 126"/>
                <a:gd name="T99" fmla="*/ 1 h 127"/>
                <a:gd name="T100" fmla="*/ 0 w 126"/>
                <a:gd name="T101" fmla="*/ 1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6" h="127">
                  <a:moveTo>
                    <a:pt x="0" y="65"/>
                  </a:moveTo>
                  <a:lnTo>
                    <a:pt x="1" y="51"/>
                  </a:lnTo>
                  <a:lnTo>
                    <a:pt x="3" y="45"/>
                  </a:lnTo>
                  <a:lnTo>
                    <a:pt x="4" y="39"/>
                  </a:lnTo>
                  <a:lnTo>
                    <a:pt x="7" y="34"/>
                  </a:lnTo>
                  <a:lnTo>
                    <a:pt x="10" y="28"/>
                  </a:lnTo>
                  <a:lnTo>
                    <a:pt x="18" y="19"/>
                  </a:lnTo>
                  <a:lnTo>
                    <a:pt x="22" y="16"/>
                  </a:lnTo>
                  <a:lnTo>
                    <a:pt x="27" y="11"/>
                  </a:lnTo>
                  <a:lnTo>
                    <a:pt x="33" y="8"/>
                  </a:lnTo>
                  <a:lnTo>
                    <a:pt x="38" y="5"/>
                  </a:lnTo>
                  <a:lnTo>
                    <a:pt x="50" y="2"/>
                  </a:lnTo>
                  <a:lnTo>
                    <a:pt x="64" y="0"/>
                  </a:lnTo>
                  <a:lnTo>
                    <a:pt x="76" y="2"/>
                  </a:lnTo>
                  <a:lnTo>
                    <a:pt x="82" y="3"/>
                  </a:lnTo>
                  <a:lnTo>
                    <a:pt x="88" y="5"/>
                  </a:lnTo>
                  <a:lnTo>
                    <a:pt x="93" y="8"/>
                  </a:lnTo>
                  <a:lnTo>
                    <a:pt x="99" y="11"/>
                  </a:lnTo>
                  <a:lnTo>
                    <a:pt x="108" y="19"/>
                  </a:lnTo>
                  <a:lnTo>
                    <a:pt x="113" y="23"/>
                  </a:lnTo>
                  <a:lnTo>
                    <a:pt x="116" y="28"/>
                  </a:lnTo>
                  <a:lnTo>
                    <a:pt x="119" y="34"/>
                  </a:lnTo>
                  <a:lnTo>
                    <a:pt x="122" y="39"/>
                  </a:lnTo>
                  <a:lnTo>
                    <a:pt x="125" y="51"/>
                  </a:lnTo>
                  <a:lnTo>
                    <a:pt x="126" y="57"/>
                  </a:lnTo>
                  <a:lnTo>
                    <a:pt x="126" y="65"/>
                  </a:lnTo>
                  <a:lnTo>
                    <a:pt x="125" y="77"/>
                  </a:lnTo>
                  <a:lnTo>
                    <a:pt x="123" y="83"/>
                  </a:lnTo>
                  <a:lnTo>
                    <a:pt x="122" y="89"/>
                  </a:lnTo>
                  <a:lnTo>
                    <a:pt x="119" y="94"/>
                  </a:lnTo>
                  <a:lnTo>
                    <a:pt x="116" y="100"/>
                  </a:lnTo>
                  <a:lnTo>
                    <a:pt x="108" y="109"/>
                  </a:lnTo>
                  <a:lnTo>
                    <a:pt x="103" y="114"/>
                  </a:lnTo>
                  <a:lnTo>
                    <a:pt x="99" y="117"/>
                  </a:lnTo>
                  <a:lnTo>
                    <a:pt x="93" y="120"/>
                  </a:lnTo>
                  <a:lnTo>
                    <a:pt x="88" y="123"/>
                  </a:lnTo>
                  <a:lnTo>
                    <a:pt x="76" y="126"/>
                  </a:lnTo>
                  <a:lnTo>
                    <a:pt x="64" y="127"/>
                  </a:lnTo>
                  <a:lnTo>
                    <a:pt x="50" y="126"/>
                  </a:lnTo>
                  <a:lnTo>
                    <a:pt x="44" y="124"/>
                  </a:lnTo>
                  <a:lnTo>
                    <a:pt x="38" y="123"/>
                  </a:lnTo>
                  <a:lnTo>
                    <a:pt x="33" y="120"/>
                  </a:lnTo>
                  <a:lnTo>
                    <a:pt x="27" y="117"/>
                  </a:lnTo>
                  <a:lnTo>
                    <a:pt x="18" y="109"/>
                  </a:lnTo>
                  <a:lnTo>
                    <a:pt x="15" y="104"/>
                  </a:lnTo>
                  <a:lnTo>
                    <a:pt x="10" y="100"/>
                  </a:lnTo>
                  <a:lnTo>
                    <a:pt x="7" y="94"/>
                  </a:lnTo>
                  <a:lnTo>
                    <a:pt x="4" y="89"/>
                  </a:lnTo>
                  <a:lnTo>
                    <a:pt x="1" y="77"/>
                  </a:lnTo>
                  <a:lnTo>
                    <a:pt x="0" y="71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33" name="Freeform 100"/>
            <p:cNvSpPr>
              <a:spLocks/>
            </p:cNvSpPr>
            <p:nvPr/>
          </p:nvSpPr>
          <p:spPr bwMode="auto">
            <a:xfrm>
              <a:off x="3194" y="2196"/>
              <a:ext cx="33" cy="37"/>
            </a:xfrm>
            <a:custGeom>
              <a:avLst/>
              <a:gdLst>
                <a:gd name="T0" fmla="*/ 0 w 71"/>
                <a:gd name="T1" fmla="*/ 0 h 71"/>
                <a:gd name="T2" fmla="*/ 0 w 71"/>
                <a:gd name="T3" fmla="*/ 0 h 71"/>
                <a:gd name="T4" fmla="*/ 0 w 71"/>
                <a:gd name="T5" fmla="*/ 0 h 71"/>
                <a:gd name="T6" fmla="*/ 0 w 71"/>
                <a:gd name="T7" fmla="*/ 0 h 71"/>
                <a:gd name="T8" fmla="*/ 0 w 71"/>
                <a:gd name="T9" fmla="*/ 0 h 71"/>
                <a:gd name="T10" fmla="*/ 0 w 71"/>
                <a:gd name="T11" fmla="*/ 0 h 71"/>
                <a:gd name="T12" fmla="*/ 0 w 71"/>
                <a:gd name="T13" fmla="*/ 0 h 71"/>
                <a:gd name="T14" fmla="*/ 0 w 71"/>
                <a:gd name="T15" fmla="*/ 0 h 71"/>
                <a:gd name="T16" fmla="*/ 0 w 71"/>
                <a:gd name="T17" fmla="*/ 0 h 71"/>
                <a:gd name="T18" fmla="*/ 0 w 71"/>
                <a:gd name="T19" fmla="*/ 0 h 71"/>
                <a:gd name="T20" fmla="*/ 0 w 71"/>
                <a:gd name="T21" fmla="*/ 0 h 71"/>
                <a:gd name="T22" fmla="*/ 0 w 71"/>
                <a:gd name="T23" fmla="*/ 0 h 71"/>
                <a:gd name="T24" fmla="*/ 0 w 71"/>
                <a:gd name="T25" fmla="*/ 0 h 71"/>
                <a:gd name="T26" fmla="*/ 0 w 71"/>
                <a:gd name="T27" fmla="*/ 0 h 71"/>
                <a:gd name="T28" fmla="*/ 0 w 71"/>
                <a:gd name="T29" fmla="*/ 0 h 71"/>
                <a:gd name="T30" fmla="*/ 0 w 71"/>
                <a:gd name="T31" fmla="*/ 0 h 71"/>
                <a:gd name="T32" fmla="*/ 0 w 71"/>
                <a:gd name="T33" fmla="*/ 0 h 71"/>
                <a:gd name="T34" fmla="*/ 0 w 71"/>
                <a:gd name="T35" fmla="*/ 0 h 71"/>
                <a:gd name="T36" fmla="*/ 0 w 71"/>
                <a:gd name="T37" fmla="*/ 0 h 71"/>
                <a:gd name="T38" fmla="*/ 0 w 71"/>
                <a:gd name="T39" fmla="*/ 0 h 71"/>
                <a:gd name="T40" fmla="*/ 0 w 71"/>
                <a:gd name="T41" fmla="*/ 0 h 71"/>
                <a:gd name="T42" fmla="*/ 0 w 71"/>
                <a:gd name="T43" fmla="*/ 0 h 71"/>
                <a:gd name="T44" fmla="*/ 0 w 71"/>
                <a:gd name="T45" fmla="*/ 0 h 71"/>
                <a:gd name="T46" fmla="*/ 0 w 71"/>
                <a:gd name="T47" fmla="*/ 0 h 71"/>
                <a:gd name="T48" fmla="*/ 0 w 71"/>
                <a:gd name="T49" fmla="*/ 0 h 71"/>
                <a:gd name="T50" fmla="*/ 0 w 71"/>
                <a:gd name="T51" fmla="*/ 0 h 71"/>
                <a:gd name="T52" fmla="*/ 0 w 71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1" h="71">
                  <a:moveTo>
                    <a:pt x="0" y="69"/>
                  </a:moveTo>
                  <a:lnTo>
                    <a:pt x="2" y="55"/>
                  </a:lnTo>
                  <a:lnTo>
                    <a:pt x="3" y="49"/>
                  </a:lnTo>
                  <a:lnTo>
                    <a:pt x="5" y="43"/>
                  </a:lnTo>
                  <a:lnTo>
                    <a:pt x="8" y="37"/>
                  </a:lnTo>
                  <a:lnTo>
                    <a:pt x="13" y="31"/>
                  </a:lnTo>
                  <a:lnTo>
                    <a:pt x="20" y="20"/>
                  </a:lnTo>
                  <a:lnTo>
                    <a:pt x="25" y="16"/>
                  </a:lnTo>
                  <a:lnTo>
                    <a:pt x="31" y="13"/>
                  </a:lnTo>
                  <a:lnTo>
                    <a:pt x="37" y="8"/>
                  </a:lnTo>
                  <a:lnTo>
                    <a:pt x="43" y="5"/>
                  </a:lnTo>
                  <a:lnTo>
                    <a:pt x="55" y="2"/>
                  </a:lnTo>
                  <a:lnTo>
                    <a:pt x="69" y="0"/>
                  </a:lnTo>
                  <a:lnTo>
                    <a:pt x="71" y="14"/>
                  </a:lnTo>
                  <a:lnTo>
                    <a:pt x="58" y="14"/>
                  </a:lnTo>
                  <a:lnTo>
                    <a:pt x="48" y="19"/>
                  </a:lnTo>
                  <a:lnTo>
                    <a:pt x="43" y="20"/>
                  </a:lnTo>
                  <a:lnTo>
                    <a:pt x="39" y="23"/>
                  </a:lnTo>
                  <a:lnTo>
                    <a:pt x="34" y="26"/>
                  </a:lnTo>
                  <a:lnTo>
                    <a:pt x="29" y="29"/>
                  </a:lnTo>
                  <a:lnTo>
                    <a:pt x="23" y="39"/>
                  </a:lnTo>
                  <a:lnTo>
                    <a:pt x="20" y="43"/>
                  </a:lnTo>
                  <a:lnTo>
                    <a:pt x="17" y="48"/>
                  </a:lnTo>
                  <a:lnTo>
                    <a:pt x="16" y="54"/>
                  </a:lnTo>
                  <a:lnTo>
                    <a:pt x="14" y="58"/>
                  </a:lnTo>
                  <a:lnTo>
                    <a:pt x="13" y="71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34" name="Freeform 101"/>
            <p:cNvSpPr>
              <a:spLocks/>
            </p:cNvSpPr>
            <p:nvPr/>
          </p:nvSpPr>
          <p:spPr bwMode="auto">
            <a:xfrm>
              <a:off x="3227" y="2196"/>
              <a:ext cx="36" cy="37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w 70"/>
                <a:gd name="T55" fmla="*/ 0 h 71"/>
                <a:gd name="T56" fmla="*/ 1 w 70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0" h="71">
                  <a:moveTo>
                    <a:pt x="2" y="0"/>
                  </a:moveTo>
                  <a:lnTo>
                    <a:pt x="14" y="2"/>
                  </a:lnTo>
                  <a:lnTo>
                    <a:pt x="22" y="3"/>
                  </a:lnTo>
                  <a:lnTo>
                    <a:pt x="28" y="5"/>
                  </a:lnTo>
                  <a:lnTo>
                    <a:pt x="34" y="8"/>
                  </a:lnTo>
                  <a:lnTo>
                    <a:pt x="40" y="13"/>
                  </a:lnTo>
                  <a:lnTo>
                    <a:pt x="51" y="20"/>
                  </a:lnTo>
                  <a:lnTo>
                    <a:pt x="55" y="25"/>
                  </a:lnTo>
                  <a:lnTo>
                    <a:pt x="60" y="31"/>
                  </a:lnTo>
                  <a:lnTo>
                    <a:pt x="63" y="37"/>
                  </a:lnTo>
                  <a:lnTo>
                    <a:pt x="66" y="43"/>
                  </a:lnTo>
                  <a:lnTo>
                    <a:pt x="70" y="55"/>
                  </a:lnTo>
                  <a:lnTo>
                    <a:pt x="70" y="63"/>
                  </a:lnTo>
                  <a:lnTo>
                    <a:pt x="70" y="69"/>
                  </a:lnTo>
                  <a:lnTo>
                    <a:pt x="58" y="71"/>
                  </a:lnTo>
                  <a:lnTo>
                    <a:pt x="57" y="65"/>
                  </a:lnTo>
                  <a:lnTo>
                    <a:pt x="57" y="58"/>
                  </a:lnTo>
                  <a:lnTo>
                    <a:pt x="54" y="48"/>
                  </a:lnTo>
                  <a:lnTo>
                    <a:pt x="51" y="43"/>
                  </a:lnTo>
                  <a:lnTo>
                    <a:pt x="47" y="39"/>
                  </a:lnTo>
                  <a:lnTo>
                    <a:pt x="44" y="34"/>
                  </a:lnTo>
                  <a:lnTo>
                    <a:pt x="41" y="29"/>
                  </a:lnTo>
                  <a:lnTo>
                    <a:pt x="32" y="23"/>
                  </a:lnTo>
                  <a:lnTo>
                    <a:pt x="28" y="20"/>
                  </a:lnTo>
                  <a:lnTo>
                    <a:pt x="23" y="17"/>
                  </a:lnTo>
                  <a:lnTo>
                    <a:pt x="17" y="16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35" name="Freeform 102"/>
            <p:cNvSpPr>
              <a:spLocks/>
            </p:cNvSpPr>
            <p:nvPr/>
          </p:nvSpPr>
          <p:spPr bwMode="auto">
            <a:xfrm>
              <a:off x="3227" y="2196"/>
              <a:ext cx="3" cy="8"/>
            </a:xfrm>
            <a:custGeom>
              <a:avLst/>
              <a:gdLst>
                <a:gd name="T0" fmla="*/ 0 w 2"/>
                <a:gd name="T1" fmla="*/ 0 h 14"/>
                <a:gd name="T2" fmla="*/ 1 w 2"/>
                <a:gd name="T3" fmla="*/ 0 h 14"/>
                <a:gd name="T4" fmla="*/ 0 w 2"/>
                <a:gd name="T5" fmla="*/ 1 h 14"/>
                <a:gd name="T6" fmla="*/ 1 w 2"/>
                <a:gd name="T7" fmla="*/ 1 h 14"/>
                <a:gd name="T8" fmla="*/ 0 w 2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4">
                  <a:moveTo>
                    <a:pt x="0" y="0"/>
                  </a:moveTo>
                  <a:lnTo>
                    <a:pt x="2" y="0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36" name="Freeform 103"/>
            <p:cNvSpPr>
              <a:spLocks/>
            </p:cNvSpPr>
            <p:nvPr/>
          </p:nvSpPr>
          <p:spPr bwMode="auto">
            <a:xfrm>
              <a:off x="3227" y="2233"/>
              <a:ext cx="36" cy="34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0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0" h="71">
                  <a:moveTo>
                    <a:pt x="70" y="2"/>
                  </a:moveTo>
                  <a:lnTo>
                    <a:pt x="70" y="14"/>
                  </a:lnTo>
                  <a:lnTo>
                    <a:pt x="67" y="22"/>
                  </a:lnTo>
                  <a:lnTo>
                    <a:pt x="66" y="28"/>
                  </a:lnTo>
                  <a:lnTo>
                    <a:pt x="63" y="34"/>
                  </a:lnTo>
                  <a:lnTo>
                    <a:pt x="60" y="41"/>
                  </a:lnTo>
                  <a:lnTo>
                    <a:pt x="51" y="51"/>
                  </a:lnTo>
                  <a:lnTo>
                    <a:pt x="46" y="55"/>
                  </a:lnTo>
                  <a:lnTo>
                    <a:pt x="40" y="60"/>
                  </a:lnTo>
                  <a:lnTo>
                    <a:pt x="35" y="63"/>
                  </a:lnTo>
                  <a:lnTo>
                    <a:pt x="28" y="66"/>
                  </a:lnTo>
                  <a:lnTo>
                    <a:pt x="15" y="71"/>
                  </a:lnTo>
                  <a:lnTo>
                    <a:pt x="2" y="71"/>
                  </a:lnTo>
                  <a:lnTo>
                    <a:pt x="0" y="58"/>
                  </a:lnTo>
                  <a:lnTo>
                    <a:pt x="12" y="57"/>
                  </a:lnTo>
                  <a:lnTo>
                    <a:pt x="23" y="54"/>
                  </a:lnTo>
                  <a:lnTo>
                    <a:pt x="28" y="51"/>
                  </a:lnTo>
                  <a:lnTo>
                    <a:pt x="32" y="49"/>
                  </a:lnTo>
                  <a:lnTo>
                    <a:pt x="37" y="45"/>
                  </a:lnTo>
                  <a:lnTo>
                    <a:pt x="41" y="41"/>
                  </a:lnTo>
                  <a:lnTo>
                    <a:pt x="49" y="32"/>
                  </a:lnTo>
                  <a:lnTo>
                    <a:pt x="51" y="28"/>
                  </a:lnTo>
                  <a:lnTo>
                    <a:pt x="54" y="23"/>
                  </a:lnTo>
                  <a:lnTo>
                    <a:pt x="55" y="19"/>
                  </a:lnTo>
                  <a:lnTo>
                    <a:pt x="57" y="12"/>
                  </a:lnTo>
                  <a:lnTo>
                    <a:pt x="58" y="0"/>
                  </a:lnTo>
                  <a:lnTo>
                    <a:pt x="7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37" name="Freeform 104"/>
            <p:cNvSpPr>
              <a:spLocks/>
            </p:cNvSpPr>
            <p:nvPr/>
          </p:nvSpPr>
          <p:spPr bwMode="auto">
            <a:xfrm>
              <a:off x="3256" y="2233"/>
              <a:ext cx="6" cy="0"/>
            </a:xfrm>
            <a:custGeom>
              <a:avLst/>
              <a:gdLst>
                <a:gd name="T0" fmla="*/ 1 w 12"/>
                <a:gd name="T1" fmla="*/ 0 h 2"/>
                <a:gd name="T2" fmla="*/ 1 w 12"/>
                <a:gd name="T3" fmla="*/ 1 h 2"/>
                <a:gd name="T4" fmla="*/ 0 w 12"/>
                <a:gd name="T5" fmla="*/ 0 h 2"/>
                <a:gd name="T6" fmla="*/ 0 w 12"/>
                <a:gd name="T7" fmla="*/ 1 h 2"/>
                <a:gd name="T8" fmla="*/ 1 w 1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" h="2">
                  <a:moveTo>
                    <a:pt x="12" y="0"/>
                  </a:moveTo>
                  <a:lnTo>
                    <a:pt x="12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38" name="Freeform 105"/>
            <p:cNvSpPr>
              <a:spLocks/>
            </p:cNvSpPr>
            <p:nvPr/>
          </p:nvSpPr>
          <p:spPr bwMode="auto">
            <a:xfrm>
              <a:off x="3194" y="2233"/>
              <a:ext cx="33" cy="34"/>
            </a:xfrm>
            <a:custGeom>
              <a:avLst/>
              <a:gdLst>
                <a:gd name="T0" fmla="*/ 0 w 71"/>
                <a:gd name="T1" fmla="*/ 0 h 71"/>
                <a:gd name="T2" fmla="*/ 0 w 71"/>
                <a:gd name="T3" fmla="*/ 0 h 71"/>
                <a:gd name="T4" fmla="*/ 0 w 71"/>
                <a:gd name="T5" fmla="*/ 0 h 71"/>
                <a:gd name="T6" fmla="*/ 0 w 71"/>
                <a:gd name="T7" fmla="*/ 0 h 71"/>
                <a:gd name="T8" fmla="*/ 0 w 71"/>
                <a:gd name="T9" fmla="*/ 0 h 71"/>
                <a:gd name="T10" fmla="*/ 0 w 71"/>
                <a:gd name="T11" fmla="*/ 0 h 71"/>
                <a:gd name="T12" fmla="*/ 0 w 71"/>
                <a:gd name="T13" fmla="*/ 0 h 71"/>
                <a:gd name="T14" fmla="*/ 0 w 71"/>
                <a:gd name="T15" fmla="*/ 0 h 71"/>
                <a:gd name="T16" fmla="*/ 0 w 71"/>
                <a:gd name="T17" fmla="*/ 0 h 71"/>
                <a:gd name="T18" fmla="*/ 0 w 71"/>
                <a:gd name="T19" fmla="*/ 0 h 71"/>
                <a:gd name="T20" fmla="*/ 0 w 71"/>
                <a:gd name="T21" fmla="*/ 0 h 71"/>
                <a:gd name="T22" fmla="*/ 0 w 71"/>
                <a:gd name="T23" fmla="*/ 0 h 71"/>
                <a:gd name="T24" fmla="*/ 0 w 71"/>
                <a:gd name="T25" fmla="*/ 0 h 71"/>
                <a:gd name="T26" fmla="*/ 0 w 71"/>
                <a:gd name="T27" fmla="*/ 0 h 71"/>
                <a:gd name="T28" fmla="*/ 0 w 71"/>
                <a:gd name="T29" fmla="*/ 0 h 71"/>
                <a:gd name="T30" fmla="*/ 0 w 71"/>
                <a:gd name="T31" fmla="*/ 0 h 71"/>
                <a:gd name="T32" fmla="*/ 0 w 71"/>
                <a:gd name="T33" fmla="*/ 0 h 71"/>
                <a:gd name="T34" fmla="*/ 0 w 71"/>
                <a:gd name="T35" fmla="*/ 0 h 71"/>
                <a:gd name="T36" fmla="*/ 0 w 71"/>
                <a:gd name="T37" fmla="*/ 0 h 71"/>
                <a:gd name="T38" fmla="*/ 0 w 71"/>
                <a:gd name="T39" fmla="*/ 0 h 71"/>
                <a:gd name="T40" fmla="*/ 0 w 71"/>
                <a:gd name="T41" fmla="*/ 0 h 71"/>
                <a:gd name="T42" fmla="*/ 0 w 71"/>
                <a:gd name="T43" fmla="*/ 0 h 71"/>
                <a:gd name="T44" fmla="*/ 0 w 71"/>
                <a:gd name="T45" fmla="*/ 0 h 71"/>
                <a:gd name="T46" fmla="*/ 0 w 71"/>
                <a:gd name="T47" fmla="*/ 0 h 71"/>
                <a:gd name="T48" fmla="*/ 0 w 71"/>
                <a:gd name="T49" fmla="*/ 0 h 71"/>
                <a:gd name="T50" fmla="*/ 0 w 71"/>
                <a:gd name="T51" fmla="*/ 0 h 71"/>
                <a:gd name="T52" fmla="*/ 0 w 71"/>
                <a:gd name="T53" fmla="*/ 0 h 71"/>
                <a:gd name="T54" fmla="*/ 0 w 71"/>
                <a:gd name="T55" fmla="*/ 0 h 71"/>
                <a:gd name="T56" fmla="*/ 0 w 71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71">
                  <a:moveTo>
                    <a:pt x="69" y="71"/>
                  </a:moveTo>
                  <a:lnTo>
                    <a:pt x="55" y="71"/>
                  </a:lnTo>
                  <a:lnTo>
                    <a:pt x="49" y="69"/>
                  </a:lnTo>
                  <a:lnTo>
                    <a:pt x="43" y="66"/>
                  </a:lnTo>
                  <a:lnTo>
                    <a:pt x="37" y="63"/>
                  </a:lnTo>
                  <a:lnTo>
                    <a:pt x="31" y="60"/>
                  </a:lnTo>
                  <a:lnTo>
                    <a:pt x="20" y="51"/>
                  </a:lnTo>
                  <a:lnTo>
                    <a:pt x="16" y="46"/>
                  </a:lnTo>
                  <a:lnTo>
                    <a:pt x="11" y="40"/>
                  </a:lnTo>
                  <a:lnTo>
                    <a:pt x="8" y="35"/>
                  </a:lnTo>
                  <a:lnTo>
                    <a:pt x="5" y="28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2"/>
                  </a:lnTo>
                  <a:lnTo>
                    <a:pt x="13" y="0"/>
                  </a:lnTo>
                  <a:lnTo>
                    <a:pt x="13" y="6"/>
                  </a:lnTo>
                  <a:lnTo>
                    <a:pt x="14" y="12"/>
                  </a:lnTo>
                  <a:lnTo>
                    <a:pt x="17" y="23"/>
                  </a:lnTo>
                  <a:lnTo>
                    <a:pt x="20" y="28"/>
                  </a:lnTo>
                  <a:lnTo>
                    <a:pt x="23" y="32"/>
                  </a:lnTo>
                  <a:lnTo>
                    <a:pt x="26" y="37"/>
                  </a:lnTo>
                  <a:lnTo>
                    <a:pt x="29" y="41"/>
                  </a:lnTo>
                  <a:lnTo>
                    <a:pt x="39" y="49"/>
                  </a:lnTo>
                  <a:lnTo>
                    <a:pt x="43" y="51"/>
                  </a:lnTo>
                  <a:lnTo>
                    <a:pt x="48" y="54"/>
                  </a:lnTo>
                  <a:lnTo>
                    <a:pt x="52" y="55"/>
                  </a:lnTo>
                  <a:lnTo>
                    <a:pt x="58" y="57"/>
                  </a:lnTo>
                  <a:lnTo>
                    <a:pt x="71" y="58"/>
                  </a:lnTo>
                  <a:lnTo>
                    <a:pt x="69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39" name="Freeform 106"/>
            <p:cNvSpPr>
              <a:spLocks/>
            </p:cNvSpPr>
            <p:nvPr/>
          </p:nvSpPr>
          <p:spPr bwMode="auto">
            <a:xfrm>
              <a:off x="3227" y="2260"/>
              <a:ext cx="3" cy="7"/>
            </a:xfrm>
            <a:custGeom>
              <a:avLst/>
              <a:gdLst>
                <a:gd name="T0" fmla="*/ 1 w 2"/>
                <a:gd name="T1" fmla="*/ 0 h 13"/>
                <a:gd name="T2" fmla="*/ 0 w 2"/>
                <a:gd name="T3" fmla="*/ 0 h 13"/>
                <a:gd name="T4" fmla="*/ 1 w 2"/>
                <a:gd name="T5" fmla="*/ 0 h 13"/>
                <a:gd name="T6" fmla="*/ 0 w 2"/>
                <a:gd name="T7" fmla="*/ 0 h 13"/>
                <a:gd name="T8" fmla="*/ 1 w 2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3">
                  <a:moveTo>
                    <a:pt x="2" y="13"/>
                  </a:moveTo>
                  <a:lnTo>
                    <a:pt x="0" y="1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40" name="Freeform 107"/>
            <p:cNvSpPr>
              <a:spLocks/>
            </p:cNvSpPr>
            <p:nvPr/>
          </p:nvSpPr>
          <p:spPr bwMode="auto">
            <a:xfrm>
              <a:off x="3194" y="2233"/>
              <a:ext cx="3" cy="0"/>
            </a:xfrm>
            <a:custGeom>
              <a:avLst/>
              <a:gdLst>
                <a:gd name="T0" fmla="*/ 0 w 13"/>
                <a:gd name="T1" fmla="*/ 1 h 2"/>
                <a:gd name="T2" fmla="*/ 0 w 13"/>
                <a:gd name="T3" fmla="*/ 0 h 2"/>
                <a:gd name="T4" fmla="*/ 0 w 13"/>
                <a:gd name="T5" fmla="*/ 1 h 2"/>
                <a:gd name="T6" fmla="*/ 0 w 13"/>
                <a:gd name="T7" fmla="*/ 0 h 2"/>
                <a:gd name="T8" fmla="*/ 0 w 13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0" y="2"/>
                  </a:moveTo>
                  <a:lnTo>
                    <a:pt x="0" y="0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41" name="Freeform 108"/>
            <p:cNvSpPr>
              <a:spLocks/>
            </p:cNvSpPr>
            <p:nvPr/>
          </p:nvSpPr>
          <p:spPr bwMode="auto">
            <a:xfrm>
              <a:off x="3120" y="2200"/>
              <a:ext cx="65" cy="64"/>
            </a:xfrm>
            <a:custGeom>
              <a:avLst/>
              <a:gdLst>
                <a:gd name="T0" fmla="*/ 0 w 127"/>
                <a:gd name="T1" fmla="*/ 1 h 127"/>
                <a:gd name="T2" fmla="*/ 0 w 127"/>
                <a:gd name="T3" fmla="*/ 1 h 127"/>
                <a:gd name="T4" fmla="*/ 1 w 127"/>
                <a:gd name="T5" fmla="*/ 1 h 127"/>
                <a:gd name="T6" fmla="*/ 1 w 127"/>
                <a:gd name="T7" fmla="*/ 1 h 127"/>
                <a:gd name="T8" fmla="*/ 1 w 127"/>
                <a:gd name="T9" fmla="*/ 1 h 127"/>
                <a:gd name="T10" fmla="*/ 1 w 127"/>
                <a:gd name="T11" fmla="*/ 1 h 127"/>
                <a:gd name="T12" fmla="*/ 1 w 127"/>
                <a:gd name="T13" fmla="*/ 1 h 127"/>
                <a:gd name="T14" fmla="*/ 1 w 127"/>
                <a:gd name="T15" fmla="*/ 1 h 127"/>
                <a:gd name="T16" fmla="*/ 1 w 127"/>
                <a:gd name="T17" fmla="*/ 1 h 127"/>
                <a:gd name="T18" fmla="*/ 1 w 127"/>
                <a:gd name="T19" fmla="*/ 1 h 127"/>
                <a:gd name="T20" fmla="*/ 1 w 127"/>
                <a:gd name="T21" fmla="*/ 1 h 127"/>
                <a:gd name="T22" fmla="*/ 1 w 127"/>
                <a:gd name="T23" fmla="*/ 1 h 127"/>
                <a:gd name="T24" fmla="*/ 1 w 127"/>
                <a:gd name="T25" fmla="*/ 0 h 127"/>
                <a:gd name="T26" fmla="*/ 1 w 127"/>
                <a:gd name="T27" fmla="*/ 1 h 127"/>
                <a:gd name="T28" fmla="*/ 1 w 127"/>
                <a:gd name="T29" fmla="*/ 1 h 127"/>
                <a:gd name="T30" fmla="*/ 1 w 127"/>
                <a:gd name="T31" fmla="*/ 1 h 127"/>
                <a:gd name="T32" fmla="*/ 1 w 127"/>
                <a:gd name="T33" fmla="*/ 1 h 127"/>
                <a:gd name="T34" fmla="*/ 1 w 127"/>
                <a:gd name="T35" fmla="*/ 1 h 127"/>
                <a:gd name="T36" fmla="*/ 1 w 127"/>
                <a:gd name="T37" fmla="*/ 1 h 127"/>
                <a:gd name="T38" fmla="*/ 1 w 127"/>
                <a:gd name="T39" fmla="*/ 1 h 127"/>
                <a:gd name="T40" fmla="*/ 1 w 127"/>
                <a:gd name="T41" fmla="*/ 1 h 127"/>
                <a:gd name="T42" fmla="*/ 1 w 127"/>
                <a:gd name="T43" fmla="*/ 1 h 127"/>
                <a:gd name="T44" fmla="*/ 1 w 127"/>
                <a:gd name="T45" fmla="*/ 1 h 127"/>
                <a:gd name="T46" fmla="*/ 1 w 127"/>
                <a:gd name="T47" fmla="*/ 1 h 127"/>
                <a:gd name="T48" fmla="*/ 1 w 127"/>
                <a:gd name="T49" fmla="*/ 1 h 127"/>
                <a:gd name="T50" fmla="*/ 1 w 127"/>
                <a:gd name="T51" fmla="*/ 1 h 127"/>
                <a:gd name="T52" fmla="*/ 1 w 127"/>
                <a:gd name="T53" fmla="*/ 1 h 127"/>
                <a:gd name="T54" fmla="*/ 1 w 127"/>
                <a:gd name="T55" fmla="*/ 1 h 127"/>
                <a:gd name="T56" fmla="*/ 1 w 127"/>
                <a:gd name="T57" fmla="*/ 1 h 127"/>
                <a:gd name="T58" fmla="*/ 1 w 127"/>
                <a:gd name="T59" fmla="*/ 1 h 127"/>
                <a:gd name="T60" fmla="*/ 1 w 127"/>
                <a:gd name="T61" fmla="*/ 1 h 127"/>
                <a:gd name="T62" fmla="*/ 1 w 127"/>
                <a:gd name="T63" fmla="*/ 1 h 127"/>
                <a:gd name="T64" fmla="*/ 1 w 127"/>
                <a:gd name="T65" fmla="*/ 1 h 127"/>
                <a:gd name="T66" fmla="*/ 1 w 127"/>
                <a:gd name="T67" fmla="*/ 1 h 127"/>
                <a:gd name="T68" fmla="*/ 1 w 127"/>
                <a:gd name="T69" fmla="*/ 1 h 127"/>
                <a:gd name="T70" fmla="*/ 1 w 127"/>
                <a:gd name="T71" fmla="*/ 1 h 127"/>
                <a:gd name="T72" fmla="*/ 1 w 127"/>
                <a:gd name="T73" fmla="*/ 1 h 127"/>
                <a:gd name="T74" fmla="*/ 1 w 127"/>
                <a:gd name="T75" fmla="*/ 1 h 127"/>
                <a:gd name="T76" fmla="*/ 1 w 127"/>
                <a:gd name="T77" fmla="*/ 1 h 127"/>
                <a:gd name="T78" fmla="*/ 1 w 127"/>
                <a:gd name="T79" fmla="*/ 1 h 127"/>
                <a:gd name="T80" fmla="*/ 1 w 127"/>
                <a:gd name="T81" fmla="*/ 1 h 127"/>
                <a:gd name="T82" fmla="*/ 1 w 127"/>
                <a:gd name="T83" fmla="*/ 1 h 127"/>
                <a:gd name="T84" fmla="*/ 1 w 127"/>
                <a:gd name="T85" fmla="*/ 1 h 127"/>
                <a:gd name="T86" fmla="*/ 1 w 127"/>
                <a:gd name="T87" fmla="*/ 1 h 127"/>
                <a:gd name="T88" fmla="*/ 1 w 127"/>
                <a:gd name="T89" fmla="*/ 1 h 127"/>
                <a:gd name="T90" fmla="*/ 1 w 127"/>
                <a:gd name="T91" fmla="*/ 1 h 127"/>
                <a:gd name="T92" fmla="*/ 1 w 127"/>
                <a:gd name="T93" fmla="*/ 1 h 127"/>
                <a:gd name="T94" fmla="*/ 1 w 127"/>
                <a:gd name="T95" fmla="*/ 1 h 127"/>
                <a:gd name="T96" fmla="*/ 0 w 127"/>
                <a:gd name="T97" fmla="*/ 1 h 127"/>
                <a:gd name="T98" fmla="*/ 0 w 127"/>
                <a:gd name="T99" fmla="*/ 1 h 127"/>
                <a:gd name="T100" fmla="*/ 0 w 127"/>
                <a:gd name="T101" fmla="*/ 1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7" h="127">
                  <a:moveTo>
                    <a:pt x="0" y="65"/>
                  </a:moveTo>
                  <a:lnTo>
                    <a:pt x="0" y="51"/>
                  </a:lnTo>
                  <a:lnTo>
                    <a:pt x="2" y="45"/>
                  </a:lnTo>
                  <a:lnTo>
                    <a:pt x="5" y="39"/>
                  </a:lnTo>
                  <a:lnTo>
                    <a:pt x="8" y="34"/>
                  </a:lnTo>
                  <a:lnTo>
                    <a:pt x="11" y="28"/>
                  </a:lnTo>
                  <a:lnTo>
                    <a:pt x="19" y="19"/>
                  </a:lnTo>
                  <a:lnTo>
                    <a:pt x="23" y="16"/>
                  </a:lnTo>
                  <a:lnTo>
                    <a:pt x="28" y="11"/>
                  </a:lnTo>
                  <a:lnTo>
                    <a:pt x="32" y="8"/>
                  </a:lnTo>
                  <a:lnTo>
                    <a:pt x="38" y="5"/>
                  </a:lnTo>
                  <a:lnTo>
                    <a:pt x="51" y="2"/>
                  </a:lnTo>
                  <a:lnTo>
                    <a:pt x="63" y="0"/>
                  </a:lnTo>
                  <a:lnTo>
                    <a:pt x="75" y="2"/>
                  </a:lnTo>
                  <a:lnTo>
                    <a:pt x="81" y="3"/>
                  </a:lnTo>
                  <a:lnTo>
                    <a:pt x="87" y="5"/>
                  </a:lnTo>
                  <a:lnTo>
                    <a:pt x="93" y="8"/>
                  </a:lnTo>
                  <a:lnTo>
                    <a:pt x="98" y="11"/>
                  </a:lnTo>
                  <a:lnTo>
                    <a:pt x="107" y="19"/>
                  </a:lnTo>
                  <a:lnTo>
                    <a:pt x="112" y="23"/>
                  </a:lnTo>
                  <a:lnTo>
                    <a:pt x="116" y="28"/>
                  </a:lnTo>
                  <a:lnTo>
                    <a:pt x="119" y="34"/>
                  </a:lnTo>
                  <a:lnTo>
                    <a:pt x="121" y="39"/>
                  </a:lnTo>
                  <a:lnTo>
                    <a:pt x="125" y="51"/>
                  </a:lnTo>
                  <a:lnTo>
                    <a:pt x="125" y="57"/>
                  </a:lnTo>
                  <a:lnTo>
                    <a:pt x="127" y="65"/>
                  </a:lnTo>
                  <a:lnTo>
                    <a:pt x="125" y="77"/>
                  </a:lnTo>
                  <a:lnTo>
                    <a:pt x="124" y="83"/>
                  </a:lnTo>
                  <a:lnTo>
                    <a:pt x="121" y="89"/>
                  </a:lnTo>
                  <a:lnTo>
                    <a:pt x="119" y="94"/>
                  </a:lnTo>
                  <a:lnTo>
                    <a:pt x="116" y="100"/>
                  </a:lnTo>
                  <a:lnTo>
                    <a:pt x="107" y="109"/>
                  </a:lnTo>
                  <a:lnTo>
                    <a:pt x="104" y="114"/>
                  </a:lnTo>
                  <a:lnTo>
                    <a:pt x="98" y="117"/>
                  </a:lnTo>
                  <a:lnTo>
                    <a:pt x="93" y="120"/>
                  </a:lnTo>
                  <a:lnTo>
                    <a:pt x="87" y="123"/>
                  </a:lnTo>
                  <a:lnTo>
                    <a:pt x="75" y="126"/>
                  </a:lnTo>
                  <a:lnTo>
                    <a:pt x="63" y="127"/>
                  </a:lnTo>
                  <a:lnTo>
                    <a:pt x="51" y="126"/>
                  </a:lnTo>
                  <a:lnTo>
                    <a:pt x="45" y="124"/>
                  </a:lnTo>
                  <a:lnTo>
                    <a:pt x="38" y="123"/>
                  </a:lnTo>
                  <a:lnTo>
                    <a:pt x="32" y="120"/>
                  </a:lnTo>
                  <a:lnTo>
                    <a:pt x="28" y="117"/>
                  </a:lnTo>
                  <a:lnTo>
                    <a:pt x="19" y="109"/>
                  </a:lnTo>
                  <a:lnTo>
                    <a:pt x="14" y="104"/>
                  </a:lnTo>
                  <a:lnTo>
                    <a:pt x="11" y="100"/>
                  </a:lnTo>
                  <a:lnTo>
                    <a:pt x="8" y="94"/>
                  </a:lnTo>
                  <a:lnTo>
                    <a:pt x="5" y="89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F56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42" name="Freeform 109"/>
            <p:cNvSpPr>
              <a:spLocks/>
            </p:cNvSpPr>
            <p:nvPr/>
          </p:nvSpPr>
          <p:spPr bwMode="auto">
            <a:xfrm>
              <a:off x="3114" y="2196"/>
              <a:ext cx="36" cy="37"/>
            </a:xfrm>
            <a:custGeom>
              <a:avLst/>
              <a:gdLst>
                <a:gd name="T0" fmla="*/ 0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0 w 70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0" h="71">
                  <a:moveTo>
                    <a:pt x="0" y="69"/>
                  </a:moveTo>
                  <a:lnTo>
                    <a:pt x="1" y="55"/>
                  </a:lnTo>
                  <a:lnTo>
                    <a:pt x="3" y="49"/>
                  </a:lnTo>
                  <a:lnTo>
                    <a:pt x="6" y="43"/>
                  </a:lnTo>
                  <a:lnTo>
                    <a:pt x="9" y="37"/>
                  </a:lnTo>
                  <a:lnTo>
                    <a:pt x="12" y="31"/>
                  </a:lnTo>
                  <a:lnTo>
                    <a:pt x="19" y="20"/>
                  </a:lnTo>
                  <a:lnTo>
                    <a:pt x="26" y="16"/>
                  </a:lnTo>
                  <a:lnTo>
                    <a:pt x="30" y="13"/>
                  </a:lnTo>
                  <a:lnTo>
                    <a:pt x="36" y="8"/>
                  </a:lnTo>
                  <a:lnTo>
                    <a:pt x="42" y="5"/>
                  </a:lnTo>
                  <a:lnTo>
                    <a:pt x="56" y="2"/>
                  </a:lnTo>
                  <a:lnTo>
                    <a:pt x="70" y="0"/>
                  </a:lnTo>
                  <a:lnTo>
                    <a:pt x="70" y="14"/>
                  </a:lnTo>
                  <a:lnTo>
                    <a:pt x="58" y="14"/>
                  </a:lnTo>
                  <a:lnTo>
                    <a:pt x="47" y="19"/>
                  </a:lnTo>
                  <a:lnTo>
                    <a:pt x="42" y="20"/>
                  </a:lnTo>
                  <a:lnTo>
                    <a:pt x="38" y="23"/>
                  </a:lnTo>
                  <a:lnTo>
                    <a:pt x="33" y="26"/>
                  </a:lnTo>
                  <a:lnTo>
                    <a:pt x="30" y="29"/>
                  </a:lnTo>
                  <a:lnTo>
                    <a:pt x="23" y="39"/>
                  </a:lnTo>
                  <a:lnTo>
                    <a:pt x="19" y="43"/>
                  </a:lnTo>
                  <a:lnTo>
                    <a:pt x="18" y="48"/>
                  </a:lnTo>
                  <a:lnTo>
                    <a:pt x="15" y="54"/>
                  </a:lnTo>
                  <a:lnTo>
                    <a:pt x="15" y="58"/>
                  </a:lnTo>
                  <a:lnTo>
                    <a:pt x="13" y="71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43" name="Freeform 110"/>
            <p:cNvSpPr>
              <a:spLocks/>
            </p:cNvSpPr>
            <p:nvPr/>
          </p:nvSpPr>
          <p:spPr bwMode="auto">
            <a:xfrm>
              <a:off x="3149" y="2196"/>
              <a:ext cx="36" cy="37"/>
            </a:xfrm>
            <a:custGeom>
              <a:avLst/>
              <a:gdLst>
                <a:gd name="T0" fmla="*/ 1 w 70"/>
                <a:gd name="T1" fmla="*/ 0 h 71"/>
                <a:gd name="T2" fmla="*/ 1 w 70"/>
                <a:gd name="T3" fmla="*/ 0 h 71"/>
                <a:gd name="T4" fmla="*/ 1 w 70"/>
                <a:gd name="T5" fmla="*/ 0 h 71"/>
                <a:gd name="T6" fmla="*/ 1 w 70"/>
                <a:gd name="T7" fmla="*/ 0 h 71"/>
                <a:gd name="T8" fmla="*/ 1 w 70"/>
                <a:gd name="T9" fmla="*/ 0 h 71"/>
                <a:gd name="T10" fmla="*/ 1 w 70"/>
                <a:gd name="T11" fmla="*/ 0 h 71"/>
                <a:gd name="T12" fmla="*/ 1 w 70"/>
                <a:gd name="T13" fmla="*/ 0 h 71"/>
                <a:gd name="T14" fmla="*/ 1 w 70"/>
                <a:gd name="T15" fmla="*/ 0 h 71"/>
                <a:gd name="T16" fmla="*/ 1 w 70"/>
                <a:gd name="T17" fmla="*/ 0 h 71"/>
                <a:gd name="T18" fmla="*/ 1 w 70"/>
                <a:gd name="T19" fmla="*/ 0 h 71"/>
                <a:gd name="T20" fmla="*/ 1 w 70"/>
                <a:gd name="T21" fmla="*/ 0 h 71"/>
                <a:gd name="T22" fmla="*/ 1 w 70"/>
                <a:gd name="T23" fmla="*/ 0 h 71"/>
                <a:gd name="T24" fmla="*/ 1 w 70"/>
                <a:gd name="T25" fmla="*/ 0 h 71"/>
                <a:gd name="T26" fmla="*/ 1 w 70"/>
                <a:gd name="T27" fmla="*/ 0 h 71"/>
                <a:gd name="T28" fmla="*/ 1 w 70"/>
                <a:gd name="T29" fmla="*/ 0 h 71"/>
                <a:gd name="T30" fmla="*/ 1 w 70"/>
                <a:gd name="T31" fmla="*/ 0 h 71"/>
                <a:gd name="T32" fmla="*/ 1 w 70"/>
                <a:gd name="T33" fmla="*/ 0 h 71"/>
                <a:gd name="T34" fmla="*/ 1 w 70"/>
                <a:gd name="T35" fmla="*/ 0 h 71"/>
                <a:gd name="T36" fmla="*/ 1 w 70"/>
                <a:gd name="T37" fmla="*/ 0 h 71"/>
                <a:gd name="T38" fmla="*/ 1 w 70"/>
                <a:gd name="T39" fmla="*/ 0 h 71"/>
                <a:gd name="T40" fmla="*/ 1 w 70"/>
                <a:gd name="T41" fmla="*/ 0 h 71"/>
                <a:gd name="T42" fmla="*/ 1 w 70"/>
                <a:gd name="T43" fmla="*/ 0 h 71"/>
                <a:gd name="T44" fmla="*/ 1 w 70"/>
                <a:gd name="T45" fmla="*/ 0 h 71"/>
                <a:gd name="T46" fmla="*/ 1 w 70"/>
                <a:gd name="T47" fmla="*/ 0 h 71"/>
                <a:gd name="T48" fmla="*/ 1 w 70"/>
                <a:gd name="T49" fmla="*/ 0 h 71"/>
                <a:gd name="T50" fmla="*/ 1 w 70"/>
                <a:gd name="T51" fmla="*/ 0 h 71"/>
                <a:gd name="T52" fmla="*/ 1 w 70"/>
                <a:gd name="T53" fmla="*/ 0 h 71"/>
                <a:gd name="T54" fmla="*/ 0 w 70"/>
                <a:gd name="T55" fmla="*/ 0 h 71"/>
                <a:gd name="T56" fmla="*/ 1 w 70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0" h="71">
                  <a:moveTo>
                    <a:pt x="1" y="0"/>
                  </a:moveTo>
                  <a:lnTo>
                    <a:pt x="14" y="2"/>
                  </a:lnTo>
                  <a:lnTo>
                    <a:pt x="21" y="3"/>
                  </a:lnTo>
                  <a:lnTo>
                    <a:pt x="27" y="5"/>
                  </a:lnTo>
                  <a:lnTo>
                    <a:pt x="33" y="8"/>
                  </a:lnTo>
                  <a:lnTo>
                    <a:pt x="40" y="13"/>
                  </a:lnTo>
                  <a:lnTo>
                    <a:pt x="49" y="20"/>
                  </a:lnTo>
                  <a:lnTo>
                    <a:pt x="53" y="25"/>
                  </a:lnTo>
                  <a:lnTo>
                    <a:pt x="58" y="31"/>
                  </a:lnTo>
                  <a:lnTo>
                    <a:pt x="61" y="37"/>
                  </a:lnTo>
                  <a:lnTo>
                    <a:pt x="64" y="43"/>
                  </a:lnTo>
                  <a:lnTo>
                    <a:pt x="69" y="55"/>
                  </a:lnTo>
                  <a:lnTo>
                    <a:pt x="70" y="63"/>
                  </a:lnTo>
                  <a:lnTo>
                    <a:pt x="70" y="69"/>
                  </a:lnTo>
                  <a:lnTo>
                    <a:pt x="56" y="71"/>
                  </a:lnTo>
                  <a:lnTo>
                    <a:pt x="56" y="65"/>
                  </a:lnTo>
                  <a:lnTo>
                    <a:pt x="56" y="58"/>
                  </a:lnTo>
                  <a:lnTo>
                    <a:pt x="52" y="48"/>
                  </a:lnTo>
                  <a:lnTo>
                    <a:pt x="50" y="43"/>
                  </a:lnTo>
                  <a:lnTo>
                    <a:pt x="47" y="39"/>
                  </a:lnTo>
                  <a:lnTo>
                    <a:pt x="44" y="34"/>
                  </a:lnTo>
                  <a:lnTo>
                    <a:pt x="40" y="29"/>
                  </a:lnTo>
                  <a:lnTo>
                    <a:pt x="32" y="23"/>
                  </a:lnTo>
                  <a:lnTo>
                    <a:pt x="27" y="20"/>
                  </a:lnTo>
                  <a:lnTo>
                    <a:pt x="21" y="17"/>
                  </a:lnTo>
                  <a:lnTo>
                    <a:pt x="17" y="16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44" name="Freeform 111"/>
            <p:cNvSpPr>
              <a:spLocks/>
            </p:cNvSpPr>
            <p:nvPr/>
          </p:nvSpPr>
          <p:spPr bwMode="auto">
            <a:xfrm>
              <a:off x="3149" y="2196"/>
              <a:ext cx="3" cy="8"/>
            </a:xfrm>
            <a:custGeom>
              <a:avLst/>
              <a:gdLst>
                <a:gd name="T0" fmla="*/ 0 w 1"/>
                <a:gd name="T1" fmla="*/ 0 h 14"/>
                <a:gd name="T2" fmla="*/ 1 w 1"/>
                <a:gd name="T3" fmla="*/ 0 h 14"/>
                <a:gd name="T4" fmla="*/ 0 w 1"/>
                <a:gd name="T5" fmla="*/ 1 h 14"/>
                <a:gd name="T6" fmla="*/ 0 w 1"/>
                <a:gd name="T7" fmla="*/ 0 h 1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4">
                  <a:moveTo>
                    <a:pt x="0" y="0"/>
                  </a:moveTo>
                  <a:lnTo>
                    <a:pt x="1" y="0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45" name="Freeform 112"/>
            <p:cNvSpPr>
              <a:spLocks/>
            </p:cNvSpPr>
            <p:nvPr/>
          </p:nvSpPr>
          <p:spPr bwMode="auto">
            <a:xfrm>
              <a:off x="3149" y="2233"/>
              <a:ext cx="36" cy="34"/>
            </a:xfrm>
            <a:custGeom>
              <a:avLst/>
              <a:gdLst>
                <a:gd name="T0" fmla="*/ 1 w 72"/>
                <a:gd name="T1" fmla="*/ 0 h 71"/>
                <a:gd name="T2" fmla="*/ 1 w 72"/>
                <a:gd name="T3" fmla="*/ 0 h 71"/>
                <a:gd name="T4" fmla="*/ 1 w 72"/>
                <a:gd name="T5" fmla="*/ 0 h 71"/>
                <a:gd name="T6" fmla="*/ 1 w 72"/>
                <a:gd name="T7" fmla="*/ 0 h 71"/>
                <a:gd name="T8" fmla="*/ 1 w 72"/>
                <a:gd name="T9" fmla="*/ 0 h 71"/>
                <a:gd name="T10" fmla="*/ 1 w 72"/>
                <a:gd name="T11" fmla="*/ 0 h 71"/>
                <a:gd name="T12" fmla="*/ 1 w 72"/>
                <a:gd name="T13" fmla="*/ 0 h 71"/>
                <a:gd name="T14" fmla="*/ 1 w 72"/>
                <a:gd name="T15" fmla="*/ 0 h 71"/>
                <a:gd name="T16" fmla="*/ 1 w 72"/>
                <a:gd name="T17" fmla="*/ 0 h 71"/>
                <a:gd name="T18" fmla="*/ 1 w 72"/>
                <a:gd name="T19" fmla="*/ 0 h 71"/>
                <a:gd name="T20" fmla="*/ 1 w 72"/>
                <a:gd name="T21" fmla="*/ 0 h 71"/>
                <a:gd name="T22" fmla="*/ 1 w 72"/>
                <a:gd name="T23" fmla="*/ 0 h 71"/>
                <a:gd name="T24" fmla="*/ 1 w 72"/>
                <a:gd name="T25" fmla="*/ 0 h 71"/>
                <a:gd name="T26" fmla="*/ 0 w 72"/>
                <a:gd name="T27" fmla="*/ 0 h 71"/>
                <a:gd name="T28" fmla="*/ 1 w 72"/>
                <a:gd name="T29" fmla="*/ 0 h 71"/>
                <a:gd name="T30" fmla="*/ 1 w 72"/>
                <a:gd name="T31" fmla="*/ 0 h 71"/>
                <a:gd name="T32" fmla="*/ 1 w 72"/>
                <a:gd name="T33" fmla="*/ 0 h 71"/>
                <a:gd name="T34" fmla="*/ 1 w 72"/>
                <a:gd name="T35" fmla="*/ 0 h 71"/>
                <a:gd name="T36" fmla="*/ 1 w 72"/>
                <a:gd name="T37" fmla="*/ 0 h 71"/>
                <a:gd name="T38" fmla="*/ 1 w 72"/>
                <a:gd name="T39" fmla="*/ 0 h 71"/>
                <a:gd name="T40" fmla="*/ 1 w 72"/>
                <a:gd name="T41" fmla="*/ 0 h 71"/>
                <a:gd name="T42" fmla="*/ 1 w 72"/>
                <a:gd name="T43" fmla="*/ 0 h 71"/>
                <a:gd name="T44" fmla="*/ 1 w 72"/>
                <a:gd name="T45" fmla="*/ 0 h 71"/>
                <a:gd name="T46" fmla="*/ 1 w 72"/>
                <a:gd name="T47" fmla="*/ 0 h 71"/>
                <a:gd name="T48" fmla="*/ 1 w 72"/>
                <a:gd name="T49" fmla="*/ 0 h 71"/>
                <a:gd name="T50" fmla="*/ 1 w 72"/>
                <a:gd name="T51" fmla="*/ 0 h 71"/>
                <a:gd name="T52" fmla="*/ 1 w 72"/>
                <a:gd name="T53" fmla="*/ 0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72" h="71">
                  <a:moveTo>
                    <a:pt x="72" y="2"/>
                  </a:moveTo>
                  <a:lnTo>
                    <a:pt x="71" y="14"/>
                  </a:lnTo>
                  <a:lnTo>
                    <a:pt x="69" y="22"/>
                  </a:lnTo>
                  <a:lnTo>
                    <a:pt x="66" y="28"/>
                  </a:lnTo>
                  <a:lnTo>
                    <a:pt x="63" y="34"/>
                  </a:lnTo>
                  <a:lnTo>
                    <a:pt x="60" y="41"/>
                  </a:lnTo>
                  <a:lnTo>
                    <a:pt x="52" y="51"/>
                  </a:lnTo>
                  <a:lnTo>
                    <a:pt x="46" y="55"/>
                  </a:lnTo>
                  <a:lnTo>
                    <a:pt x="42" y="60"/>
                  </a:lnTo>
                  <a:lnTo>
                    <a:pt x="35" y="63"/>
                  </a:lnTo>
                  <a:lnTo>
                    <a:pt x="29" y="66"/>
                  </a:lnTo>
                  <a:lnTo>
                    <a:pt x="16" y="71"/>
                  </a:lnTo>
                  <a:lnTo>
                    <a:pt x="3" y="71"/>
                  </a:lnTo>
                  <a:lnTo>
                    <a:pt x="0" y="58"/>
                  </a:lnTo>
                  <a:lnTo>
                    <a:pt x="13" y="57"/>
                  </a:lnTo>
                  <a:lnTo>
                    <a:pt x="23" y="54"/>
                  </a:lnTo>
                  <a:lnTo>
                    <a:pt x="29" y="51"/>
                  </a:lnTo>
                  <a:lnTo>
                    <a:pt x="34" y="49"/>
                  </a:lnTo>
                  <a:lnTo>
                    <a:pt x="39" y="45"/>
                  </a:lnTo>
                  <a:lnTo>
                    <a:pt x="42" y="41"/>
                  </a:lnTo>
                  <a:lnTo>
                    <a:pt x="49" y="32"/>
                  </a:lnTo>
                  <a:lnTo>
                    <a:pt x="52" y="28"/>
                  </a:lnTo>
                  <a:lnTo>
                    <a:pt x="54" y="23"/>
                  </a:lnTo>
                  <a:lnTo>
                    <a:pt x="57" y="19"/>
                  </a:lnTo>
                  <a:lnTo>
                    <a:pt x="57" y="12"/>
                  </a:lnTo>
                  <a:lnTo>
                    <a:pt x="58" y="0"/>
                  </a:lnTo>
                  <a:lnTo>
                    <a:pt x="72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46" name="Freeform 113"/>
            <p:cNvSpPr>
              <a:spLocks/>
            </p:cNvSpPr>
            <p:nvPr/>
          </p:nvSpPr>
          <p:spPr bwMode="auto">
            <a:xfrm>
              <a:off x="3179" y="2233"/>
              <a:ext cx="9" cy="0"/>
            </a:xfrm>
            <a:custGeom>
              <a:avLst/>
              <a:gdLst>
                <a:gd name="T0" fmla="*/ 1 w 14"/>
                <a:gd name="T1" fmla="*/ 0 h 2"/>
                <a:gd name="T2" fmla="*/ 1 w 14"/>
                <a:gd name="T3" fmla="*/ 1 h 2"/>
                <a:gd name="T4" fmla="*/ 0 w 14"/>
                <a:gd name="T5" fmla="*/ 0 h 2"/>
                <a:gd name="T6" fmla="*/ 0 w 14"/>
                <a:gd name="T7" fmla="*/ 1 h 2"/>
                <a:gd name="T8" fmla="*/ 1 w 1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2">
                  <a:moveTo>
                    <a:pt x="14" y="0"/>
                  </a:moveTo>
                  <a:lnTo>
                    <a:pt x="1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47" name="Freeform 114"/>
            <p:cNvSpPr>
              <a:spLocks/>
            </p:cNvSpPr>
            <p:nvPr/>
          </p:nvSpPr>
          <p:spPr bwMode="auto">
            <a:xfrm>
              <a:off x="3114" y="2233"/>
              <a:ext cx="39" cy="34"/>
            </a:xfrm>
            <a:custGeom>
              <a:avLst/>
              <a:gdLst>
                <a:gd name="T0" fmla="*/ 1 w 71"/>
                <a:gd name="T1" fmla="*/ 0 h 71"/>
                <a:gd name="T2" fmla="*/ 1 w 71"/>
                <a:gd name="T3" fmla="*/ 0 h 71"/>
                <a:gd name="T4" fmla="*/ 1 w 71"/>
                <a:gd name="T5" fmla="*/ 0 h 71"/>
                <a:gd name="T6" fmla="*/ 1 w 71"/>
                <a:gd name="T7" fmla="*/ 0 h 71"/>
                <a:gd name="T8" fmla="*/ 1 w 71"/>
                <a:gd name="T9" fmla="*/ 0 h 71"/>
                <a:gd name="T10" fmla="*/ 1 w 71"/>
                <a:gd name="T11" fmla="*/ 0 h 71"/>
                <a:gd name="T12" fmla="*/ 1 w 71"/>
                <a:gd name="T13" fmla="*/ 0 h 71"/>
                <a:gd name="T14" fmla="*/ 1 w 71"/>
                <a:gd name="T15" fmla="*/ 0 h 71"/>
                <a:gd name="T16" fmla="*/ 1 w 71"/>
                <a:gd name="T17" fmla="*/ 0 h 71"/>
                <a:gd name="T18" fmla="*/ 1 w 71"/>
                <a:gd name="T19" fmla="*/ 0 h 71"/>
                <a:gd name="T20" fmla="*/ 1 w 71"/>
                <a:gd name="T21" fmla="*/ 0 h 71"/>
                <a:gd name="T22" fmla="*/ 1 w 71"/>
                <a:gd name="T23" fmla="*/ 0 h 71"/>
                <a:gd name="T24" fmla="*/ 0 w 71"/>
                <a:gd name="T25" fmla="*/ 0 h 71"/>
                <a:gd name="T26" fmla="*/ 0 w 71"/>
                <a:gd name="T27" fmla="*/ 0 h 71"/>
                <a:gd name="T28" fmla="*/ 1 w 71"/>
                <a:gd name="T29" fmla="*/ 0 h 71"/>
                <a:gd name="T30" fmla="*/ 1 w 71"/>
                <a:gd name="T31" fmla="*/ 0 h 71"/>
                <a:gd name="T32" fmla="*/ 1 w 71"/>
                <a:gd name="T33" fmla="*/ 0 h 71"/>
                <a:gd name="T34" fmla="*/ 1 w 71"/>
                <a:gd name="T35" fmla="*/ 0 h 71"/>
                <a:gd name="T36" fmla="*/ 1 w 71"/>
                <a:gd name="T37" fmla="*/ 0 h 71"/>
                <a:gd name="T38" fmla="*/ 1 w 71"/>
                <a:gd name="T39" fmla="*/ 0 h 71"/>
                <a:gd name="T40" fmla="*/ 1 w 71"/>
                <a:gd name="T41" fmla="*/ 0 h 71"/>
                <a:gd name="T42" fmla="*/ 1 w 71"/>
                <a:gd name="T43" fmla="*/ 0 h 71"/>
                <a:gd name="T44" fmla="*/ 1 w 71"/>
                <a:gd name="T45" fmla="*/ 0 h 71"/>
                <a:gd name="T46" fmla="*/ 1 w 71"/>
                <a:gd name="T47" fmla="*/ 0 h 71"/>
                <a:gd name="T48" fmla="*/ 1 w 71"/>
                <a:gd name="T49" fmla="*/ 0 h 71"/>
                <a:gd name="T50" fmla="*/ 1 w 71"/>
                <a:gd name="T51" fmla="*/ 0 h 71"/>
                <a:gd name="T52" fmla="*/ 1 w 71"/>
                <a:gd name="T53" fmla="*/ 0 h 71"/>
                <a:gd name="T54" fmla="*/ 1 w 71"/>
                <a:gd name="T55" fmla="*/ 0 h 71"/>
                <a:gd name="T56" fmla="*/ 1 w 71"/>
                <a:gd name="T57" fmla="*/ 0 h 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71">
                  <a:moveTo>
                    <a:pt x="70" y="71"/>
                  </a:moveTo>
                  <a:lnTo>
                    <a:pt x="56" y="71"/>
                  </a:lnTo>
                  <a:lnTo>
                    <a:pt x="48" y="69"/>
                  </a:lnTo>
                  <a:lnTo>
                    <a:pt x="42" y="66"/>
                  </a:lnTo>
                  <a:lnTo>
                    <a:pt x="36" y="63"/>
                  </a:lnTo>
                  <a:lnTo>
                    <a:pt x="30" y="60"/>
                  </a:lnTo>
                  <a:lnTo>
                    <a:pt x="21" y="51"/>
                  </a:lnTo>
                  <a:lnTo>
                    <a:pt x="16" y="46"/>
                  </a:lnTo>
                  <a:lnTo>
                    <a:pt x="12" y="40"/>
                  </a:lnTo>
                  <a:lnTo>
                    <a:pt x="9" y="35"/>
                  </a:lnTo>
                  <a:lnTo>
                    <a:pt x="6" y="28"/>
                  </a:lnTo>
                  <a:lnTo>
                    <a:pt x="1" y="15"/>
                  </a:lnTo>
                  <a:lnTo>
                    <a:pt x="0" y="8"/>
                  </a:lnTo>
                  <a:lnTo>
                    <a:pt x="0" y="2"/>
                  </a:lnTo>
                  <a:lnTo>
                    <a:pt x="13" y="0"/>
                  </a:lnTo>
                  <a:lnTo>
                    <a:pt x="13" y="6"/>
                  </a:lnTo>
                  <a:lnTo>
                    <a:pt x="13" y="12"/>
                  </a:lnTo>
                  <a:lnTo>
                    <a:pt x="18" y="23"/>
                  </a:lnTo>
                  <a:lnTo>
                    <a:pt x="19" y="28"/>
                  </a:lnTo>
                  <a:lnTo>
                    <a:pt x="23" y="32"/>
                  </a:lnTo>
                  <a:lnTo>
                    <a:pt x="26" y="37"/>
                  </a:lnTo>
                  <a:lnTo>
                    <a:pt x="30" y="41"/>
                  </a:lnTo>
                  <a:lnTo>
                    <a:pt x="38" y="49"/>
                  </a:lnTo>
                  <a:lnTo>
                    <a:pt x="42" y="51"/>
                  </a:lnTo>
                  <a:lnTo>
                    <a:pt x="48" y="54"/>
                  </a:lnTo>
                  <a:lnTo>
                    <a:pt x="53" y="55"/>
                  </a:lnTo>
                  <a:lnTo>
                    <a:pt x="58" y="57"/>
                  </a:lnTo>
                  <a:lnTo>
                    <a:pt x="71" y="58"/>
                  </a:lnTo>
                  <a:lnTo>
                    <a:pt x="70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48" name="Freeform 115"/>
            <p:cNvSpPr>
              <a:spLocks/>
            </p:cNvSpPr>
            <p:nvPr/>
          </p:nvSpPr>
          <p:spPr bwMode="auto">
            <a:xfrm>
              <a:off x="3149" y="2260"/>
              <a:ext cx="3" cy="7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" h="13">
                  <a:moveTo>
                    <a:pt x="3" y="13"/>
                  </a:moveTo>
                  <a:lnTo>
                    <a:pt x="2" y="1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49" name="Freeform 116"/>
            <p:cNvSpPr>
              <a:spLocks/>
            </p:cNvSpPr>
            <p:nvPr/>
          </p:nvSpPr>
          <p:spPr bwMode="auto">
            <a:xfrm>
              <a:off x="3114" y="2233"/>
              <a:ext cx="3" cy="0"/>
            </a:xfrm>
            <a:custGeom>
              <a:avLst/>
              <a:gdLst>
                <a:gd name="T0" fmla="*/ 0 w 13"/>
                <a:gd name="T1" fmla="*/ 1 h 2"/>
                <a:gd name="T2" fmla="*/ 0 w 13"/>
                <a:gd name="T3" fmla="*/ 0 h 2"/>
                <a:gd name="T4" fmla="*/ 1 w 13"/>
                <a:gd name="T5" fmla="*/ 1 h 2"/>
                <a:gd name="T6" fmla="*/ 1 w 13"/>
                <a:gd name="T7" fmla="*/ 0 h 2"/>
                <a:gd name="T8" fmla="*/ 0 w 13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">
                  <a:moveTo>
                    <a:pt x="0" y="2"/>
                  </a:moveTo>
                  <a:lnTo>
                    <a:pt x="0" y="0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  <p:sp>
          <p:nvSpPr>
            <p:cNvPr id="750" name="Rectangle 117"/>
            <p:cNvSpPr>
              <a:spLocks noChangeArrowheads="1"/>
            </p:cNvSpPr>
            <p:nvPr/>
          </p:nvSpPr>
          <p:spPr bwMode="auto">
            <a:xfrm>
              <a:off x="2900" y="2124"/>
              <a:ext cx="59" cy="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/>
            <a:lstStyle>
              <a:lvl1pPr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1pPr>
              <a:lvl2pPr marL="742950" indent="-28575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2pPr>
              <a:lvl3pPr marL="11430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3pPr>
              <a:lvl4pPr marL="16002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4pPr>
              <a:lvl5pPr marL="2057400" indent="-228600"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chemeClr val="tx1"/>
                  </a:solidFill>
                  <a:latin typeface="Arial" pitchFamily="34" charset="0"/>
                  <a:ea typeface="平成角ゴシック W5" charset="-128"/>
                </a:defRPr>
              </a:lvl9pPr>
            </a:lstStyle>
            <a:p>
              <a:pPr defTabSz="8794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223" kern="0" dirty="0">
                <a:solidFill>
                  <a:srgbClr val="000000"/>
                </a:solidFill>
                <a:latin typeface="Meiryo UI"/>
                <a:ea typeface="Meiryo UI"/>
              </a:endParaRPr>
            </a:p>
          </p:txBody>
        </p:sp>
      </p:grpSp>
      <p:sp>
        <p:nvSpPr>
          <p:cNvPr id="751" name="Text Box 142"/>
          <p:cNvSpPr txBox="1">
            <a:spLocks noChangeArrowheads="1"/>
          </p:cNvSpPr>
          <p:nvPr/>
        </p:nvSpPr>
        <p:spPr bwMode="auto">
          <a:xfrm>
            <a:off x="7245308" y="2892309"/>
            <a:ext cx="1062123" cy="349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97" tIns="35998" rIns="71997" bIns="35998">
            <a:spAutoFit/>
          </a:bodyPr>
          <a:lstStyle/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Warehouse</a:t>
            </a:r>
          </a:p>
          <a:p>
            <a:pPr algn="ctr" defTabSz="816074">
              <a:buClr>
                <a:srgbClr val="DDDDDD"/>
              </a:buClr>
            </a:pPr>
            <a:r>
              <a:rPr lang="en-US" altLang="ja-JP" sz="900" dirty="0">
                <a:solidFill>
                  <a:schemeClr val="accent4"/>
                </a:solidFill>
                <a:latin typeface="Meiryo UI"/>
                <a:ea typeface="Meiryo UI"/>
                <a:cs typeface="メイリオ"/>
              </a:rPr>
              <a:t>(Stock)</a:t>
            </a:r>
            <a:endParaRPr lang="ja-JP" altLang="en-US" sz="900" dirty="0">
              <a:solidFill>
                <a:schemeClr val="accent4"/>
              </a:solidFill>
              <a:latin typeface="Meiryo UI"/>
              <a:ea typeface="Meiryo UI"/>
              <a:cs typeface="メイリオ"/>
            </a:endParaRPr>
          </a:p>
        </p:txBody>
      </p:sp>
      <p:sp>
        <p:nvSpPr>
          <p:cNvPr id="770" name="正方形/長方形 87">
            <a:extLst>
              <a:ext uri="{FF2B5EF4-FFF2-40B4-BE49-F238E27FC236}">
                <a16:creationId xmlns:a16="http://schemas.microsoft.com/office/drawing/2014/main" id="{BDE2C996-6BDB-470F-9C29-880151F584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198" y="5410674"/>
            <a:ext cx="523195" cy="276995"/>
          </a:xfrm>
          <a:prstGeom prst="rect">
            <a:avLst/>
          </a:prstGeom>
          <a:solidFill>
            <a:schemeClr val="bg1"/>
          </a:solidFill>
          <a:ln w="12700">
            <a:solidFill>
              <a:srgbClr val="FFFF00"/>
            </a:solidFill>
            <a:miter lim="800000"/>
            <a:headEnd/>
            <a:tailEnd/>
          </a:ln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en-US" altLang="ja-JP" sz="1154" b="1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T</a:t>
            </a:r>
            <a:endParaRPr lang="ja-JP" altLang="en-US" sz="1154" b="1" dirty="0">
              <a:ln>
                <a:solidFill>
                  <a:srgbClr val="FF0000"/>
                </a:solidFill>
              </a:ln>
              <a:solidFill>
                <a:schemeClr val="accent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71" name="正方形/長方形 87">
            <a:extLst>
              <a:ext uri="{FF2B5EF4-FFF2-40B4-BE49-F238E27FC236}">
                <a16:creationId xmlns:a16="http://schemas.microsoft.com/office/drawing/2014/main" id="{620ECF96-F2F5-471A-9E24-B0F5374C4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198" y="4744386"/>
            <a:ext cx="523195" cy="276995"/>
          </a:xfrm>
          <a:prstGeom prst="rect">
            <a:avLst/>
          </a:prstGeom>
          <a:solidFill>
            <a:schemeClr val="bg1"/>
          </a:solidFill>
          <a:ln w="12700">
            <a:solidFill>
              <a:srgbClr val="FFC000"/>
            </a:solidFill>
            <a:miter lim="800000"/>
            <a:headEnd/>
            <a:tailEnd/>
          </a:ln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en-US" altLang="ja-JP" sz="1154" b="1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CS</a:t>
            </a:r>
            <a:endParaRPr lang="ja-JP" altLang="en-US" sz="1154" b="1" dirty="0">
              <a:ln>
                <a:solidFill>
                  <a:srgbClr val="FF0000"/>
                </a:solidFill>
              </a:ln>
              <a:solidFill>
                <a:schemeClr val="accent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74" name="正方形/長方形 87">
            <a:extLst>
              <a:ext uri="{FF2B5EF4-FFF2-40B4-BE49-F238E27FC236}">
                <a16:creationId xmlns:a16="http://schemas.microsoft.com/office/drawing/2014/main" id="{11721494-BB8B-4125-B3E9-92C3853B2A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198" y="4078099"/>
            <a:ext cx="523195" cy="276995"/>
          </a:xfrm>
          <a:prstGeom prst="rect">
            <a:avLst/>
          </a:prstGeom>
          <a:solidFill>
            <a:schemeClr val="bg1"/>
          </a:solidFill>
          <a:ln w="12700">
            <a:solidFill>
              <a:srgbClr val="FF0000"/>
            </a:solidFill>
            <a:miter lim="800000"/>
            <a:headEnd/>
            <a:tailEnd/>
          </a:ln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en-US" altLang="ja-JP" sz="1154" b="1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C</a:t>
            </a:r>
            <a:endParaRPr lang="ja-JP" altLang="en-US" sz="1154" b="1" dirty="0">
              <a:solidFill>
                <a:schemeClr val="accent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75" name="コンテンツ プレースホルダ 752"/>
          <p:cNvSpPr txBox="1">
            <a:spLocks/>
          </p:cNvSpPr>
          <p:nvPr/>
        </p:nvSpPr>
        <p:spPr bwMode="auto">
          <a:xfrm>
            <a:off x="834284" y="1095675"/>
            <a:ext cx="9543528" cy="257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3000"/>
              </a:lnSpc>
              <a:spcBef>
                <a:spcPts val="27"/>
              </a:spcBef>
              <a:spcAft>
                <a:spcPct val="0"/>
              </a:spcAft>
              <a:buFont typeface="Arial" panose="020B0604020202020204" pitchFamily="34" charset="0"/>
              <a:defRPr kumimoji="1" sz="1835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8442" indent="-248442" algn="l" rtl="0" eaLnBrk="0" fontAlgn="base" hangingPunct="0">
              <a:lnSpc>
                <a:spcPct val="93000"/>
              </a:lnSpc>
              <a:spcBef>
                <a:spcPts val="129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157" indent="-251869" algn="l" rtl="0" eaLnBrk="0" fontAlgn="base" hangingPunct="0">
              <a:lnSpc>
                <a:spcPct val="93000"/>
              </a:lnSpc>
              <a:spcBef>
                <a:spcPts val="41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2178" indent="-215887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umimoji="1"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17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umimoji="1" sz="1835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79470">
              <a:spcBef>
                <a:spcPts val="26"/>
              </a:spcBef>
            </a:pPr>
            <a:r>
              <a:rPr lang="en-US" altLang="ja-JP" sz="1800" dirty="0">
                <a:latin typeface="Meiryo UI"/>
                <a:ea typeface="Meiryo UI"/>
              </a:rPr>
              <a:t>Total solution for supply chain</a:t>
            </a:r>
            <a:endParaRPr lang="ja-JP" altLang="en-US" sz="1800" dirty="0">
              <a:latin typeface="Meiryo UI"/>
              <a:ea typeface="Meiryo UI"/>
            </a:endParaRPr>
          </a:p>
        </p:txBody>
      </p:sp>
      <p:sp>
        <p:nvSpPr>
          <p:cNvPr id="439" name="正方形/長方形 87">
            <a:extLst>
              <a:ext uri="{FF2B5EF4-FFF2-40B4-BE49-F238E27FC236}">
                <a16:creationId xmlns:a16="http://schemas.microsoft.com/office/drawing/2014/main" id="{16869721-0CE0-4C88-8DCD-9C5D22CD32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9744" y="4411242"/>
            <a:ext cx="8498361" cy="276995"/>
          </a:xfrm>
          <a:prstGeom prst="rect">
            <a:avLst/>
          </a:prstGeom>
          <a:solidFill>
            <a:schemeClr val="bg1"/>
          </a:solidFill>
          <a:ln w="12700">
            <a:solidFill>
              <a:srgbClr val="5EA8DD"/>
            </a:solidFill>
            <a:miter lim="800000"/>
            <a:headEnd/>
            <a:tailEnd/>
          </a:ln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defTabSz="873362">
              <a:spcBef>
                <a:spcPts val="283"/>
              </a:spcBef>
              <a:buClr>
                <a:srgbClr val="DDDDDD"/>
              </a:buClr>
              <a:buNone/>
            </a:pPr>
            <a:endParaRPr lang="ja-JP" altLang="en-US" sz="1319" b="1" dirty="0">
              <a:ln>
                <a:solidFill>
                  <a:srgbClr val="FF0000"/>
                </a:solidFill>
              </a:ln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50" name="正方形/長方形 87">
            <a:extLst>
              <a:ext uri="{FF2B5EF4-FFF2-40B4-BE49-F238E27FC236}">
                <a16:creationId xmlns:a16="http://schemas.microsoft.com/office/drawing/2014/main" id="{16869721-0CE0-4C88-8DCD-9C5D22CD32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198" y="4411242"/>
            <a:ext cx="523195" cy="276995"/>
          </a:xfrm>
          <a:prstGeom prst="rect">
            <a:avLst/>
          </a:prstGeom>
          <a:solidFill>
            <a:schemeClr val="bg1"/>
          </a:solidFill>
          <a:ln w="12700">
            <a:solidFill>
              <a:srgbClr val="5EA8DD"/>
            </a:solidFill>
            <a:miter lim="800000"/>
            <a:headEnd/>
            <a:tailEnd/>
          </a:ln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en-US" altLang="ja-JP" sz="1154" b="1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E</a:t>
            </a:r>
            <a:endParaRPr lang="ja-JP" altLang="en-US" sz="1154" b="1" dirty="0">
              <a:ln>
                <a:solidFill>
                  <a:srgbClr val="FF0000"/>
                </a:solidFill>
              </a:ln>
              <a:solidFill>
                <a:schemeClr val="accent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90" name="正方形/長方形 87">
            <a:extLst>
              <a:ext uri="{FF2B5EF4-FFF2-40B4-BE49-F238E27FC236}">
                <a16:creationId xmlns:a16="http://schemas.microsoft.com/office/drawing/2014/main" id="{81C2A748-20DA-48BB-9859-5ADE7A485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9744" y="5077530"/>
            <a:ext cx="8498361" cy="276995"/>
          </a:xfrm>
          <a:prstGeom prst="rect">
            <a:avLst/>
          </a:prstGeom>
          <a:solidFill>
            <a:schemeClr val="bg1"/>
          </a:solidFill>
          <a:ln w="12700">
            <a:solidFill>
              <a:srgbClr val="00B050"/>
            </a:solidFill>
            <a:miter lim="800000"/>
            <a:headEnd/>
            <a:tailEnd/>
          </a:ln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ja-JP" altLang="en-US" sz="1319" b="1" dirty="0">
                <a:ln>
                  <a:solidFill>
                    <a:srgbClr val="FF0000"/>
                  </a:solidFill>
                </a:ln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</a:p>
        </p:txBody>
      </p:sp>
      <p:sp>
        <p:nvSpPr>
          <p:cNvPr id="491" name="正方形/長方形 87">
            <a:extLst>
              <a:ext uri="{FF2B5EF4-FFF2-40B4-BE49-F238E27FC236}">
                <a16:creationId xmlns:a16="http://schemas.microsoft.com/office/drawing/2014/main" id="{81C2A748-20DA-48BB-9859-5ADE7A485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198" y="5077530"/>
            <a:ext cx="523195" cy="276995"/>
          </a:xfrm>
          <a:prstGeom prst="rect">
            <a:avLst/>
          </a:prstGeom>
          <a:solidFill>
            <a:schemeClr val="bg1"/>
          </a:solidFill>
          <a:ln w="12700">
            <a:solidFill>
              <a:srgbClr val="00B050"/>
            </a:solidFill>
            <a:miter lim="800000"/>
            <a:headEnd/>
            <a:tailEnd/>
          </a:ln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en-US" altLang="ja-JP" sz="1154" b="1" dirty="0">
                <a:solidFill>
                  <a:schemeClr val="accent4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L</a:t>
            </a:r>
            <a:endParaRPr lang="ja-JP" altLang="en-US" sz="1154" b="1" dirty="0">
              <a:ln>
                <a:solidFill>
                  <a:srgbClr val="FF0000"/>
                </a:solidFill>
              </a:ln>
              <a:solidFill>
                <a:schemeClr val="accent4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25" name="Text Box 142"/>
          <p:cNvSpPr txBox="1">
            <a:spLocks noChangeArrowheads="1"/>
          </p:cNvSpPr>
          <p:nvPr/>
        </p:nvSpPr>
        <p:spPr bwMode="auto">
          <a:xfrm>
            <a:off x="1386951" y="3671105"/>
            <a:ext cx="8636953" cy="2140043"/>
          </a:xfrm>
          <a:prstGeom prst="rect">
            <a:avLst/>
          </a:prstGeom>
          <a:noFill/>
          <a:ln w="25400" cmpd="sng">
            <a:solidFill>
              <a:srgbClr val="C00000"/>
            </a:solidFill>
            <a:prstDash val="sysDot"/>
            <a:miter lim="800000"/>
            <a:headEnd/>
            <a:tailEnd/>
          </a:ln>
        </p:spPr>
        <p:txBody>
          <a:bodyPr wrap="square" lIns="73545" tIns="36772" rIns="73545" bIns="36772">
            <a:noAutofit/>
          </a:bodyPr>
          <a:lstStyle/>
          <a:p>
            <a:pPr algn="ctr" defTabSz="833664">
              <a:buClr>
                <a:srgbClr val="DDDDDD"/>
              </a:buClr>
            </a:pPr>
            <a:r>
              <a:rPr lang="en-US" altLang="ja-JP" sz="1539" b="1" dirty="0">
                <a:solidFill>
                  <a:srgbClr val="C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メイリオ" pitchFamily="50" charset="-128"/>
              </a:rPr>
              <a:t>MITSUI-SOKO Group covers whole supply chain logistics</a:t>
            </a:r>
          </a:p>
        </p:txBody>
      </p:sp>
      <p:sp>
        <p:nvSpPr>
          <p:cNvPr id="378" name="正方形/長方形 87">
            <a:extLst>
              <a:ext uri="{FF2B5EF4-FFF2-40B4-BE49-F238E27FC236}">
                <a16:creationId xmlns:a16="http://schemas.microsoft.com/office/drawing/2014/main" id="{597E8368-57B7-4790-8E07-404E32EC45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1681" y="4078099"/>
            <a:ext cx="4968809" cy="276995"/>
          </a:xfrm>
          <a:prstGeom prst="homePlate">
            <a:avLst/>
          </a:prstGeom>
          <a:solidFill>
            <a:srgbClr val="FFC000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endParaRPr lang="ja-JP" altLang="en-US" sz="1154" b="1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380" name="正方形/長方形 87">
            <a:extLst>
              <a:ext uri="{FF2B5EF4-FFF2-40B4-BE49-F238E27FC236}">
                <a16:creationId xmlns:a16="http://schemas.microsoft.com/office/drawing/2014/main" id="{10FEFF6D-F455-44C7-B640-96AA604EA9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9811" y="4744386"/>
            <a:ext cx="2577830" cy="276995"/>
          </a:xfrm>
          <a:prstGeom prst="homePlate">
            <a:avLst/>
          </a:prstGeom>
          <a:solidFill>
            <a:srgbClr val="FFC000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9470">
              <a:spcBef>
                <a:spcPts val="283"/>
              </a:spcBef>
              <a:spcAft>
                <a:spcPct val="0"/>
              </a:spcAft>
              <a:buClr>
                <a:srgbClr val="DDDDDD"/>
              </a:buClr>
              <a:buNone/>
            </a:pPr>
            <a:r>
              <a:rPr lang="en-US" altLang="ja-JP" sz="1154" b="1" dirty="0">
                <a:solidFill>
                  <a:schemeClr val="accent4"/>
                </a:solidFill>
                <a:latin typeface="Meiryo UI"/>
                <a:ea typeface="Meiryo UI"/>
              </a:rPr>
              <a:t>In-house logistics</a:t>
            </a:r>
            <a:endParaRPr lang="ja-JP" altLang="en-US" sz="1154" b="1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755" name="正方形/長方形 87">
            <a:extLst>
              <a:ext uri="{FF2B5EF4-FFF2-40B4-BE49-F238E27FC236}">
                <a16:creationId xmlns:a16="http://schemas.microsoft.com/office/drawing/2014/main" id="{F7803323-91E2-4A6E-A51D-B9155E206F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5662" y="5410674"/>
            <a:ext cx="405388" cy="276995"/>
          </a:xfrm>
          <a:prstGeom prst="homePlate">
            <a:avLst>
              <a:gd name="adj" fmla="val 27468"/>
            </a:avLst>
          </a:prstGeom>
          <a:solidFill>
            <a:srgbClr val="FFC000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en-US" altLang="ja-JP" sz="900" b="1" dirty="0">
                <a:solidFill>
                  <a:schemeClr val="accent4"/>
                </a:solidFill>
                <a:latin typeface="Meiryo UI"/>
                <a:ea typeface="Meiryo UI"/>
              </a:rPr>
              <a:t>Delivery</a:t>
            </a:r>
            <a:endParaRPr lang="ja-JP" altLang="en-US" sz="900" b="1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759" name="正方形/長方形 87">
            <a:extLst>
              <a:ext uri="{FF2B5EF4-FFF2-40B4-BE49-F238E27FC236}">
                <a16:creationId xmlns:a16="http://schemas.microsoft.com/office/drawing/2014/main" id="{968D0C4E-CA78-4FD4-B4D0-E0DBC0320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3028" y="4078099"/>
            <a:ext cx="1551206" cy="276995"/>
          </a:xfrm>
          <a:prstGeom prst="homePlate">
            <a:avLst/>
          </a:prstGeom>
          <a:solidFill>
            <a:srgbClr val="FFC000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en-US" altLang="ja-JP" sz="1154" b="1" dirty="0">
                <a:solidFill>
                  <a:schemeClr val="accent4"/>
                </a:solidFill>
                <a:latin typeface="Meiryo UI"/>
                <a:ea typeface="Meiryo UI"/>
              </a:rPr>
              <a:t>Storage</a:t>
            </a:r>
            <a:endParaRPr lang="ja-JP" altLang="en-US" sz="1154" b="1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760" name="正方形/長方形 87">
            <a:extLst>
              <a:ext uri="{FF2B5EF4-FFF2-40B4-BE49-F238E27FC236}">
                <a16:creationId xmlns:a16="http://schemas.microsoft.com/office/drawing/2014/main" id="{E2B55649-0EE6-4408-9737-E8605A00B2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9921" y="5410674"/>
            <a:ext cx="405388" cy="276995"/>
          </a:xfrm>
          <a:prstGeom prst="homePlate">
            <a:avLst>
              <a:gd name="adj" fmla="val 19958"/>
            </a:avLst>
          </a:prstGeom>
          <a:solidFill>
            <a:srgbClr val="FFC000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en-US" altLang="ja-JP" sz="900" b="1" dirty="0">
                <a:solidFill>
                  <a:schemeClr val="accent4"/>
                </a:solidFill>
                <a:latin typeface="Meiryo UI"/>
                <a:ea typeface="Meiryo UI"/>
              </a:rPr>
              <a:t>Delivery</a:t>
            </a:r>
            <a:endParaRPr lang="ja-JP" altLang="en-US" sz="900" b="1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761" name="正方形/長方形 87">
            <a:extLst>
              <a:ext uri="{FF2B5EF4-FFF2-40B4-BE49-F238E27FC236}">
                <a16:creationId xmlns:a16="http://schemas.microsoft.com/office/drawing/2014/main" id="{9B6EB038-AAF2-43F6-827F-1467050F8A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7520" y="5410674"/>
            <a:ext cx="405388" cy="276995"/>
          </a:xfrm>
          <a:prstGeom prst="homePlate">
            <a:avLst>
              <a:gd name="adj" fmla="val 32475"/>
            </a:avLst>
          </a:prstGeom>
          <a:solidFill>
            <a:srgbClr val="FFC000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en-US" altLang="ja-JP" sz="900" b="1" dirty="0">
                <a:solidFill>
                  <a:schemeClr val="accent4"/>
                </a:solidFill>
                <a:latin typeface="Meiryo UI"/>
                <a:ea typeface="Meiryo UI"/>
              </a:rPr>
              <a:t>Delivery</a:t>
            </a:r>
            <a:endParaRPr lang="ja-JP" altLang="en-US" sz="900" b="1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762" name="正方形/長方形 87">
            <a:extLst>
              <a:ext uri="{FF2B5EF4-FFF2-40B4-BE49-F238E27FC236}">
                <a16:creationId xmlns:a16="http://schemas.microsoft.com/office/drawing/2014/main" id="{9F21C288-F857-4537-9824-813F9442ED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66112" y="5410674"/>
            <a:ext cx="405388" cy="276995"/>
          </a:xfrm>
          <a:prstGeom prst="homePlate">
            <a:avLst>
              <a:gd name="adj" fmla="val 27468"/>
            </a:avLst>
          </a:prstGeom>
          <a:solidFill>
            <a:srgbClr val="FFC000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en-US" altLang="ja-JP" sz="900" b="1" dirty="0">
                <a:solidFill>
                  <a:schemeClr val="accent4"/>
                </a:solidFill>
                <a:latin typeface="Meiryo UI"/>
                <a:ea typeface="Meiryo UI"/>
              </a:rPr>
              <a:t>Delivery</a:t>
            </a:r>
            <a:endParaRPr lang="ja-JP" altLang="en-US" sz="900" b="1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757" name="正方形/長方形 87">
            <a:extLst>
              <a:ext uri="{FF2B5EF4-FFF2-40B4-BE49-F238E27FC236}">
                <a16:creationId xmlns:a16="http://schemas.microsoft.com/office/drawing/2014/main" id="{3BC84396-0223-4F1C-AA52-B32F4A4BE0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4257" y="5410674"/>
            <a:ext cx="405388" cy="276995"/>
          </a:xfrm>
          <a:prstGeom prst="homePlate">
            <a:avLst>
              <a:gd name="adj" fmla="val 27468"/>
            </a:avLst>
          </a:prstGeom>
          <a:solidFill>
            <a:srgbClr val="FFC000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en-US" altLang="ja-JP" sz="900" b="1" dirty="0">
                <a:solidFill>
                  <a:schemeClr val="accent4"/>
                </a:solidFill>
                <a:latin typeface="Meiryo UI"/>
                <a:ea typeface="Meiryo UI"/>
              </a:rPr>
              <a:t>Delivery</a:t>
            </a:r>
            <a:endParaRPr lang="ja-JP" altLang="en-US" sz="900" b="1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763" name="正方形/長方形 87">
            <a:extLst>
              <a:ext uri="{FF2B5EF4-FFF2-40B4-BE49-F238E27FC236}">
                <a16:creationId xmlns:a16="http://schemas.microsoft.com/office/drawing/2014/main" id="{1F3BBA89-B290-44ED-BB31-2ED18B81B4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8213" y="5410674"/>
            <a:ext cx="405388" cy="276995"/>
          </a:xfrm>
          <a:prstGeom prst="homePlate">
            <a:avLst>
              <a:gd name="adj" fmla="val 29972"/>
            </a:avLst>
          </a:prstGeom>
          <a:solidFill>
            <a:srgbClr val="FFC000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en-US" altLang="ja-JP" sz="900" b="1" dirty="0">
                <a:solidFill>
                  <a:schemeClr val="accent4"/>
                </a:solidFill>
                <a:latin typeface="Meiryo UI"/>
                <a:ea typeface="Meiryo UI"/>
              </a:rPr>
              <a:t>Delivery</a:t>
            </a:r>
            <a:endParaRPr lang="ja-JP" altLang="en-US" sz="900" b="1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423" name="テキスト ボックス 422"/>
          <p:cNvSpPr txBox="1"/>
          <p:nvPr/>
        </p:nvSpPr>
        <p:spPr bwMode="auto">
          <a:xfrm>
            <a:off x="4003324" y="4076194"/>
            <a:ext cx="1260563" cy="278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0311" tIns="50155" rIns="100311" bIns="50155" rtlCol="0">
            <a:spAutoFit/>
          </a:bodyPr>
          <a:lstStyle/>
          <a:p>
            <a:pPr defTabSz="879470">
              <a:spcBef>
                <a:spcPts val="0"/>
              </a:spcBef>
            </a:pPr>
            <a:r>
              <a:rPr lang="en-US" altLang="ja-JP" sz="1154" b="1" dirty="0">
                <a:solidFill>
                  <a:schemeClr val="accent4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Ocean freight</a:t>
            </a:r>
            <a:endParaRPr lang="ja-JP" altLang="en-US" sz="1154" b="1" dirty="0">
              <a:solidFill>
                <a:schemeClr val="accent4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  <p:sp>
        <p:nvSpPr>
          <p:cNvPr id="448" name="テキスト ボックス 447"/>
          <p:cNvSpPr txBox="1"/>
          <p:nvPr/>
        </p:nvSpPr>
        <p:spPr bwMode="auto">
          <a:xfrm>
            <a:off x="1963899" y="4076194"/>
            <a:ext cx="811722" cy="278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0311" tIns="50155" rIns="100311" bIns="50155" rtlCol="0">
            <a:spAutoFit/>
          </a:bodyPr>
          <a:lstStyle/>
          <a:p>
            <a:pPr defTabSz="879470">
              <a:spcBef>
                <a:spcPts val="0"/>
              </a:spcBef>
            </a:pPr>
            <a:r>
              <a:rPr lang="en-US" altLang="ja-JP" sz="1154" b="1" dirty="0">
                <a:solidFill>
                  <a:srgbClr val="00000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Storage</a:t>
            </a:r>
            <a:endParaRPr lang="ja-JP" altLang="en-US" sz="1154" b="1" dirty="0">
              <a:solidFill>
                <a:srgbClr val="000000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  <p:sp>
        <p:nvSpPr>
          <p:cNvPr id="470" name="正方形/長方形 87">
            <a:extLst>
              <a:ext uri="{FF2B5EF4-FFF2-40B4-BE49-F238E27FC236}">
                <a16:creationId xmlns:a16="http://schemas.microsoft.com/office/drawing/2014/main" id="{DE686D37-191D-4600-8CEB-FCD444A29A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7267" y="4411242"/>
            <a:ext cx="4293867" cy="276995"/>
          </a:xfrm>
          <a:prstGeom prst="homePlate">
            <a:avLst/>
          </a:prstGeom>
          <a:solidFill>
            <a:srgbClr val="FFC000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endParaRPr lang="ja-JP" altLang="en-US" sz="1154" b="1" dirty="0">
              <a:solidFill>
                <a:srgbClr val="000000"/>
              </a:solidFill>
              <a:latin typeface="Meiryo UI"/>
              <a:ea typeface="Meiryo UI"/>
            </a:endParaRPr>
          </a:p>
        </p:txBody>
      </p:sp>
      <p:sp>
        <p:nvSpPr>
          <p:cNvPr id="479" name="テキスト ボックス 478"/>
          <p:cNvSpPr txBox="1"/>
          <p:nvPr/>
        </p:nvSpPr>
        <p:spPr bwMode="auto">
          <a:xfrm>
            <a:off x="4003324" y="4409338"/>
            <a:ext cx="999274" cy="278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0311" tIns="50155" rIns="100311" bIns="50155" rtlCol="0">
            <a:spAutoFit/>
          </a:bodyPr>
          <a:lstStyle/>
          <a:p>
            <a:pPr defTabSz="879470">
              <a:spcBef>
                <a:spcPts val="0"/>
              </a:spcBef>
            </a:pPr>
            <a:r>
              <a:rPr lang="en-US" altLang="ja-JP" sz="1154" b="1" dirty="0">
                <a:solidFill>
                  <a:schemeClr val="accent4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Air freight</a:t>
            </a:r>
            <a:endParaRPr lang="ja-JP" altLang="en-US" sz="1154" b="1" dirty="0">
              <a:solidFill>
                <a:schemeClr val="accent4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  <p:sp>
        <p:nvSpPr>
          <p:cNvPr id="489" name="テキスト ボックス 488"/>
          <p:cNvSpPr txBox="1"/>
          <p:nvPr/>
        </p:nvSpPr>
        <p:spPr bwMode="auto">
          <a:xfrm>
            <a:off x="2456648" y="4409338"/>
            <a:ext cx="882254" cy="278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0311" tIns="50155" rIns="100311" bIns="50155" rtlCol="0">
            <a:spAutoFit/>
          </a:bodyPr>
          <a:lstStyle/>
          <a:p>
            <a:pPr defTabSz="879470">
              <a:spcBef>
                <a:spcPts val="0"/>
              </a:spcBef>
            </a:pPr>
            <a:r>
              <a:rPr lang="en-US" altLang="ja-JP" sz="1154" b="1" dirty="0" err="1">
                <a:solidFill>
                  <a:schemeClr val="accent4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Inventry</a:t>
            </a:r>
            <a:endParaRPr lang="ja-JP" altLang="en-US" sz="1154" b="1" dirty="0">
              <a:solidFill>
                <a:schemeClr val="accent4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  <p:sp>
        <p:nvSpPr>
          <p:cNvPr id="511" name="正方形/長方形 87">
            <a:extLst>
              <a:ext uri="{FF2B5EF4-FFF2-40B4-BE49-F238E27FC236}">
                <a16:creationId xmlns:a16="http://schemas.microsoft.com/office/drawing/2014/main" id="{0E184917-EB36-45F0-A440-8268B1B66A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04526" y="5077530"/>
            <a:ext cx="1804516" cy="276995"/>
          </a:xfrm>
          <a:prstGeom prst="homePlate">
            <a:avLst/>
          </a:prstGeom>
          <a:solidFill>
            <a:srgbClr val="FFC000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>
            <a:lvl1pPr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1pPr>
            <a:lvl2pPr marL="742950" indent="-28575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n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2pPr>
            <a:lvl3pPr marL="1143000" indent="-228600" defTabSz="908050">
              <a:spcAft>
                <a:spcPct val="30000"/>
              </a:spcAft>
              <a:buClr>
                <a:srgbClr val="24246E"/>
              </a:buClr>
              <a:buFont typeface="Wingdings" panose="05000000000000000000" pitchFamily="2" charset="2"/>
              <a:buChar char="p"/>
              <a:defRPr kumimoji="1" sz="15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3pPr>
            <a:lvl4pPr marL="1600200" indent="-228600" defTabSz="908050">
              <a:spcAft>
                <a:spcPct val="30000"/>
              </a:spcAft>
              <a:buClr>
                <a:srgbClr val="24246E"/>
              </a:buClr>
              <a:buChar char="•"/>
              <a:defRPr kumimoji="1" sz="1300">
                <a:solidFill>
                  <a:srgbClr val="24246E"/>
                </a:solidFill>
                <a:latin typeface="HG丸ｺﾞｼｯｸM-PRO" panose="020F0600000000000000" pitchFamily="34" charset="-128"/>
                <a:ea typeface="HG丸ｺﾞｼｯｸM-PRO" panose="020F0600000000000000" pitchFamily="34" charset="-128"/>
              </a:defRPr>
            </a:lvl4pPr>
            <a:lvl5pPr marL="2057400" indent="-228600" defTabSz="908050">
              <a:spcBef>
                <a:spcPct val="20000"/>
              </a:spcBef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  <a:lvl6pPr marL="25146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6pPr>
            <a:lvl7pPr marL="29718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7pPr>
            <a:lvl8pPr marL="34290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8pPr>
            <a:lvl9pPr marL="3886200" indent="-228600" defTabSz="9080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6CBC2"/>
              </a:buClr>
              <a:buFont typeface="Wingdings" panose="05000000000000000000" pitchFamily="2" charset="2"/>
              <a:buChar char="n"/>
              <a:defRPr kumimoji="1" sz="13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9pPr>
          </a:lstStyle>
          <a:p>
            <a:pPr algn="ctr" defTabSz="873362">
              <a:spcBef>
                <a:spcPts val="283"/>
              </a:spcBef>
              <a:buClr>
                <a:srgbClr val="DDDDDD"/>
              </a:buClr>
              <a:buNone/>
            </a:pPr>
            <a:r>
              <a:rPr lang="en-US" altLang="ja-JP" sz="1154" b="1" dirty="0">
                <a:solidFill>
                  <a:schemeClr val="accent4"/>
                </a:solidFill>
                <a:latin typeface="Meiryo UI"/>
                <a:ea typeface="Meiryo UI"/>
              </a:rPr>
              <a:t>Stock &amp; Delivery</a:t>
            </a:r>
            <a:endParaRPr lang="ja-JP" altLang="en-US" sz="1154" b="1" dirty="0">
              <a:solidFill>
                <a:schemeClr val="accent4"/>
              </a:solidFill>
              <a:latin typeface="Meiryo UI"/>
              <a:ea typeface="Meiryo UI"/>
            </a:endParaRPr>
          </a:p>
        </p:txBody>
      </p:sp>
      <p:sp>
        <p:nvSpPr>
          <p:cNvPr id="430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49" name="タイトル 1"/>
          <p:cNvSpPr txBox="1">
            <a:spLocks/>
          </p:cNvSpPr>
          <p:nvPr/>
        </p:nvSpPr>
        <p:spPr bwMode="auto">
          <a:xfrm>
            <a:off x="603709" y="106465"/>
            <a:ext cx="9810194" cy="81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0" rIns="0" bIns="0" numCol="1" anchor="b" anchorCtr="0" compatLnSpc="1">
            <a:prstTxWarp prst="textNoShape">
              <a:avLst/>
            </a:prstTxWarp>
          </a:bodyPr>
          <a:lstStyle>
            <a:lvl1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501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43973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87947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131920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175894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r>
              <a:rPr lang="en-US" altLang="ja-JP" sz="1731" kern="0" dirty="0">
                <a:solidFill>
                  <a:schemeClr val="tx1"/>
                </a:solidFill>
              </a:rPr>
              <a:t>Ⅰ. Introduction of MITSUI-SOKO Group</a:t>
            </a:r>
            <a:br>
              <a:rPr lang="en-US" altLang="ja-JP" kern="0" dirty="0">
                <a:solidFill>
                  <a:schemeClr val="tx1"/>
                </a:solidFill>
              </a:rPr>
            </a:br>
            <a:r>
              <a:rPr lang="en-US" altLang="ja-JP" sz="2400" kern="0" dirty="0">
                <a:solidFill>
                  <a:schemeClr val="tx1"/>
                </a:solidFill>
              </a:rPr>
              <a:t>  3. Service outline</a:t>
            </a:r>
            <a:endParaRPr lang="ja-JP" altLang="en-US" sz="24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7841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Rectangle 64">
            <a:extLst>
              <a:ext uri="{FF2B5EF4-FFF2-40B4-BE49-F238E27FC236}">
                <a16:creationId xmlns:a16="http://schemas.microsoft.com/office/drawing/2014/main" id="{325946E9-B2AF-4C82-A852-92FAA92AF3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171" y="1179746"/>
            <a:ext cx="8806055" cy="5629839"/>
          </a:xfrm>
          <a:prstGeom prst="rect">
            <a:avLst/>
          </a:prstGeom>
          <a:solidFill>
            <a:srgbClr val="BFD7E3">
              <a:alpha val="67058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37991" tIns="37991" rIns="37991" bIns="37991" anchor="ctr"/>
          <a:lstStyle/>
          <a:p>
            <a:pPr algn="ctr" defTabSz="879470">
              <a:defRPr/>
            </a:pPr>
            <a:endParaRPr lang="ja-JP" altLang="en-US" sz="1731" dirty="0">
              <a:latin typeface="Meiryo UI" pitchFamily="50" charset="-128"/>
              <a:ea typeface="Meiryo UI" pitchFamily="50" charset="-128"/>
            </a:endParaRPr>
          </a:p>
        </p:txBody>
      </p:sp>
      <p:grpSp>
        <p:nvGrpSpPr>
          <p:cNvPr id="284" name="グループ化 101"/>
          <p:cNvGrpSpPr/>
          <p:nvPr/>
        </p:nvGrpSpPr>
        <p:grpSpPr>
          <a:xfrm>
            <a:off x="2594301" y="1719664"/>
            <a:ext cx="5163465" cy="5071758"/>
            <a:chOff x="3056993" y="1064551"/>
            <a:chExt cx="5368606" cy="5273255"/>
          </a:xfrm>
        </p:grpSpPr>
        <p:sp>
          <p:nvSpPr>
            <p:cNvPr id="285" name="Freeform 388"/>
            <p:cNvSpPr>
              <a:spLocks/>
            </p:cNvSpPr>
            <p:nvPr/>
          </p:nvSpPr>
          <p:spPr bwMode="auto">
            <a:xfrm>
              <a:off x="6741320" y="1064551"/>
              <a:ext cx="1684279" cy="1442286"/>
            </a:xfrm>
            <a:custGeom>
              <a:avLst/>
              <a:gdLst>
                <a:gd name="T0" fmla="*/ 38 w 774"/>
                <a:gd name="T1" fmla="*/ 347 h 708"/>
                <a:gd name="T2" fmla="*/ 44 w 774"/>
                <a:gd name="T3" fmla="*/ 333 h 708"/>
                <a:gd name="T4" fmla="*/ 57 w 774"/>
                <a:gd name="T5" fmla="*/ 319 h 708"/>
                <a:gd name="T6" fmla="*/ 59 w 774"/>
                <a:gd name="T7" fmla="*/ 322 h 708"/>
                <a:gd name="T8" fmla="*/ 73 w 774"/>
                <a:gd name="T9" fmla="*/ 323 h 708"/>
                <a:gd name="T10" fmla="*/ 90 w 774"/>
                <a:gd name="T11" fmla="*/ 318 h 708"/>
                <a:gd name="T12" fmla="*/ 76 w 774"/>
                <a:gd name="T13" fmla="*/ 304 h 708"/>
                <a:gd name="T14" fmla="*/ 49 w 774"/>
                <a:gd name="T15" fmla="*/ 290 h 708"/>
                <a:gd name="T16" fmla="*/ 39 w 774"/>
                <a:gd name="T17" fmla="*/ 263 h 708"/>
                <a:gd name="T18" fmla="*/ 56 w 774"/>
                <a:gd name="T19" fmla="*/ 254 h 708"/>
                <a:gd name="T20" fmla="*/ 70 w 774"/>
                <a:gd name="T21" fmla="*/ 270 h 708"/>
                <a:gd name="T22" fmla="*/ 76 w 774"/>
                <a:gd name="T23" fmla="*/ 279 h 708"/>
                <a:gd name="T24" fmla="*/ 122 w 774"/>
                <a:gd name="T25" fmla="*/ 252 h 708"/>
                <a:gd name="T26" fmla="*/ 146 w 774"/>
                <a:gd name="T27" fmla="*/ 264 h 708"/>
                <a:gd name="T28" fmla="*/ 167 w 774"/>
                <a:gd name="T29" fmla="*/ 277 h 708"/>
                <a:gd name="T30" fmla="*/ 212 w 774"/>
                <a:gd name="T31" fmla="*/ 297 h 708"/>
                <a:gd name="T32" fmla="*/ 227 w 774"/>
                <a:gd name="T33" fmla="*/ 289 h 708"/>
                <a:gd name="T34" fmla="*/ 250 w 774"/>
                <a:gd name="T35" fmla="*/ 243 h 708"/>
                <a:gd name="T36" fmla="*/ 290 w 774"/>
                <a:gd name="T37" fmla="*/ 217 h 708"/>
                <a:gd name="T38" fmla="*/ 319 w 774"/>
                <a:gd name="T39" fmla="*/ 214 h 708"/>
                <a:gd name="T40" fmla="*/ 335 w 774"/>
                <a:gd name="T41" fmla="*/ 211 h 708"/>
                <a:gd name="T42" fmla="*/ 343 w 774"/>
                <a:gd name="T43" fmla="*/ 200 h 708"/>
                <a:gd name="T44" fmla="*/ 367 w 774"/>
                <a:gd name="T45" fmla="*/ 194 h 708"/>
                <a:gd name="T46" fmla="*/ 387 w 774"/>
                <a:gd name="T47" fmla="*/ 174 h 708"/>
                <a:gd name="T48" fmla="*/ 365 w 774"/>
                <a:gd name="T49" fmla="*/ 181 h 708"/>
                <a:gd name="T50" fmla="*/ 339 w 774"/>
                <a:gd name="T51" fmla="*/ 145 h 708"/>
                <a:gd name="T52" fmla="*/ 350 w 774"/>
                <a:gd name="T53" fmla="*/ 122 h 708"/>
                <a:gd name="T54" fmla="*/ 347 w 774"/>
                <a:gd name="T55" fmla="*/ 107 h 708"/>
                <a:gd name="T56" fmla="*/ 337 w 774"/>
                <a:gd name="T57" fmla="*/ 114 h 708"/>
                <a:gd name="T58" fmla="*/ 310 w 774"/>
                <a:gd name="T59" fmla="*/ 135 h 708"/>
                <a:gd name="T60" fmla="*/ 264 w 774"/>
                <a:gd name="T61" fmla="*/ 116 h 708"/>
                <a:gd name="T62" fmla="*/ 221 w 774"/>
                <a:gd name="T63" fmla="*/ 97 h 708"/>
                <a:gd name="T64" fmla="*/ 181 w 774"/>
                <a:gd name="T65" fmla="*/ 56 h 708"/>
                <a:gd name="T66" fmla="*/ 157 w 774"/>
                <a:gd name="T67" fmla="*/ 28 h 708"/>
                <a:gd name="T68" fmla="*/ 139 w 774"/>
                <a:gd name="T69" fmla="*/ 5 h 708"/>
                <a:gd name="T70" fmla="*/ 129 w 774"/>
                <a:gd name="T71" fmla="*/ 9 h 708"/>
                <a:gd name="T72" fmla="*/ 116 w 774"/>
                <a:gd name="T73" fmla="*/ 10 h 708"/>
                <a:gd name="T74" fmla="*/ 112 w 774"/>
                <a:gd name="T75" fmla="*/ 31 h 708"/>
                <a:gd name="T76" fmla="*/ 123 w 774"/>
                <a:gd name="T77" fmla="*/ 61 h 708"/>
                <a:gd name="T78" fmla="*/ 120 w 774"/>
                <a:gd name="T79" fmla="*/ 98 h 708"/>
                <a:gd name="T80" fmla="*/ 117 w 774"/>
                <a:gd name="T81" fmla="*/ 135 h 708"/>
                <a:gd name="T82" fmla="*/ 101 w 774"/>
                <a:gd name="T83" fmla="*/ 149 h 708"/>
                <a:gd name="T84" fmla="*/ 100 w 774"/>
                <a:gd name="T85" fmla="*/ 167 h 708"/>
                <a:gd name="T86" fmla="*/ 101 w 774"/>
                <a:gd name="T87" fmla="*/ 192 h 708"/>
                <a:gd name="T88" fmla="*/ 82 w 774"/>
                <a:gd name="T89" fmla="*/ 197 h 708"/>
                <a:gd name="T90" fmla="*/ 65 w 774"/>
                <a:gd name="T91" fmla="*/ 197 h 708"/>
                <a:gd name="T92" fmla="*/ 52 w 774"/>
                <a:gd name="T93" fmla="*/ 190 h 708"/>
                <a:gd name="T94" fmla="*/ 44 w 774"/>
                <a:gd name="T95" fmla="*/ 191 h 708"/>
                <a:gd name="T96" fmla="*/ 47 w 774"/>
                <a:gd name="T97" fmla="*/ 217 h 708"/>
                <a:gd name="T98" fmla="*/ 35 w 774"/>
                <a:gd name="T99" fmla="*/ 235 h 708"/>
                <a:gd name="T100" fmla="*/ 28 w 774"/>
                <a:gd name="T101" fmla="*/ 233 h 708"/>
                <a:gd name="T102" fmla="*/ 16 w 774"/>
                <a:gd name="T103" fmla="*/ 244 h 708"/>
                <a:gd name="T104" fmla="*/ 3 w 774"/>
                <a:gd name="T105" fmla="*/ 269 h 708"/>
                <a:gd name="T106" fmla="*/ 0 w 774"/>
                <a:gd name="T107" fmla="*/ 283 h 708"/>
                <a:gd name="T108" fmla="*/ 13 w 774"/>
                <a:gd name="T109" fmla="*/ 295 h 708"/>
                <a:gd name="T110" fmla="*/ 20 w 774"/>
                <a:gd name="T111" fmla="*/ 316 h 708"/>
                <a:gd name="T112" fmla="*/ 19 w 774"/>
                <a:gd name="T113" fmla="*/ 352 h 70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774" h="708">
                  <a:moveTo>
                    <a:pt x="50" y="708"/>
                  </a:moveTo>
                  <a:lnTo>
                    <a:pt x="54" y="708"/>
                  </a:lnTo>
                  <a:lnTo>
                    <a:pt x="62" y="698"/>
                  </a:lnTo>
                  <a:lnTo>
                    <a:pt x="64" y="697"/>
                  </a:lnTo>
                  <a:lnTo>
                    <a:pt x="76" y="693"/>
                  </a:lnTo>
                  <a:lnTo>
                    <a:pt x="76" y="689"/>
                  </a:lnTo>
                  <a:lnTo>
                    <a:pt x="84" y="685"/>
                  </a:lnTo>
                  <a:lnTo>
                    <a:pt x="86" y="681"/>
                  </a:lnTo>
                  <a:lnTo>
                    <a:pt x="86" y="667"/>
                  </a:lnTo>
                  <a:lnTo>
                    <a:pt x="87" y="665"/>
                  </a:lnTo>
                  <a:lnTo>
                    <a:pt x="94" y="656"/>
                  </a:lnTo>
                  <a:lnTo>
                    <a:pt x="105" y="649"/>
                  </a:lnTo>
                  <a:lnTo>
                    <a:pt x="108" y="647"/>
                  </a:lnTo>
                  <a:lnTo>
                    <a:pt x="109" y="642"/>
                  </a:lnTo>
                  <a:lnTo>
                    <a:pt x="114" y="637"/>
                  </a:lnTo>
                  <a:lnTo>
                    <a:pt x="118" y="636"/>
                  </a:lnTo>
                  <a:lnTo>
                    <a:pt x="120" y="637"/>
                  </a:lnTo>
                  <a:lnTo>
                    <a:pt x="118" y="638"/>
                  </a:lnTo>
                  <a:lnTo>
                    <a:pt x="117" y="641"/>
                  </a:lnTo>
                  <a:lnTo>
                    <a:pt x="117" y="643"/>
                  </a:lnTo>
                  <a:lnTo>
                    <a:pt x="118" y="645"/>
                  </a:lnTo>
                  <a:lnTo>
                    <a:pt x="121" y="648"/>
                  </a:lnTo>
                  <a:lnTo>
                    <a:pt x="124" y="644"/>
                  </a:lnTo>
                  <a:lnTo>
                    <a:pt x="129" y="642"/>
                  </a:lnTo>
                  <a:lnTo>
                    <a:pt x="146" y="645"/>
                  </a:lnTo>
                  <a:lnTo>
                    <a:pt x="148" y="651"/>
                  </a:lnTo>
                  <a:lnTo>
                    <a:pt x="153" y="655"/>
                  </a:lnTo>
                  <a:lnTo>
                    <a:pt x="156" y="656"/>
                  </a:lnTo>
                  <a:lnTo>
                    <a:pt x="169" y="647"/>
                  </a:lnTo>
                  <a:lnTo>
                    <a:pt x="180" y="636"/>
                  </a:lnTo>
                  <a:lnTo>
                    <a:pt x="184" y="630"/>
                  </a:lnTo>
                  <a:lnTo>
                    <a:pt x="168" y="619"/>
                  </a:lnTo>
                  <a:lnTo>
                    <a:pt x="157" y="615"/>
                  </a:lnTo>
                  <a:lnTo>
                    <a:pt x="153" y="612"/>
                  </a:lnTo>
                  <a:lnTo>
                    <a:pt x="151" y="608"/>
                  </a:lnTo>
                  <a:lnTo>
                    <a:pt x="134" y="593"/>
                  </a:lnTo>
                  <a:lnTo>
                    <a:pt x="130" y="582"/>
                  </a:lnTo>
                  <a:lnTo>
                    <a:pt x="127" y="580"/>
                  </a:lnTo>
                  <a:lnTo>
                    <a:pt x="103" y="581"/>
                  </a:lnTo>
                  <a:lnTo>
                    <a:pt x="97" y="580"/>
                  </a:lnTo>
                  <a:lnTo>
                    <a:pt x="80" y="568"/>
                  </a:lnTo>
                  <a:lnTo>
                    <a:pt x="69" y="562"/>
                  </a:lnTo>
                  <a:lnTo>
                    <a:pt x="67" y="557"/>
                  </a:lnTo>
                  <a:lnTo>
                    <a:pt x="67" y="550"/>
                  </a:lnTo>
                  <a:lnTo>
                    <a:pt x="78" y="526"/>
                  </a:lnTo>
                  <a:lnTo>
                    <a:pt x="85" y="512"/>
                  </a:lnTo>
                  <a:lnTo>
                    <a:pt x="91" y="508"/>
                  </a:lnTo>
                  <a:lnTo>
                    <a:pt x="102" y="510"/>
                  </a:lnTo>
                  <a:lnTo>
                    <a:pt x="104" y="510"/>
                  </a:lnTo>
                  <a:lnTo>
                    <a:pt x="111" y="508"/>
                  </a:lnTo>
                  <a:lnTo>
                    <a:pt x="126" y="517"/>
                  </a:lnTo>
                  <a:lnTo>
                    <a:pt x="124" y="522"/>
                  </a:lnTo>
                  <a:lnTo>
                    <a:pt x="133" y="530"/>
                  </a:lnTo>
                  <a:lnTo>
                    <a:pt x="136" y="532"/>
                  </a:lnTo>
                  <a:lnTo>
                    <a:pt x="139" y="539"/>
                  </a:lnTo>
                  <a:lnTo>
                    <a:pt x="140" y="541"/>
                  </a:lnTo>
                  <a:lnTo>
                    <a:pt x="145" y="547"/>
                  </a:lnTo>
                  <a:lnTo>
                    <a:pt x="145" y="553"/>
                  </a:lnTo>
                  <a:lnTo>
                    <a:pt x="146" y="557"/>
                  </a:lnTo>
                  <a:lnTo>
                    <a:pt x="151" y="558"/>
                  </a:lnTo>
                  <a:lnTo>
                    <a:pt x="176" y="538"/>
                  </a:lnTo>
                  <a:lnTo>
                    <a:pt x="196" y="521"/>
                  </a:lnTo>
                  <a:lnTo>
                    <a:pt x="208" y="511"/>
                  </a:lnTo>
                  <a:lnTo>
                    <a:pt x="225" y="505"/>
                  </a:lnTo>
                  <a:lnTo>
                    <a:pt x="243" y="504"/>
                  </a:lnTo>
                  <a:lnTo>
                    <a:pt x="260" y="508"/>
                  </a:lnTo>
                  <a:lnTo>
                    <a:pt x="268" y="511"/>
                  </a:lnTo>
                  <a:lnTo>
                    <a:pt x="277" y="520"/>
                  </a:lnTo>
                  <a:lnTo>
                    <a:pt x="288" y="527"/>
                  </a:lnTo>
                  <a:lnTo>
                    <a:pt x="291" y="528"/>
                  </a:lnTo>
                  <a:lnTo>
                    <a:pt x="304" y="532"/>
                  </a:lnTo>
                  <a:lnTo>
                    <a:pt x="307" y="533"/>
                  </a:lnTo>
                  <a:lnTo>
                    <a:pt x="314" y="539"/>
                  </a:lnTo>
                  <a:lnTo>
                    <a:pt x="322" y="546"/>
                  </a:lnTo>
                  <a:lnTo>
                    <a:pt x="334" y="553"/>
                  </a:lnTo>
                  <a:lnTo>
                    <a:pt x="351" y="564"/>
                  </a:lnTo>
                  <a:lnTo>
                    <a:pt x="368" y="574"/>
                  </a:lnTo>
                  <a:lnTo>
                    <a:pt x="378" y="577"/>
                  </a:lnTo>
                  <a:lnTo>
                    <a:pt x="420" y="591"/>
                  </a:lnTo>
                  <a:lnTo>
                    <a:pt x="423" y="594"/>
                  </a:lnTo>
                  <a:lnTo>
                    <a:pt x="442" y="613"/>
                  </a:lnTo>
                  <a:lnTo>
                    <a:pt x="442" y="607"/>
                  </a:lnTo>
                  <a:lnTo>
                    <a:pt x="442" y="603"/>
                  </a:lnTo>
                  <a:lnTo>
                    <a:pt x="451" y="593"/>
                  </a:lnTo>
                  <a:lnTo>
                    <a:pt x="454" y="578"/>
                  </a:lnTo>
                  <a:lnTo>
                    <a:pt x="457" y="568"/>
                  </a:lnTo>
                  <a:lnTo>
                    <a:pt x="456" y="556"/>
                  </a:lnTo>
                  <a:lnTo>
                    <a:pt x="459" y="542"/>
                  </a:lnTo>
                  <a:lnTo>
                    <a:pt x="474" y="517"/>
                  </a:lnTo>
                  <a:lnTo>
                    <a:pt x="500" y="486"/>
                  </a:lnTo>
                  <a:lnTo>
                    <a:pt x="535" y="451"/>
                  </a:lnTo>
                  <a:lnTo>
                    <a:pt x="552" y="438"/>
                  </a:lnTo>
                  <a:lnTo>
                    <a:pt x="562" y="433"/>
                  </a:lnTo>
                  <a:lnTo>
                    <a:pt x="571" y="432"/>
                  </a:lnTo>
                  <a:lnTo>
                    <a:pt x="579" y="433"/>
                  </a:lnTo>
                  <a:lnTo>
                    <a:pt x="604" y="439"/>
                  </a:lnTo>
                  <a:lnTo>
                    <a:pt x="609" y="439"/>
                  </a:lnTo>
                  <a:lnTo>
                    <a:pt x="643" y="435"/>
                  </a:lnTo>
                  <a:lnTo>
                    <a:pt x="643" y="432"/>
                  </a:lnTo>
                  <a:lnTo>
                    <a:pt x="637" y="427"/>
                  </a:lnTo>
                  <a:lnTo>
                    <a:pt x="648" y="415"/>
                  </a:lnTo>
                  <a:lnTo>
                    <a:pt x="648" y="419"/>
                  </a:lnTo>
                  <a:lnTo>
                    <a:pt x="648" y="421"/>
                  </a:lnTo>
                  <a:lnTo>
                    <a:pt x="649" y="424"/>
                  </a:lnTo>
                  <a:lnTo>
                    <a:pt x="670" y="421"/>
                  </a:lnTo>
                  <a:lnTo>
                    <a:pt x="673" y="420"/>
                  </a:lnTo>
                  <a:lnTo>
                    <a:pt x="692" y="408"/>
                  </a:lnTo>
                  <a:lnTo>
                    <a:pt x="693" y="406"/>
                  </a:lnTo>
                  <a:lnTo>
                    <a:pt x="688" y="401"/>
                  </a:lnTo>
                  <a:lnTo>
                    <a:pt x="686" y="399"/>
                  </a:lnTo>
                  <a:lnTo>
                    <a:pt x="687" y="396"/>
                  </a:lnTo>
                  <a:lnTo>
                    <a:pt x="697" y="395"/>
                  </a:lnTo>
                  <a:lnTo>
                    <a:pt x="704" y="391"/>
                  </a:lnTo>
                  <a:lnTo>
                    <a:pt x="721" y="385"/>
                  </a:lnTo>
                  <a:lnTo>
                    <a:pt x="733" y="387"/>
                  </a:lnTo>
                  <a:lnTo>
                    <a:pt x="738" y="383"/>
                  </a:lnTo>
                  <a:lnTo>
                    <a:pt x="746" y="365"/>
                  </a:lnTo>
                  <a:lnTo>
                    <a:pt x="750" y="363"/>
                  </a:lnTo>
                  <a:lnTo>
                    <a:pt x="763" y="355"/>
                  </a:lnTo>
                  <a:lnTo>
                    <a:pt x="774" y="347"/>
                  </a:lnTo>
                  <a:lnTo>
                    <a:pt x="771" y="345"/>
                  </a:lnTo>
                  <a:lnTo>
                    <a:pt x="764" y="343"/>
                  </a:lnTo>
                  <a:lnTo>
                    <a:pt x="750" y="348"/>
                  </a:lnTo>
                  <a:lnTo>
                    <a:pt x="741" y="355"/>
                  </a:lnTo>
                  <a:lnTo>
                    <a:pt x="730" y="361"/>
                  </a:lnTo>
                  <a:lnTo>
                    <a:pt x="724" y="363"/>
                  </a:lnTo>
                  <a:lnTo>
                    <a:pt x="715" y="358"/>
                  </a:lnTo>
                  <a:lnTo>
                    <a:pt x="702" y="334"/>
                  </a:lnTo>
                  <a:lnTo>
                    <a:pt x="681" y="298"/>
                  </a:lnTo>
                  <a:lnTo>
                    <a:pt x="678" y="290"/>
                  </a:lnTo>
                  <a:lnTo>
                    <a:pt x="681" y="274"/>
                  </a:lnTo>
                  <a:lnTo>
                    <a:pt x="681" y="272"/>
                  </a:lnTo>
                  <a:lnTo>
                    <a:pt x="686" y="261"/>
                  </a:lnTo>
                  <a:lnTo>
                    <a:pt x="693" y="254"/>
                  </a:lnTo>
                  <a:lnTo>
                    <a:pt x="699" y="244"/>
                  </a:lnTo>
                  <a:lnTo>
                    <a:pt x="700" y="236"/>
                  </a:lnTo>
                  <a:lnTo>
                    <a:pt x="708" y="225"/>
                  </a:lnTo>
                  <a:lnTo>
                    <a:pt x="712" y="205"/>
                  </a:lnTo>
                  <a:lnTo>
                    <a:pt x="710" y="190"/>
                  </a:lnTo>
                  <a:lnTo>
                    <a:pt x="694" y="213"/>
                  </a:lnTo>
                  <a:lnTo>
                    <a:pt x="693" y="217"/>
                  </a:lnTo>
                  <a:lnTo>
                    <a:pt x="687" y="224"/>
                  </a:lnTo>
                  <a:lnTo>
                    <a:pt x="682" y="226"/>
                  </a:lnTo>
                  <a:lnTo>
                    <a:pt x="676" y="226"/>
                  </a:lnTo>
                  <a:lnTo>
                    <a:pt x="674" y="228"/>
                  </a:lnTo>
                  <a:lnTo>
                    <a:pt x="672" y="234"/>
                  </a:lnTo>
                  <a:lnTo>
                    <a:pt x="651" y="258"/>
                  </a:lnTo>
                  <a:lnTo>
                    <a:pt x="644" y="266"/>
                  </a:lnTo>
                  <a:lnTo>
                    <a:pt x="633" y="269"/>
                  </a:lnTo>
                  <a:lnTo>
                    <a:pt x="620" y="269"/>
                  </a:lnTo>
                  <a:lnTo>
                    <a:pt x="592" y="266"/>
                  </a:lnTo>
                  <a:lnTo>
                    <a:pt x="583" y="260"/>
                  </a:lnTo>
                  <a:lnTo>
                    <a:pt x="578" y="255"/>
                  </a:lnTo>
                  <a:lnTo>
                    <a:pt x="577" y="243"/>
                  </a:lnTo>
                  <a:lnTo>
                    <a:pt x="528" y="232"/>
                  </a:lnTo>
                  <a:lnTo>
                    <a:pt x="505" y="226"/>
                  </a:lnTo>
                  <a:lnTo>
                    <a:pt x="488" y="221"/>
                  </a:lnTo>
                  <a:lnTo>
                    <a:pt x="474" y="214"/>
                  </a:lnTo>
                  <a:lnTo>
                    <a:pt x="453" y="200"/>
                  </a:lnTo>
                  <a:lnTo>
                    <a:pt x="442" y="193"/>
                  </a:lnTo>
                  <a:lnTo>
                    <a:pt x="423" y="178"/>
                  </a:lnTo>
                  <a:lnTo>
                    <a:pt x="411" y="170"/>
                  </a:lnTo>
                  <a:lnTo>
                    <a:pt x="398" y="154"/>
                  </a:lnTo>
                  <a:lnTo>
                    <a:pt x="378" y="137"/>
                  </a:lnTo>
                  <a:lnTo>
                    <a:pt x="361" y="112"/>
                  </a:lnTo>
                  <a:lnTo>
                    <a:pt x="352" y="100"/>
                  </a:lnTo>
                  <a:lnTo>
                    <a:pt x="339" y="8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313" y="55"/>
                  </a:lnTo>
                  <a:lnTo>
                    <a:pt x="301" y="31"/>
                  </a:lnTo>
                  <a:lnTo>
                    <a:pt x="297" y="27"/>
                  </a:lnTo>
                  <a:lnTo>
                    <a:pt x="284" y="21"/>
                  </a:lnTo>
                  <a:lnTo>
                    <a:pt x="283" y="15"/>
                  </a:lnTo>
                  <a:lnTo>
                    <a:pt x="278" y="10"/>
                  </a:lnTo>
                  <a:lnTo>
                    <a:pt x="276" y="9"/>
                  </a:lnTo>
                  <a:lnTo>
                    <a:pt x="271" y="0"/>
                  </a:lnTo>
                  <a:lnTo>
                    <a:pt x="262" y="6"/>
                  </a:lnTo>
                  <a:lnTo>
                    <a:pt x="261" y="13"/>
                  </a:lnTo>
                  <a:lnTo>
                    <a:pt x="258" y="18"/>
                  </a:lnTo>
                  <a:lnTo>
                    <a:pt x="253" y="20"/>
                  </a:lnTo>
                  <a:lnTo>
                    <a:pt x="249" y="21"/>
                  </a:lnTo>
                  <a:lnTo>
                    <a:pt x="238" y="20"/>
                  </a:lnTo>
                  <a:lnTo>
                    <a:pt x="234" y="16"/>
                  </a:lnTo>
                  <a:lnTo>
                    <a:pt x="231" y="19"/>
                  </a:lnTo>
                  <a:lnTo>
                    <a:pt x="234" y="30"/>
                  </a:lnTo>
                  <a:lnTo>
                    <a:pt x="234" y="33"/>
                  </a:lnTo>
                  <a:lnTo>
                    <a:pt x="229" y="45"/>
                  </a:lnTo>
                  <a:lnTo>
                    <a:pt x="225" y="54"/>
                  </a:lnTo>
                  <a:lnTo>
                    <a:pt x="224" y="61"/>
                  </a:lnTo>
                  <a:lnTo>
                    <a:pt x="225" y="68"/>
                  </a:lnTo>
                  <a:lnTo>
                    <a:pt x="229" y="74"/>
                  </a:lnTo>
                  <a:lnTo>
                    <a:pt x="235" y="85"/>
                  </a:lnTo>
                  <a:lnTo>
                    <a:pt x="243" y="110"/>
                  </a:lnTo>
                  <a:lnTo>
                    <a:pt x="246" y="121"/>
                  </a:lnTo>
                  <a:lnTo>
                    <a:pt x="248" y="127"/>
                  </a:lnTo>
                  <a:lnTo>
                    <a:pt x="249" y="154"/>
                  </a:lnTo>
                  <a:lnTo>
                    <a:pt x="248" y="175"/>
                  </a:lnTo>
                  <a:lnTo>
                    <a:pt x="246" y="185"/>
                  </a:lnTo>
                  <a:lnTo>
                    <a:pt x="240" y="195"/>
                  </a:lnTo>
                  <a:lnTo>
                    <a:pt x="232" y="207"/>
                  </a:lnTo>
                  <a:lnTo>
                    <a:pt x="236" y="220"/>
                  </a:lnTo>
                  <a:lnTo>
                    <a:pt x="237" y="251"/>
                  </a:lnTo>
                  <a:lnTo>
                    <a:pt x="236" y="262"/>
                  </a:lnTo>
                  <a:lnTo>
                    <a:pt x="234" y="270"/>
                  </a:lnTo>
                  <a:lnTo>
                    <a:pt x="229" y="278"/>
                  </a:lnTo>
                  <a:lnTo>
                    <a:pt x="219" y="285"/>
                  </a:lnTo>
                  <a:lnTo>
                    <a:pt x="206" y="290"/>
                  </a:lnTo>
                  <a:lnTo>
                    <a:pt x="205" y="292"/>
                  </a:lnTo>
                  <a:lnTo>
                    <a:pt x="202" y="297"/>
                  </a:lnTo>
                  <a:lnTo>
                    <a:pt x="200" y="299"/>
                  </a:lnTo>
                  <a:lnTo>
                    <a:pt x="198" y="305"/>
                  </a:lnTo>
                  <a:lnTo>
                    <a:pt x="198" y="311"/>
                  </a:lnTo>
                  <a:lnTo>
                    <a:pt x="201" y="326"/>
                  </a:lnTo>
                  <a:lnTo>
                    <a:pt x="200" y="334"/>
                  </a:lnTo>
                  <a:lnTo>
                    <a:pt x="200" y="339"/>
                  </a:lnTo>
                  <a:lnTo>
                    <a:pt x="207" y="351"/>
                  </a:lnTo>
                  <a:lnTo>
                    <a:pt x="208" y="361"/>
                  </a:lnTo>
                  <a:lnTo>
                    <a:pt x="205" y="375"/>
                  </a:lnTo>
                  <a:lnTo>
                    <a:pt x="201" y="383"/>
                  </a:lnTo>
                  <a:lnTo>
                    <a:pt x="193" y="393"/>
                  </a:lnTo>
                  <a:lnTo>
                    <a:pt x="183" y="400"/>
                  </a:lnTo>
                  <a:lnTo>
                    <a:pt x="175" y="401"/>
                  </a:lnTo>
                  <a:lnTo>
                    <a:pt x="163" y="397"/>
                  </a:lnTo>
                  <a:lnTo>
                    <a:pt x="163" y="394"/>
                  </a:lnTo>
                  <a:lnTo>
                    <a:pt x="163" y="390"/>
                  </a:lnTo>
                  <a:lnTo>
                    <a:pt x="160" y="388"/>
                  </a:lnTo>
                  <a:lnTo>
                    <a:pt x="150" y="391"/>
                  </a:lnTo>
                  <a:lnTo>
                    <a:pt x="141" y="394"/>
                  </a:lnTo>
                  <a:lnTo>
                    <a:pt x="130" y="394"/>
                  </a:lnTo>
                  <a:lnTo>
                    <a:pt x="120" y="390"/>
                  </a:lnTo>
                  <a:lnTo>
                    <a:pt x="115" y="387"/>
                  </a:lnTo>
                  <a:lnTo>
                    <a:pt x="112" y="384"/>
                  </a:lnTo>
                  <a:lnTo>
                    <a:pt x="109" y="382"/>
                  </a:lnTo>
                  <a:lnTo>
                    <a:pt x="103" y="379"/>
                  </a:lnTo>
                  <a:lnTo>
                    <a:pt x="97" y="372"/>
                  </a:lnTo>
                  <a:lnTo>
                    <a:pt x="88" y="366"/>
                  </a:lnTo>
                  <a:lnTo>
                    <a:pt x="87" y="369"/>
                  </a:lnTo>
                  <a:lnTo>
                    <a:pt x="90" y="377"/>
                  </a:lnTo>
                  <a:lnTo>
                    <a:pt x="88" y="381"/>
                  </a:lnTo>
                  <a:lnTo>
                    <a:pt x="76" y="383"/>
                  </a:lnTo>
                  <a:lnTo>
                    <a:pt x="72" y="397"/>
                  </a:lnTo>
                  <a:lnTo>
                    <a:pt x="70" y="402"/>
                  </a:lnTo>
                  <a:lnTo>
                    <a:pt x="79" y="414"/>
                  </a:lnTo>
                  <a:lnTo>
                    <a:pt x="94" y="433"/>
                  </a:lnTo>
                  <a:lnTo>
                    <a:pt x="91" y="435"/>
                  </a:lnTo>
                  <a:lnTo>
                    <a:pt x="88" y="437"/>
                  </a:lnTo>
                  <a:lnTo>
                    <a:pt x="78" y="451"/>
                  </a:lnTo>
                  <a:lnTo>
                    <a:pt x="73" y="462"/>
                  </a:lnTo>
                  <a:lnTo>
                    <a:pt x="69" y="470"/>
                  </a:lnTo>
                  <a:lnTo>
                    <a:pt x="67" y="473"/>
                  </a:lnTo>
                  <a:lnTo>
                    <a:pt x="64" y="473"/>
                  </a:lnTo>
                  <a:lnTo>
                    <a:pt x="62" y="468"/>
                  </a:lnTo>
                  <a:lnTo>
                    <a:pt x="58" y="464"/>
                  </a:lnTo>
                  <a:lnTo>
                    <a:pt x="56" y="466"/>
                  </a:lnTo>
                  <a:lnTo>
                    <a:pt x="51" y="470"/>
                  </a:lnTo>
                  <a:lnTo>
                    <a:pt x="49" y="473"/>
                  </a:lnTo>
                  <a:lnTo>
                    <a:pt x="46" y="474"/>
                  </a:lnTo>
                  <a:lnTo>
                    <a:pt x="34" y="481"/>
                  </a:lnTo>
                  <a:lnTo>
                    <a:pt x="31" y="487"/>
                  </a:lnTo>
                  <a:lnTo>
                    <a:pt x="28" y="490"/>
                  </a:lnTo>
                  <a:lnTo>
                    <a:pt x="13" y="494"/>
                  </a:lnTo>
                  <a:lnTo>
                    <a:pt x="6" y="506"/>
                  </a:lnTo>
                  <a:lnTo>
                    <a:pt x="7" y="517"/>
                  </a:lnTo>
                  <a:lnTo>
                    <a:pt x="6" y="538"/>
                  </a:lnTo>
                  <a:lnTo>
                    <a:pt x="4" y="544"/>
                  </a:lnTo>
                  <a:lnTo>
                    <a:pt x="0" y="551"/>
                  </a:lnTo>
                  <a:lnTo>
                    <a:pt x="0" y="553"/>
                  </a:lnTo>
                  <a:lnTo>
                    <a:pt x="0" y="565"/>
                  </a:lnTo>
                  <a:lnTo>
                    <a:pt x="0" y="566"/>
                  </a:lnTo>
                  <a:lnTo>
                    <a:pt x="10" y="574"/>
                  </a:lnTo>
                  <a:lnTo>
                    <a:pt x="13" y="575"/>
                  </a:lnTo>
                  <a:lnTo>
                    <a:pt x="14" y="581"/>
                  </a:lnTo>
                  <a:lnTo>
                    <a:pt x="16" y="584"/>
                  </a:lnTo>
                  <a:lnTo>
                    <a:pt x="25" y="589"/>
                  </a:lnTo>
                  <a:lnTo>
                    <a:pt x="33" y="594"/>
                  </a:lnTo>
                  <a:lnTo>
                    <a:pt x="40" y="605"/>
                  </a:lnTo>
                  <a:lnTo>
                    <a:pt x="42" y="615"/>
                  </a:lnTo>
                  <a:lnTo>
                    <a:pt x="42" y="624"/>
                  </a:lnTo>
                  <a:lnTo>
                    <a:pt x="40" y="631"/>
                  </a:lnTo>
                  <a:lnTo>
                    <a:pt x="34" y="645"/>
                  </a:lnTo>
                  <a:lnTo>
                    <a:pt x="24" y="674"/>
                  </a:lnTo>
                  <a:lnTo>
                    <a:pt x="24" y="678"/>
                  </a:lnTo>
                  <a:lnTo>
                    <a:pt x="32" y="699"/>
                  </a:lnTo>
                  <a:lnTo>
                    <a:pt x="37" y="703"/>
                  </a:lnTo>
                  <a:lnTo>
                    <a:pt x="43" y="705"/>
                  </a:lnTo>
                  <a:lnTo>
                    <a:pt x="46" y="706"/>
                  </a:lnTo>
                  <a:lnTo>
                    <a:pt x="50" y="708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86" name="Freeform 392"/>
            <p:cNvSpPr>
              <a:spLocks/>
            </p:cNvSpPr>
            <p:nvPr/>
          </p:nvSpPr>
          <p:spPr bwMode="auto">
            <a:xfrm>
              <a:off x="6632517" y="2221638"/>
              <a:ext cx="52225" cy="61114"/>
            </a:xfrm>
            <a:custGeom>
              <a:avLst/>
              <a:gdLst>
                <a:gd name="T0" fmla="*/ 12 w 24"/>
                <a:gd name="T1" fmla="*/ 1 h 31"/>
                <a:gd name="T2" fmla="*/ 12 w 24"/>
                <a:gd name="T3" fmla="*/ 2 h 31"/>
                <a:gd name="T4" fmla="*/ 12 w 24"/>
                <a:gd name="T5" fmla="*/ 3 h 31"/>
                <a:gd name="T6" fmla="*/ 12 w 24"/>
                <a:gd name="T7" fmla="*/ 3 h 31"/>
                <a:gd name="T8" fmla="*/ 11 w 24"/>
                <a:gd name="T9" fmla="*/ 4 h 31"/>
                <a:gd name="T10" fmla="*/ 10 w 24"/>
                <a:gd name="T11" fmla="*/ 7 h 31"/>
                <a:gd name="T12" fmla="*/ 9 w 24"/>
                <a:gd name="T13" fmla="*/ 8 h 31"/>
                <a:gd name="T14" fmla="*/ 8 w 24"/>
                <a:gd name="T15" fmla="*/ 11 h 31"/>
                <a:gd name="T16" fmla="*/ 6 w 24"/>
                <a:gd name="T17" fmla="*/ 13 h 31"/>
                <a:gd name="T18" fmla="*/ 6 w 24"/>
                <a:gd name="T19" fmla="*/ 14 h 31"/>
                <a:gd name="T20" fmla="*/ 5 w 24"/>
                <a:gd name="T21" fmla="*/ 14 h 31"/>
                <a:gd name="T22" fmla="*/ 4 w 24"/>
                <a:gd name="T23" fmla="*/ 15 h 31"/>
                <a:gd name="T24" fmla="*/ 3 w 24"/>
                <a:gd name="T25" fmla="*/ 15 h 31"/>
                <a:gd name="T26" fmla="*/ 2 w 24"/>
                <a:gd name="T27" fmla="*/ 15 h 31"/>
                <a:gd name="T28" fmla="*/ 2 w 24"/>
                <a:gd name="T29" fmla="*/ 14 h 31"/>
                <a:gd name="T30" fmla="*/ 1 w 24"/>
                <a:gd name="T31" fmla="*/ 13 h 31"/>
                <a:gd name="T32" fmla="*/ 0 w 24"/>
                <a:gd name="T33" fmla="*/ 11 h 31"/>
                <a:gd name="T34" fmla="*/ 1 w 24"/>
                <a:gd name="T35" fmla="*/ 10 h 31"/>
                <a:gd name="T36" fmla="*/ 1 w 24"/>
                <a:gd name="T37" fmla="*/ 7 h 31"/>
                <a:gd name="T38" fmla="*/ 1 w 24"/>
                <a:gd name="T39" fmla="*/ 6 h 31"/>
                <a:gd name="T40" fmla="*/ 2 w 24"/>
                <a:gd name="T41" fmla="*/ 5 h 31"/>
                <a:gd name="T42" fmla="*/ 2 w 24"/>
                <a:gd name="T43" fmla="*/ 4 h 31"/>
                <a:gd name="T44" fmla="*/ 3 w 24"/>
                <a:gd name="T45" fmla="*/ 3 h 31"/>
                <a:gd name="T46" fmla="*/ 4 w 24"/>
                <a:gd name="T47" fmla="*/ 3 h 31"/>
                <a:gd name="T48" fmla="*/ 5 w 24"/>
                <a:gd name="T49" fmla="*/ 2 h 31"/>
                <a:gd name="T50" fmla="*/ 6 w 24"/>
                <a:gd name="T51" fmla="*/ 1 h 31"/>
                <a:gd name="T52" fmla="*/ 8 w 24"/>
                <a:gd name="T53" fmla="*/ 1 h 31"/>
                <a:gd name="T54" fmla="*/ 9 w 24"/>
                <a:gd name="T55" fmla="*/ 0 h 31"/>
                <a:gd name="T56" fmla="*/ 11 w 24"/>
                <a:gd name="T57" fmla="*/ 0 h 31"/>
                <a:gd name="T58" fmla="*/ 11 w 24"/>
                <a:gd name="T59" fmla="*/ 0 h 31"/>
                <a:gd name="T60" fmla="*/ 11 w 24"/>
                <a:gd name="T61" fmla="*/ 0 h 31"/>
                <a:gd name="T62" fmla="*/ 12 w 24"/>
                <a:gd name="T63" fmla="*/ 1 h 3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4" h="31">
                  <a:moveTo>
                    <a:pt x="24" y="2"/>
                  </a:moveTo>
                  <a:lnTo>
                    <a:pt x="24" y="4"/>
                  </a:lnTo>
                  <a:lnTo>
                    <a:pt x="23" y="6"/>
                  </a:lnTo>
                  <a:lnTo>
                    <a:pt x="23" y="7"/>
                  </a:lnTo>
                  <a:lnTo>
                    <a:pt x="22" y="9"/>
                  </a:lnTo>
                  <a:lnTo>
                    <a:pt x="19" y="14"/>
                  </a:lnTo>
                  <a:lnTo>
                    <a:pt x="17" y="17"/>
                  </a:lnTo>
                  <a:lnTo>
                    <a:pt x="15" y="22"/>
                  </a:lnTo>
                  <a:lnTo>
                    <a:pt x="12" y="27"/>
                  </a:lnTo>
                  <a:lnTo>
                    <a:pt x="11" y="28"/>
                  </a:lnTo>
                  <a:lnTo>
                    <a:pt x="10" y="29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3" y="28"/>
                  </a:lnTo>
                  <a:lnTo>
                    <a:pt x="1" y="26"/>
                  </a:lnTo>
                  <a:lnTo>
                    <a:pt x="0" y="23"/>
                  </a:lnTo>
                  <a:lnTo>
                    <a:pt x="1" y="20"/>
                  </a:lnTo>
                  <a:lnTo>
                    <a:pt x="1" y="15"/>
                  </a:lnTo>
                  <a:lnTo>
                    <a:pt x="1" y="12"/>
                  </a:lnTo>
                  <a:lnTo>
                    <a:pt x="3" y="10"/>
                  </a:lnTo>
                  <a:lnTo>
                    <a:pt x="3" y="8"/>
                  </a:lnTo>
                  <a:lnTo>
                    <a:pt x="5" y="6"/>
                  </a:lnTo>
                  <a:lnTo>
                    <a:pt x="7" y="6"/>
                  </a:lnTo>
                  <a:lnTo>
                    <a:pt x="9" y="4"/>
                  </a:lnTo>
                  <a:lnTo>
                    <a:pt x="11" y="3"/>
                  </a:lnTo>
                  <a:lnTo>
                    <a:pt x="15" y="2"/>
                  </a:lnTo>
                  <a:lnTo>
                    <a:pt x="18" y="1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4" y="2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87" name="Freeform 393"/>
            <p:cNvSpPr>
              <a:spLocks/>
            </p:cNvSpPr>
            <p:nvPr/>
          </p:nvSpPr>
          <p:spPr bwMode="auto">
            <a:xfrm>
              <a:off x="7072083" y="1097145"/>
              <a:ext cx="30465" cy="77411"/>
            </a:xfrm>
            <a:custGeom>
              <a:avLst/>
              <a:gdLst>
                <a:gd name="T0" fmla="*/ 7 w 13"/>
                <a:gd name="T1" fmla="*/ 15 h 39"/>
                <a:gd name="T2" fmla="*/ 7 w 13"/>
                <a:gd name="T3" fmla="*/ 12 h 39"/>
                <a:gd name="T4" fmla="*/ 7 w 13"/>
                <a:gd name="T5" fmla="*/ 10 h 39"/>
                <a:gd name="T6" fmla="*/ 7 w 13"/>
                <a:gd name="T7" fmla="*/ 8 h 39"/>
                <a:gd name="T8" fmla="*/ 6 w 13"/>
                <a:gd name="T9" fmla="*/ 5 h 39"/>
                <a:gd name="T10" fmla="*/ 5 w 13"/>
                <a:gd name="T11" fmla="*/ 2 h 39"/>
                <a:gd name="T12" fmla="*/ 5 w 13"/>
                <a:gd name="T13" fmla="*/ 1 h 39"/>
                <a:gd name="T14" fmla="*/ 3 w 13"/>
                <a:gd name="T15" fmla="*/ 0 h 39"/>
                <a:gd name="T16" fmla="*/ 3 w 13"/>
                <a:gd name="T17" fmla="*/ 0 h 39"/>
                <a:gd name="T18" fmla="*/ 1 w 13"/>
                <a:gd name="T19" fmla="*/ 1 h 39"/>
                <a:gd name="T20" fmla="*/ 0 w 13"/>
                <a:gd name="T21" fmla="*/ 2 h 39"/>
                <a:gd name="T22" fmla="*/ 0 w 13"/>
                <a:gd name="T23" fmla="*/ 4 h 39"/>
                <a:gd name="T24" fmla="*/ 0 w 13"/>
                <a:gd name="T25" fmla="*/ 5 h 39"/>
                <a:gd name="T26" fmla="*/ 0 w 13"/>
                <a:gd name="T27" fmla="*/ 8 h 39"/>
                <a:gd name="T28" fmla="*/ 1 w 13"/>
                <a:gd name="T29" fmla="*/ 11 h 39"/>
                <a:gd name="T30" fmla="*/ 1 w 13"/>
                <a:gd name="T31" fmla="*/ 13 h 39"/>
                <a:gd name="T32" fmla="*/ 1 w 13"/>
                <a:gd name="T33" fmla="*/ 14 h 39"/>
                <a:gd name="T34" fmla="*/ 2 w 13"/>
                <a:gd name="T35" fmla="*/ 16 h 39"/>
                <a:gd name="T36" fmla="*/ 3 w 13"/>
                <a:gd name="T37" fmla="*/ 18 h 39"/>
                <a:gd name="T38" fmla="*/ 4 w 13"/>
                <a:gd name="T39" fmla="*/ 19 h 39"/>
                <a:gd name="T40" fmla="*/ 6 w 13"/>
                <a:gd name="T41" fmla="*/ 17 h 39"/>
                <a:gd name="T42" fmla="*/ 6 w 13"/>
                <a:gd name="T43" fmla="*/ 16 h 39"/>
                <a:gd name="T44" fmla="*/ 7 w 13"/>
                <a:gd name="T45" fmla="*/ 15 h 3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3" h="39">
                  <a:moveTo>
                    <a:pt x="13" y="30"/>
                  </a:moveTo>
                  <a:lnTo>
                    <a:pt x="13" y="24"/>
                  </a:lnTo>
                  <a:lnTo>
                    <a:pt x="13" y="21"/>
                  </a:lnTo>
                  <a:lnTo>
                    <a:pt x="13" y="16"/>
                  </a:lnTo>
                  <a:lnTo>
                    <a:pt x="12" y="10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6" y="1"/>
                  </a:lnTo>
                  <a:lnTo>
                    <a:pt x="5" y="0"/>
                  </a:lnTo>
                  <a:lnTo>
                    <a:pt x="1" y="3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1" y="23"/>
                  </a:lnTo>
                  <a:lnTo>
                    <a:pt x="1" y="27"/>
                  </a:lnTo>
                  <a:lnTo>
                    <a:pt x="1" y="29"/>
                  </a:lnTo>
                  <a:lnTo>
                    <a:pt x="4" y="33"/>
                  </a:lnTo>
                  <a:lnTo>
                    <a:pt x="6" y="37"/>
                  </a:lnTo>
                  <a:lnTo>
                    <a:pt x="8" y="39"/>
                  </a:lnTo>
                  <a:lnTo>
                    <a:pt x="11" y="35"/>
                  </a:lnTo>
                  <a:lnTo>
                    <a:pt x="12" y="33"/>
                  </a:lnTo>
                  <a:lnTo>
                    <a:pt x="13" y="30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88" name="Freeform 394"/>
            <p:cNvSpPr>
              <a:spLocks/>
            </p:cNvSpPr>
            <p:nvPr/>
          </p:nvSpPr>
          <p:spPr bwMode="auto">
            <a:xfrm>
              <a:off x="7115604" y="1170482"/>
              <a:ext cx="52225" cy="44817"/>
            </a:xfrm>
            <a:custGeom>
              <a:avLst/>
              <a:gdLst>
                <a:gd name="T0" fmla="*/ 3 w 25"/>
                <a:gd name="T1" fmla="*/ 1 h 22"/>
                <a:gd name="T2" fmla="*/ 5 w 25"/>
                <a:gd name="T3" fmla="*/ 0 h 22"/>
                <a:gd name="T4" fmla="*/ 6 w 25"/>
                <a:gd name="T5" fmla="*/ 0 h 22"/>
                <a:gd name="T6" fmla="*/ 7 w 25"/>
                <a:gd name="T7" fmla="*/ 1 h 22"/>
                <a:gd name="T8" fmla="*/ 8 w 25"/>
                <a:gd name="T9" fmla="*/ 2 h 22"/>
                <a:gd name="T10" fmla="*/ 10 w 25"/>
                <a:gd name="T11" fmla="*/ 3 h 22"/>
                <a:gd name="T12" fmla="*/ 12 w 25"/>
                <a:gd name="T13" fmla="*/ 5 h 22"/>
                <a:gd name="T14" fmla="*/ 12 w 25"/>
                <a:gd name="T15" fmla="*/ 5 h 22"/>
                <a:gd name="T16" fmla="*/ 12 w 25"/>
                <a:gd name="T17" fmla="*/ 6 h 22"/>
                <a:gd name="T18" fmla="*/ 11 w 25"/>
                <a:gd name="T19" fmla="*/ 8 h 22"/>
                <a:gd name="T20" fmla="*/ 11 w 25"/>
                <a:gd name="T21" fmla="*/ 9 h 22"/>
                <a:gd name="T22" fmla="*/ 9 w 25"/>
                <a:gd name="T23" fmla="*/ 10 h 22"/>
                <a:gd name="T24" fmla="*/ 7 w 25"/>
                <a:gd name="T25" fmla="*/ 11 h 22"/>
                <a:gd name="T26" fmla="*/ 5 w 25"/>
                <a:gd name="T27" fmla="*/ 11 h 22"/>
                <a:gd name="T28" fmla="*/ 3 w 25"/>
                <a:gd name="T29" fmla="*/ 10 h 22"/>
                <a:gd name="T30" fmla="*/ 0 w 25"/>
                <a:gd name="T31" fmla="*/ 9 h 22"/>
                <a:gd name="T32" fmla="*/ 0 w 25"/>
                <a:gd name="T33" fmla="*/ 8 h 22"/>
                <a:gd name="T34" fmla="*/ 0 w 25"/>
                <a:gd name="T35" fmla="*/ 7 h 22"/>
                <a:gd name="T36" fmla="*/ 0 w 25"/>
                <a:gd name="T37" fmla="*/ 6 h 22"/>
                <a:gd name="T38" fmla="*/ 0 w 25"/>
                <a:gd name="T39" fmla="*/ 5 h 22"/>
                <a:gd name="T40" fmla="*/ 0 w 25"/>
                <a:gd name="T41" fmla="*/ 3 h 22"/>
                <a:gd name="T42" fmla="*/ 1 w 25"/>
                <a:gd name="T43" fmla="*/ 3 h 22"/>
                <a:gd name="T44" fmla="*/ 2 w 25"/>
                <a:gd name="T45" fmla="*/ 2 h 22"/>
                <a:gd name="T46" fmla="*/ 3 w 25"/>
                <a:gd name="T47" fmla="*/ 1 h 2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5" h="22">
                  <a:moveTo>
                    <a:pt x="7" y="2"/>
                  </a:moveTo>
                  <a:lnTo>
                    <a:pt x="10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7" y="3"/>
                  </a:lnTo>
                  <a:lnTo>
                    <a:pt x="21" y="6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5" y="12"/>
                  </a:lnTo>
                  <a:lnTo>
                    <a:pt x="23" y="15"/>
                  </a:lnTo>
                  <a:lnTo>
                    <a:pt x="22" y="18"/>
                  </a:lnTo>
                  <a:lnTo>
                    <a:pt x="18" y="20"/>
                  </a:lnTo>
                  <a:lnTo>
                    <a:pt x="15" y="22"/>
                  </a:lnTo>
                  <a:lnTo>
                    <a:pt x="11" y="21"/>
                  </a:lnTo>
                  <a:lnTo>
                    <a:pt x="6" y="20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6"/>
                  </a:lnTo>
                  <a:lnTo>
                    <a:pt x="3" y="5"/>
                  </a:lnTo>
                  <a:lnTo>
                    <a:pt x="5" y="3"/>
                  </a:lnTo>
                  <a:lnTo>
                    <a:pt x="7" y="2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89" name="Freeform 396"/>
            <p:cNvSpPr>
              <a:spLocks/>
            </p:cNvSpPr>
            <p:nvPr/>
          </p:nvSpPr>
          <p:spPr bwMode="auto">
            <a:xfrm>
              <a:off x="6750025" y="2445723"/>
              <a:ext cx="539665" cy="456317"/>
            </a:xfrm>
            <a:custGeom>
              <a:avLst/>
              <a:gdLst>
                <a:gd name="T0" fmla="*/ 69 w 249"/>
                <a:gd name="T1" fmla="*/ 104 h 224"/>
                <a:gd name="T2" fmla="*/ 72 w 249"/>
                <a:gd name="T3" fmla="*/ 94 h 224"/>
                <a:gd name="T4" fmla="*/ 67 w 249"/>
                <a:gd name="T5" fmla="*/ 95 h 224"/>
                <a:gd name="T6" fmla="*/ 66 w 249"/>
                <a:gd name="T7" fmla="*/ 89 h 224"/>
                <a:gd name="T8" fmla="*/ 63 w 249"/>
                <a:gd name="T9" fmla="*/ 86 h 224"/>
                <a:gd name="T10" fmla="*/ 59 w 249"/>
                <a:gd name="T11" fmla="*/ 94 h 224"/>
                <a:gd name="T12" fmla="*/ 53 w 249"/>
                <a:gd name="T13" fmla="*/ 95 h 224"/>
                <a:gd name="T14" fmla="*/ 47 w 249"/>
                <a:gd name="T15" fmla="*/ 93 h 224"/>
                <a:gd name="T16" fmla="*/ 42 w 249"/>
                <a:gd name="T17" fmla="*/ 88 h 224"/>
                <a:gd name="T18" fmla="*/ 33 w 249"/>
                <a:gd name="T19" fmla="*/ 91 h 224"/>
                <a:gd name="T20" fmla="*/ 20 w 249"/>
                <a:gd name="T21" fmla="*/ 88 h 224"/>
                <a:gd name="T22" fmla="*/ 14 w 249"/>
                <a:gd name="T23" fmla="*/ 93 h 224"/>
                <a:gd name="T24" fmla="*/ 7 w 249"/>
                <a:gd name="T25" fmla="*/ 93 h 224"/>
                <a:gd name="T26" fmla="*/ 2 w 249"/>
                <a:gd name="T27" fmla="*/ 85 h 224"/>
                <a:gd name="T28" fmla="*/ 0 w 249"/>
                <a:gd name="T29" fmla="*/ 80 h 224"/>
                <a:gd name="T30" fmla="*/ 8 w 249"/>
                <a:gd name="T31" fmla="*/ 74 h 224"/>
                <a:gd name="T32" fmla="*/ 17 w 249"/>
                <a:gd name="T33" fmla="*/ 70 h 224"/>
                <a:gd name="T34" fmla="*/ 23 w 249"/>
                <a:gd name="T35" fmla="*/ 66 h 224"/>
                <a:gd name="T36" fmla="*/ 30 w 249"/>
                <a:gd name="T37" fmla="*/ 45 h 224"/>
                <a:gd name="T38" fmla="*/ 26 w 249"/>
                <a:gd name="T39" fmla="*/ 36 h 224"/>
                <a:gd name="T40" fmla="*/ 32 w 249"/>
                <a:gd name="T41" fmla="*/ 26 h 224"/>
                <a:gd name="T42" fmla="*/ 42 w 249"/>
                <a:gd name="T43" fmla="*/ 31 h 224"/>
                <a:gd name="T44" fmla="*/ 47 w 249"/>
                <a:gd name="T45" fmla="*/ 28 h 224"/>
                <a:gd name="T46" fmla="*/ 54 w 249"/>
                <a:gd name="T47" fmla="*/ 40 h 224"/>
                <a:gd name="T48" fmla="*/ 58 w 249"/>
                <a:gd name="T49" fmla="*/ 58 h 224"/>
                <a:gd name="T50" fmla="*/ 66 w 249"/>
                <a:gd name="T51" fmla="*/ 49 h 224"/>
                <a:gd name="T52" fmla="*/ 74 w 249"/>
                <a:gd name="T53" fmla="*/ 49 h 224"/>
                <a:gd name="T54" fmla="*/ 81 w 249"/>
                <a:gd name="T55" fmla="*/ 54 h 224"/>
                <a:gd name="T56" fmla="*/ 89 w 249"/>
                <a:gd name="T57" fmla="*/ 45 h 224"/>
                <a:gd name="T58" fmla="*/ 86 w 249"/>
                <a:gd name="T59" fmla="*/ 22 h 224"/>
                <a:gd name="T60" fmla="*/ 78 w 249"/>
                <a:gd name="T61" fmla="*/ 31 h 224"/>
                <a:gd name="T62" fmla="*/ 71 w 249"/>
                <a:gd name="T63" fmla="*/ 36 h 224"/>
                <a:gd name="T64" fmla="*/ 60 w 249"/>
                <a:gd name="T65" fmla="*/ 33 h 224"/>
                <a:gd name="T66" fmla="*/ 68 w 249"/>
                <a:gd name="T67" fmla="*/ 6 h 224"/>
                <a:gd name="T68" fmla="*/ 74 w 249"/>
                <a:gd name="T69" fmla="*/ 4 h 224"/>
                <a:gd name="T70" fmla="*/ 84 w 249"/>
                <a:gd name="T71" fmla="*/ 9 h 224"/>
                <a:gd name="T72" fmla="*/ 96 w 249"/>
                <a:gd name="T73" fmla="*/ 15 h 224"/>
                <a:gd name="T74" fmla="*/ 102 w 249"/>
                <a:gd name="T75" fmla="*/ 26 h 224"/>
                <a:gd name="T76" fmla="*/ 105 w 249"/>
                <a:gd name="T77" fmla="*/ 72 h 224"/>
                <a:gd name="T78" fmla="*/ 114 w 249"/>
                <a:gd name="T79" fmla="*/ 80 h 224"/>
                <a:gd name="T80" fmla="*/ 123 w 249"/>
                <a:gd name="T81" fmla="*/ 93 h 224"/>
                <a:gd name="T82" fmla="*/ 119 w 249"/>
                <a:gd name="T83" fmla="*/ 97 h 224"/>
                <a:gd name="T84" fmla="*/ 116 w 249"/>
                <a:gd name="T85" fmla="*/ 100 h 224"/>
                <a:gd name="T86" fmla="*/ 111 w 249"/>
                <a:gd name="T87" fmla="*/ 101 h 224"/>
                <a:gd name="T88" fmla="*/ 103 w 249"/>
                <a:gd name="T89" fmla="*/ 104 h 224"/>
                <a:gd name="T90" fmla="*/ 95 w 249"/>
                <a:gd name="T91" fmla="*/ 106 h 224"/>
                <a:gd name="T92" fmla="*/ 89 w 249"/>
                <a:gd name="T93" fmla="*/ 110 h 224"/>
                <a:gd name="T94" fmla="*/ 75 w 249"/>
                <a:gd name="T95" fmla="*/ 108 h 22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49" h="224">
                  <a:moveTo>
                    <a:pt x="139" y="218"/>
                  </a:moveTo>
                  <a:lnTo>
                    <a:pt x="139" y="217"/>
                  </a:lnTo>
                  <a:lnTo>
                    <a:pt x="138" y="208"/>
                  </a:lnTo>
                  <a:lnTo>
                    <a:pt x="138" y="202"/>
                  </a:lnTo>
                  <a:lnTo>
                    <a:pt x="144" y="199"/>
                  </a:lnTo>
                  <a:lnTo>
                    <a:pt x="145" y="188"/>
                  </a:lnTo>
                  <a:lnTo>
                    <a:pt x="144" y="187"/>
                  </a:lnTo>
                  <a:lnTo>
                    <a:pt x="138" y="190"/>
                  </a:lnTo>
                  <a:lnTo>
                    <a:pt x="135" y="190"/>
                  </a:lnTo>
                  <a:lnTo>
                    <a:pt x="129" y="184"/>
                  </a:lnTo>
                  <a:lnTo>
                    <a:pt x="131" y="180"/>
                  </a:lnTo>
                  <a:lnTo>
                    <a:pt x="132" y="177"/>
                  </a:lnTo>
                  <a:lnTo>
                    <a:pt x="132" y="170"/>
                  </a:lnTo>
                  <a:lnTo>
                    <a:pt x="130" y="168"/>
                  </a:lnTo>
                  <a:lnTo>
                    <a:pt x="127" y="171"/>
                  </a:lnTo>
                  <a:lnTo>
                    <a:pt x="127" y="177"/>
                  </a:lnTo>
                  <a:lnTo>
                    <a:pt x="123" y="186"/>
                  </a:lnTo>
                  <a:lnTo>
                    <a:pt x="119" y="187"/>
                  </a:lnTo>
                  <a:lnTo>
                    <a:pt x="114" y="190"/>
                  </a:lnTo>
                  <a:lnTo>
                    <a:pt x="111" y="189"/>
                  </a:lnTo>
                  <a:lnTo>
                    <a:pt x="106" y="189"/>
                  </a:lnTo>
                  <a:lnTo>
                    <a:pt x="103" y="193"/>
                  </a:lnTo>
                  <a:lnTo>
                    <a:pt x="97" y="189"/>
                  </a:lnTo>
                  <a:lnTo>
                    <a:pt x="95" y="186"/>
                  </a:lnTo>
                  <a:lnTo>
                    <a:pt x="93" y="180"/>
                  </a:lnTo>
                  <a:lnTo>
                    <a:pt x="89" y="176"/>
                  </a:lnTo>
                  <a:lnTo>
                    <a:pt x="84" y="176"/>
                  </a:lnTo>
                  <a:lnTo>
                    <a:pt x="81" y="180"/>
                  </a:lnTo>
                  <a:lnTo>
                    <a:pt x="78" y="182"/>
                  </a:lnTo>
                  <a:lnTo>
                    <a:pt x="67" y="181"/>
                  </a:lnTo>
                  <a:lnTo>
                    <a:pt x="63" y="184"/>
                  </a:lnTo>
                  <a:lnTo>
                    <a:pt x="48" y="182"/>
                  </a:lnTo>
                  <a:lnTo>
                    <a:pt x="40" y="176"/>
                  </a:lnTo>
                  <a:lnTo>
                    <a:pt x="35" y="176"/>
                  </a:lnTo>
                  <a:lnTo>
                    <a:pt x="34" y="183"/>
                  </a:lnTo>
                  <a:lnTo>
                    <a:pt x="29" y="186"/>
                  </a:lnTo>
                  <a:lnTo>
                    <a:pt x="25" y="186"/>
                  </a:lnTo>
                  <a:lnTo>
                    <a:pt x="19" y="184"/>
                  </a:lnTo>
                  <a:lnTo>
                    <a:pt x="15" y="186"/>
                  </a:lnTo>
                  <a:lnTo>
                    <a:pt x="13" y="175"/>
                  </a:lnTo>
                  <a:lnTo>
                    <a:pt x="10" y="172"/>
                  </a:lnTo>
                  <a:lnTo>
                    <a:pt x="5" y="170"/>
                  </a:lnTo>
                  <a:lnTo>
                    <a:pt x="0" y="168"/>
                  </a:lnTo>
                  <a:lnTo>
                    <a:pt x="0" y="163"/>
                  </a:lnTo>
                  <a:lnTo>
                    <a:pt x="1" y="159"/>
                  </a:lnTo>
                  <a:lnTo>
                    <a:pt x="9" y="156"/>
                  </a:lnTo>
                  <a:lnTo>
                    <a:pt x="12" y="153"/>
                  </a:lnTo>
                  <a:lnTo>
                    <a:pt x="16" y="148"/>
                  </a:lnTo>
                  <a:lnTo>
                    <a:pt x="21" y="143"/>
                  </a:lnTo>
                  <a:lnTo>
                    <a:pt x="29" y="138"/>
                  </a:lnTo>
                  <a:lnTo>
                    <a:pt x="35" y="139"/>
                  </a:lnTo>
                  <a:lnTo>
                    <a:pt x="40" y="138"/>
                  </a:lnTo>
                  <a:lnTo>
                    <a:pt x="42" y="137"/>
                  </a:lnTo>
                  <a:lnTo>
                    <a:pt x="47" y="132"/>
                  </a:lnTo>
                  <a:lnTo>
                    <a:pt x="53" y="125"/>
                  </a:lnTo>
                  <a:lnTo>
                    <a:pt x="57" y="114"/>
                  </a:lnTo>
                  <a:lnTo>
                    <a:pt x="60" y="89"/>
                  </a:lnTo>
                  <a:lnTo>
                    <a:pt x="59" y="81"/>
                  </a:lnTo>
                  <a:lnTo>
                    <a:pt x="52" y="74"/>
                  </a:lnTo>
                  <a:lnTo>
                    <a:pt x="53" y="72"/>
                  </a:lnTo>
                  <a:lnTo>
                    <a:pt x="60" y="69"/>
                  </a:lnTo>
                  <a:lnTo>
                    <a:pt x="61" y="67"/>
                  </a:lnTo>
                  <a:lnTo>
                    <a:pt x="64" y="51"/>
                  </a:lnTo>
                  <a:lnTo>
                    <a:pt x="67" y="53"/>
                  </a:lnTo>
                  <a:lnTo>
                    <a:pt x="78" y="57"/>
                  </a:lnTo>
                  <a:lnTo>
                    <a:pt x="84" y="61"/>
                  </a:lnTo>
                  <a:lnTo>
                    <a:pt x="87" y="60"/>
                  </a:lnTo>
                  <a:lnTo>
                    <a:pt x="93" y="55"/>
                  </a:lnTo>
                  <a:lnTo>
                    <a:pt x="94" y="56"/>
                  </a:lnTo>
                  <a:lnTo>
                    <a:pt x="105" y="63"/>
                  </a:lnTo>
                  <a:lnTo>
                    <a:pt x="108" y="68"/>
                  </a:lnTo>
                  <a:lnTo>
                    <a:pt x="108" y="79"/>
                  </a:lnTo>
                  <a:lnTo>
                    <a:pt x="109" y="90"/>
                  </a:lnTo>
                  <a:lnTo>
                    <a:pt x="112" y="109"/>
                  </a:lnTo>
                  <a:lnTo>
                    <a:pt x="117" y="116"/>
                  </a:lnTo>
                  <a:lnTo>
                    <a:pt x="123" y="117"/>
                  </a:lnTo>
                  <a:lnTo>
                    <a:pt x="130" y="109"/>
                  </a:lnTo>
                  <a:lnTo>
                    <a:pt x="132" y="98"/>
                  </a:lnTo>
                  <a:lnTo>
                    <a:pt x="132" y="90"/>
                  </a:lnTo>
                  <a:lnTo>
                    <a:pt x="135" y="87"/>
                  </a:lnTo>
                  <a:lnTo>
                    <a:pt x="149" y="97"/>
                  </a:lnTo>
                  <a:lnTo>
                    <a:pt x="153" y="101"/>
                  </a:lnTo>
                  <a:lnTo>
                    <a:pt x="159" y="103"/>
                  </a:lnTo>
                  <a:lnTo>
                    <a:pt x="162" y="107"/>
                  </a:lnTo>
                  <a:lnTo>
                    <a:pt x="167" y="108"/>
                  </a:lnTo>
                  <a:lnTo>
                    <a:pt x="172" y="104"/>
                  </a:lnTo>
                  <a:lnTo>
                    <a:pt x="179" y="89"/>
                  </a:lnTo>
                  <a:lnTo>
                    <a:pt x="183" y="62"/>
                  </a:lnTo>
                  <a:lnTo>
                    <a:pt x="185" y="60"/>
                  </a:lnTo>
                  <a:lnTo>
                    <a:pt x="172" y="44"/>
                  </a:lnTo>
                  <a:lnTo>
                    <a:pt x="168" y="54"/>
                  </a:lnTo>
                  <a:lnTo>
                    <a:pt x="162" y="57"/>
                  </a:lnTo>
                  <a:lnTo>
                    <a:pt x="157" y="62"/>
                  </a:lnTo>
                  <a:lnTo>
                    <a:pt x="154" y="67"/>
                  </a:lnTo>
                  <a:lnTo>
                    <a:pt x="144" y="67"/>
                  </a:lnTo>
                  <a:lnTo>
                    <a:pt x="143" y="72"/>
                  </a:lnTo>
                  <a:lnTo>
                    <a:pt x="132" y="74"/>
                  </a:lnTo>
                  <a:lnTo>
                    <a:pt x="121" y="73"/>
                  </a:lnTo>
                  <a:lnTo>
                    <a:pt x="120" y="66"/>
                  </a:lnTo>
                  <a:lnTo>
                    <a:pt x="121" y="57"/>
                  </a:lnTo>
                  <a:lnTo>
                    <a:pt x="129" y="24"/>
                  </a:lnTo>
                  <a:lnTo>
                    <a:pt x="136" y="12"/>
                  </a:lnTo>
                  <a:lnTo>
                    <a:pt x="137" y="6"/>
                  </a:lnTo>
                  <a:lnTo>
                    <a:pt x="138" y="0"/>
                  </a:lnTo>
                  <a:lnTo>
                    <a:pt x="149" y="8"/>
                  </a:lnTo>
                  <a:lnTo>
                    <a:pt x="155" y="10"/>
                  </a:lnTo>
                  <a:lnTo>
                    <a:pt x="165" y="12"/>
                  </a:lnTo>
                  <a:lnTo>
                    <a:pt x="168" y="17"/>
                  </a:lnTo>
                  <a:lnTo>
                    <a:pt x="179" y="24"/>
                  </a:lnTo>
                  <a:lnTo>
                    <a:pt x="186" y="29"/>
                  </a:lnTo>
                  <a:lnTo>
                    <a:pt x="192" y="29"/>
                  </a:lnTo>
                  <a:lnTo>
                    <a:pt x="201" y="25"/>
                  </a:lnTo>
                  <a:lnTo>
                    <a:pt x="213" y="14"/>
                  </a:lnTo>
                  <a:lnTo>
                    <a:pt x="205" y="51"/>
                  </a:lnTo>
                  <a:lnTo>
                    <a:pt x="204" y="77"/>
                  </a:lnTo>
                  <a:lnTo>
                    <a:pt x="205" y="110"/>
                  </a:lnTo>
                  <a:lnTo>
                    <a:pt x="210" y="143"/>
                  </a:lnTo>
                  <a:lnTo>
                    <a:pt x="221" y="162"/>
                  </a:lnTo>
                  <a:lnTo>
                    <a:pt x="226" y="162"/>
                  </a:lnTo>
                  <a:lnTo>
                    <a:pt x="228" y="159"/>
                  </a:lnTo>
                  <a:lnTo>
                    <a:pt x="232" y="160"/>
                  </a:lnTo>
                  <a:lnTo>
                    <a:pt x="249" y="186"/>
                  </a:lnTo>
                  <a:lnTo>
                    <a:pt x="246" y="186"/>
                  </a:lnTo>
                  <a:lnTo>
                    <a:pt x="243" y="188"/>
                  </a:lnTo>
                  <a:lnTo>
                    <a:pt x="239" y="192"/>
                  </a:lnTo>
                  <a:lnTo>
                    <a:pt x="238" y="194"/>
                  </a:lnTo>
                  <a:lnTo>
                    <a:pt x="237" y="196"/>
                  </a:lnTo>
                  <a:lnTo>
                    <a:pt x="235" y="199"/>
                  </a:lnTo>
                  <a:lnTo>
                    <a:pt x="232" y="200"/>
                  </a:lnTo>
                  <a:lnTo>
                    <a:pt x="231" y="206"/>
                  </a:lnTo>
                  <a:lnTo>
                    <a:pt x="227" y="206"/>
                  </a:lnTo>
                  <a:lnTo>
                    <a:pt x="223" y="202"/>
                  </a:lnTo>
                  <a:lnTo>
                    <a:pt x="220" y="200"/>
                  </a:lnTo>
                  <a:lnTo>
                    <a:pt x="215" y="201"/>
                  </a:lnTo>
                  <a:lnTo>
                    <a:pt x="207" y="208"/>
                  </a:lnTo>
                  <a:lnTo>
                    <a:pt x="203" y="207"/>
                  </a:lnTo>
                  <a:lnTo>
                    <a:pt x="199" y="205"/>
                  </a:lnTo>
                  <a:lnTo>
                    <a:pt x="190" y="211"/>
                  </a:lnTo>
                  <a:lnTo>
                    <a:pt x="186" y="211"/>
                  </a:lnTo>
                  <a:lnTo>
                    <a:pt x="179" y="216"/>
                  </a:lnTo>
                  <a:lnTo>
                    <a:pt x="178" y="219"/>
                  </a:lnTo>
                  <a:lnTo>
                    <a:pt x="173" y="224"/>
                  </a:lnTo>
                  <a:lnTo>
                    <a:pt x="160" y="224"/>
                  </a:lnTo>
                  <a:lnTo>
                    <a:pt x="150" y="216"/>
                  </a:lnTo>
                  <a:lnTo>
                    <a:pt x="145" y="216"/>
                  </a:lnTo>
                  <a:lnTo>
                    <a:pt x="139" y="218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90" name="Freeform 397"/>
            <p:cNvSpPr>
              <a:spLocks/>
            </p:cNvSpPr>
            <p:nvPr/>
          </p:nvSpPr>
          <p:spPr bwMode="auto">
            <a:xfrm>
              <a:off x="6985041" y="2824628"/>
              <a:ext cx="417806" cy="582618"/>
            </a:xfrm>
            <a:custGeom>
              <a:avLst/>
              <a:gdLst>
                <a:gd name="T0" fmla="*/ 62 w 192"/>
                <a:gd name="T1" fmla="*/ 126 h 286"/>
                <a:gd name="T2" fmla="*/ 56 w 192"/>
                <a:gd name="T3" fmla="*/ 131 h 286"/>
                <a:gd name="T4" fmla="*/ 53 w 192"/>
                <a:gd name="T5" fmla="*/ 143 h 286"/>
                <a:gd name="T6" fmla="*/ 48 w 192"/>
                <a:gd name="T7" fmla="*/ 139 h 286"/>
                <a:gd name="T8" fmla="*/ 35 w 192"/>
                <a:gd name="T9" fmla="*/ 143 h 286"/>
                <a:gd name="T10" fmla="*/ 32 w 192"/>
                <a:gd name="T11" fmla="*/ 137 h 286"/>
                <a:gd name="T12" fmla="*/ 37 w 192"/>
                <a:gd name="T13" fmla="*/ 135 h 286"/>
                <a:gd name="T14" fmla="*/ 29 w 192"/>
                <a:gd name="T15" fmla="*/ 133 h 286"/>
                <a:gd name="T16" fmla="*/ 18 w 192"/>
                <a:gd name="T17" fmla="*/ 127 h 286"/>
                <a:gd name="T18" fmla="*/ 8 w 192"/>
                <a:gd name="T19" fmla="*/ 129 h 286"/>
                <a:gd name="T20" fmla="*/ 2 w 192"/>
                <a:gd name="T21" fmla="*/ 120 h 286"/>
                <a:gd name="T22" fmla="*/ 6 w 192"/>
                <a:gd name="T23" fmla="*/ 107 h 286"/>
                <a:gd name="T24" fmla="*/ 2 w 192"/>
                <a:gd name="T25" fmla="*/ 102 h 286"/>
                <a:gd name="T26" fmla="*/ 3 w 192"/>
                <a:gd name="T27" fmla="*/ 94 h 286"/>
                <a:gd name="T28" fmla="*/ 3 w 192"/>
                <a:gd name="T29" fmla="*/ 89 h 286"/>
                <a:gd name="T30" fmla="*/ 0 w 192"/>
                <a:gd name="T31" fmla="*/ 82 h 286"/>
                <a:gd name="T32" fmla="*/ 6 w 192"/>
                <a:gd name="T33" fmla="*/ 72 h 286"/>
                <a:gd name="T34" fmla="*/ 11 w 192"/>
                <a:gd name="T35" fmla="*/ 58 h 286"/>
                <a:gd name="T36" fmla="*/ 12 w 192"/>
                <a:gd name="T37" fmla="*/ 50 h 286"/>
                <a:gd name="T38" fmla="*/ 9 w 192"/>
                <a:gd name="T39" fmla="*/ 44 h 286"/>
                <a:gd name="T40" fmla="*/ 13 w 192"/>
                <a:gd name="T41" fmla="*/ 41 h 286"/>
                <a:gd name="T42" fmla="*/ 13 w 192"/>
                <a:gd name="T43" fmla="*/ 29 h 286"/>
                <a:gd name="T44" fmla="*/ 15 w 192"/>
                <a:gd name="T45" fmla="*/ 16 h 286"/>
                <a:gd name="T46" fmla="*/ 26 w 192"/>
                <a:gd name="T47" fmla="*/ 19 h 286"/>
                <a:gd name="T48" fmla="*/ 35 w 192"/>
                <a:gd name="T49" fmla="*/ 15 h 286"/>
                <a:gd name="T50" fmla="*/ 45 w 192"/>
                <a:gd name="T51" fmla="*/ 10 h 286"/>
                <a:gd name="T52" fmla="*/ 53 w 192"/>
                <a:gd name="T53" fmla="*/ 8 h 286"/>
                <a:gd name="T54" fmla="*/ 59 w 192"/>
                <a:gd name="T55" fmla="*/ 10 h 286"/>
                <a:gd name="T56" fmla="*/ 63 w 192"/>
                <a:gd name="T57" fmla="*/ 7 h 286"/>
                <a:gd name="T58" fmla="*/ 65 w 192"/>
                <a:gd name="T59" fmla="*/ 3 h 286"/>
                <a:gd name="T60" fmla="*/ 70 w 192"/>
                <a:gd name="T61" fmla="*/ 0 h 286"/>
                <a:gd name="T62" fmla="*/ 81 w 192"/>
                <a:gd name="T63" fmla="*/ 21 h 286"/>
                <a:gd name="T64" fmla="*/ 80 w 192"/>
                <a:gd name="T65" fmla="*/ 28 h 286"/>
                <a:gd name="T66" fmla="*/ 81 w 192"/>
                <a:gd name="T67" fmla="*/ 32 h 286"/>
                <a:gd name="T68" fmla="*/ 87 w 192"/>
                <a:gd name="T69" fmla="*/ 45 h 286"/>
                <a:gd name="T70" fmla="*/ 90 w 192"/>
                <a:gd name="T71" fmla="*/ 50 h 286"/>
                <a:gd name="T72" fmla="*/ 95 w 192"/>
                <a:gd name="T73" fmla="*/ 70 h 286"/>
                <a:gd name="T74" fmla="*/ 93 w 192"/>
                <a:gd name="T75" fmla="*/ 78 h 286"/>
                <a:gd name="T76" fmla="*/ 94 w 192"/>
                <a:gd name="T77" fmla="*/ 83 h 286"/>
                <a:gd name="T78" fmla="*/ 88 w 192"/>
                <a:gd name="T79" fmla="*/ 88 h 286"/>
                <a:gd name="T80" fmla="*/ 91 w 192"/>
                <a:gd name="T81" fmla="*/ 94 h 286"/>
                <a:gd name="T82" fmla="*/ 86 w 192"/>
                <a:gd name="T83" fmla="*/ 98 h 286"/>
                <a:gd name="T84" fmla="*/ 87 w 192"/>
                <a:gd name="T85" fmla="*/ 104 h 286"/>
                <a:gd name="T86" fmla="*/ 84 w 192"/>
                <a:gd name="T87" fmla="*/ 107 h 286"/>
                <a:gd name="T88" fmla="*/ 86 w 192"/>
                <a:gd name="T89" fmla="*/ 111 h 286"/>
                <a:gd name="T90" fmla="*/ 81 w 192"/>
                <a:gd name="T91" fmla="*/ 119 h 286"/>
                <a:gd name="T92" fmla="*/ 69 w 192"/>
                <a:gd name="T93" fmla="*/ 129 h 28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92" h="286">
                  <a:moveTo>
                    <a:pt x="138" y="257"/>
                  </a:moveTo>
                  <a:lnTo>
                    <a:pt x="135" y="257"/>
                  </a:lnTo>
                  <a:lnTo>
                    <a:pt x="123" y="251"/>
                  </a:lnTo>
                  <a:lnTo>
                    <a:pt x="119" y="250"/>
                  </a:lnTo>
                  <a:lnTo>
                    <a:pt x="113" y="251"/>
                  </a:lnTo>
                  <a:lnTo>
                    <a:pt x="112" y="262"/>
                  </a:lnTo>
                  <a:lnTo>
                    <a:pt x="113" y="273"/>
                  </a:lnTo>
                  <a:lnTo>
                    <a:pt x="110" y="280"/>
                  </a:lnTo>
                  <a:lnTo>
                    <a:pt x="106" y="286"/>
                  </a:lnTo>
                  <a:lnTo>
                    <a:pt x="104" y="284"/>
                  </a:lnTo>
                  <a:lnTo>
                    <a:pt x="101" y="280"/>
                  </a:lnTo>
                  <a:lnTo>
                    <a:pt x="96" y="278"/>
                  </a:lnTo>
                  <a:lnTo>
                    <a:pt x="93" y="286"/>
                  </a:lnTo>
                  <a:lnTo>
                    <a:pt x="82" y="286"/>
                  </a:lnTo>
                  <a:lnTo>
                    <a:pt x="69" y="285"/>
                  </a:lnTo>
                  <a:lnTo>
                    <a:pt x="64" y="282"/>
                  </a:lnTo>
                  <a:lnTo>
                    <a:pt x="62" y="278"/>
                  </a:lnTo>
                  <a:lnTo>
                    <a:pt x="64" y="274"/>
                  </a:lnTo>
                  <a:lnTo>
                    <a:pt x="65" y="273"/>
                  </a:lnTo>
                  <a:lnTo>
                    <a:pt x="71" y="272"/>
                  </a:lnTo>
                  <a:lnTo>
                    <a:pt x="74" y="269"/>
                  </a:lnTo>
                  <a:lnTo>
                    <a:pt x="71" y="267"/>
                  </a:lnTo>
                  <a:lnTo>
                    <a:pt x="62" y="267"/>
                  </a:lnTo>
                  <a:lnTo>
                    <a:pt x="57" y="266"/>
                  </a:lnTo>
                  <a:lnTo>
                    <a:pt x="48" y="260"/>
                  </a:lnTo>
                  <a:lnTo>
                    <a:pt x="40" y="254"/>
                  </a:lnTo>
                  <a:lnTo>
                    <a:pt x="35" y="254"/>
                  </a:lnTo>
                  <a:lnTo>
                    <a:pt x="27" y="256"/>
                  </a:lnTo>
                  <a:lnTo>
                    <a:pt x="21" y="256"/>
                  </a:lnTo>
                  <a:lnTo>
                    <a:pt x="16" y="257"/>
                  </a:lnTo>
                  <a:lnTo>
                    <a:pt x="0" y="250"/>
                  </a:lnTo>
                  <a:lnTo>
                    <a:pt x="3" y="243"/>
                  </a:lnTo>
                  <a:lnTo>
                    <a:pt x="4" y="239"/>
                  </a:lnTo>
                  <a:lnTo>
                    <a:pt x="4" y="234"/>
                  </a:lnTo>
                  <a:lnTo>
                    <a:pt x="11" y="225"/>
                  </a:lnTo>
                  <a:lnTo>
                    <a:pt x="12" y="214"/>
                  </a:lnTo>
                  <a:lnTo>
                    <a:pt x="11" y="214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9" y="197"/>
                  </a:lnTo>
                  <a:lnTo>
                    <a:pt x="10" y="194"/>
                  </a:lnTo>
                  <a:lnTo>
                    <a:pt x="6" y="188"/>
                  </a:lnTo>
                  <a:lnTo>
                    <a:pt x="4" y="183"/>
                  </a:lnTo>
                  <a:lnTo>
                    <a:pt x="5" y="179"/>
                  </a:lnTo>
                  <a:lnTo>
                    <a:pt x="5" y="177"/>
                  </a:lnTo>
                  <a:lnTo>
                    <a:pt x="5" y="171"/>
                  </a:lnTo>
                  <a:lnTo>
                    <a:pt x="2" y="166"/>
                  </a:lnTo>
                  <a:lnTo>
                    <a:pt x="0" y="163"/>
                  </a:lnTo>
                  <a:lnTo>
                    <a:pt x="3" y="158"/>
                  </a:lnTo>
                  <a:lnTo>
                    <a:pt x="6" y="153"/>
                  </a:lnTo>
                  <a:lnTo>
                    <a:pt x="11" y="143"/>
                  </a:lnTo>
                  <a:lnTo>
                    <a:pt x="12" y="135"/>
                  </a:lnTo>
                  <a:lnTo>
                    <a:pt x="18" y="128"/>
                  </a:lnTo>
                  <a:lnTo>
                    <a:pt x="21" y="116"/>
                  </a:lnTo>
                  <a:lnTo>
                    <a:pt x="17" y="111"/>
                  </a:lnTo>
                  <a:lnTo>
                    <a:pt x="18" y="107"/>
                  </a:lnTo>
                  <a:lnTo>
                    <a:pt x="23" y="100"/>
                  </a:lnTo>
                  <a:lnTo>
                    <a:pt x="24" y="94"/>
                  </a:lnTo>
                  <a:lnTo>
                    <a:pt x="18" y="91"/>
                  </a:lnTo>
                  <a:lnTo>
                    <a:pt x="17" y="88"/>
                  </a:lnTo>
                  <a:lnTo>
                    <a:pt x="18" y="83"/>
                  </a:lnTo>
                  <a:lnTo>
                    <a:pt x="21" y="81"/>
                  </a:lnTo>
                  <a:lnTo>
                    <a:pt x="26" y="82"/>
                  </a:lnTo>
                  <a:lnTo>
                    <a:pt x="29" y="78"/>
                  </a:lnTo>
                  <a:lnTo>
                    <a:pt x="27" y="67"/>
                  </a:lnTo>
                  <a:lnTo>
                    <a:pt x="26" y="58"/>
                  </a:lnTo>
                  <a:lnTo>
                    <a:pt x="22" y="44"/>
                  </a:lnTo>
                  <a:lnTo>
                    <a:pt x="27" y="38"/>
                  </a:lnTo>
                  <a:lnTo>
                    <a:pt x="30" y="32"/>
                  </a:lnTo>
                  <a:lnTo>
                    <a:pt x="36" y="30"/>
                  </a:lnTo>
                  <a:lnTo>
                    <a:pt x="41" y="30"/>
                  </a:lnTo>
                  <a:lnTo>
                    <a:pt x="51" y="38"/>
                  </a:lnTo>
                  <a:lnTo>
                    <a:pt x="64" y="38"/>
                  </a:lnTo>
                  <a:lnTo>
                    <a:pt x="69" y="33"/>
                  </a:lnTo>
                  <a:lnTo>
                    <a:pt x="70" y="30"/>
                  </a:lnTo>
                  <a:lnTo>
                    <a:pt x="77" y="25"/>
                  </a:lnTo>
                  <a:lnTo>
                    <a:pt x="81" y="25"/>
                  </a:lnTo>
                  <a:lnTo>
                    <a:pt x="90" y="19"/>
                  </a:lnTo>
                  <a:lnTo>
                    <a:pt x="94" y="21"/>
                  </a:lnTo>
                  <a:lnTo>
                    <a:pt x="98" y="22"/>
                  </a:lnTo>
                  <a:lnTo>
                    <a:pt x="106" y="15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20"/>
                  </a:lnTo>
                  <a:lnTo>
                    <a:pt x="122" y="20"/>
                  </a:lnTo>
                  <a:lnTo>
                    <a:pt x="123" y="14"/>
                  </a:lnTo>
                  <a:lnTo>
                    <a:pt x="126" y="13"/>
                  </a:lnTo>
                  <a:lnTo>
                    <a:pt x="128" y="10"/>
                  </a:lnTo>
                  <a:lnTo>
                    <a:pt x="129" y="8"/>
                  </a:lnTo>
                  <a:lnTo>
                    <a:pt x="130" y="6"/>
                  </a:lnTo>
                  <a:lnTo>
                    <a:pt x="134" y="2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2" y="2"/>
                  </a:lnTo>
                  <a:lnTo>
                    <a:pt x="154" y="22"/>
                  </a:lnTo>
                  <a:lnTo>
                    <a:pt x="162" y="42"/>
                  </a:lnTo>
                  <a:lnTo>
                    <a:pt x="165" y="49"/>
                  </a:lnTo>
                  <a:lnTo>
                    <a:pt x="162" y="52"/>
                  </a:lnTo>
                  <a:lnTo>
                    <a:pt x="160" y="55"/>
                  </a:lnTo>
                  <a:lnTo>
                    <a:pt x="158" y="58"/>
                  </a:lnTo>
                  <a:lnTo>
                    <a:pt x="159" y="61"/>
                  </a:lnTo>
                  <a:lnTo>
                    <a:pt x="162" y="64"/>
                  </a:lnTo>
                  <a:lnTo>
                    <a:pt x="174" y="73"/>
                  </a:lnTo>
                  <a:lnTo>
                    <a:pt x="174" y="79"/>
                  </a:lnTo>
                  <a:lnTo>
                    <a:pt x="174" y="89"/>
                  </a:lnTo>
                  <a:lnTo>
                    <a:pt x="176" y="93"/>
                  </a:lnTo>
                  <a:lnTo>
                    <a:pt x="178" y="97"/>
                  </a:lnTo>
                  <a:lnTo>
                    <a:pt x="179" y="100"/>
                  </a:lnTo>
                  <a:lnTo>
                    <a:pt x="179" y="128"/>
                  </a:lnTo>
                  <a:lnTo>
                    <a:pt x="185" y="130"/>
                  </a:lnTo>
                  <a:lnTo>
                    <a:pt x="189" y="140"/>
                  </a:lnTo>
                  <a:lnTo>
                    <a:pt x="192" y="148"/>
                  </a:lnTo>
                  <a:lnTo>
                    <a:pt x="190" y="152"/>
                  </a:lnTo>
                  <a:lnTo>
                    <a:pt x="185" y="155"/>
                  </a:lnTo>
                  <a:lnTo>
                    <a:pt x="184" y="158"/>
                  </a:lnTo>
                  <a:lnTo>
                    <a:pt x="189" y="159"/>
                  </a:lnTo>
                  <a:lnTo>
                    <a:pt x="188" y="166"/>
                  </a:lnTo>
                  <a:lnTo>
                    <a:pt x="184" y="170"/>
                  </a:lnTo>
                  <a:lnTo>
                    <a:pt x="177" y="172"/>
                  </a:lnTo>
                  <a:lnTo>
                    <a:pt x="176" y="175"/>
                  </a:lnTo>
                  <a:lnTo>
                    <a:pt x="183" y="176"/>
                  </a:lnTo>
                  <a:lnTo>
                    <a:pt x="184" y="178"/>
                  </a:lnTo>
                  <a:lnTo>
                    <a:pt x="182" y="187"/>
                  </a:lnTo>
                  <a:lnTo>
                    <a:pt x="173" y="190"/>
                  </a:lnTo>
                  <a:lnTo>
                    <a:pt x="170" y="196"/>
                  </a:lnTo>
                  <a:lnTo>
                    <a:pt x="172" y="196"/>
                  </a:lnTo>
                  <a:lnTo>
                    <a:pt x="179" y="195"/>
                  </a:lnTo>
                  <a:lnTo>
                    <a:pt x="179" y="200"/>
                  </a:lnTo>
                  <a:lnTo>
                    <a:pt x="173" y="207"/>
                  </a:lnTo>
                  <a:lnTo>
                    <a:pt x="171" y="208"/>
                  </a:lnTo>
                  <a:lnTo>
                    <a:pt x="170" y="212"/>
                  </a:lnTo>
                  <a:lnTo>
                    <a:pt x="167" y="214"/>
                  </a:lnTo>
                  <a:lnTo>
                    <a:pt x="167" y="219"/>
                  </a:lnTo>
                  <a:lnTo>
                    <a:pt x="170" y="220"/>
                  </a:lnTo>
                  <a:lnTo>
                    <a:pt x="171" y="222"/>
                  </a:lnTo>
                  <a:lnTo>
                    <a:pt x="164" y="232"/>
                  </a:lnTo>
                  <a:lnTo>
                    <a:pt x="160" y="233"/>
                  </a:lnTo>
                  <a:lnTo>
                    <a:pt x="161" y="237"/>
                  </a:lnTo>
                  <a:lnTo>
                    <a:pt x="150" y="238"/>
                  </a:lnTo>
                  <a:lnTo>
                    <a:pt x="143" y="251"/>
                  </a:lnTo>
                  <a:lnTo>
                    <a:pt x="138" y="257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91" name="Freeform 398"/>
            <p:cNvSpPr>
              <a:spLocks/>
            </p:cNvSpPr>
            <p:nvPr/>
          </p:nvSpPr>
          <p:spPr bwMode="auto">
            <a:xfrm>
              <a:off x="6702152" y="2787959"/>
              <a:ext cx="361227" cy="566321"/>
            </a:xfrm>
            <a:custGeom>
              <a:avLst/>
              <a:gdLst>
                <a:gd name="T0" fmla="*/ 48 w 165"/>
                <a:gd name="T1" fmla="*/ 139 h 278"/>
                <a:gd name="T2" fmla="*/ 46 w 165"/>
                <a:gd name="T3" fmla="*/ 134 h 278"/>
                <a:gd name="T4" fmla="*/ 42 w 165"/>
                <a:gd name="T5" fmla="*/ 129 h 278"/>
                <a:gd name="T6" fmla="*/ 38 w 165"/>
                <a:gd name="T7" fmla="*/ 129 h 278"/>
                <a:gd name="T8" fmla="*/ 31 w 165"/>
                <a:gd name="T9" fmla="*/ 126 h 278"/>
                <a:gd name="T10" fmla="*/ 24 w 165"/>
                <a:gd name="T11" fmla="*/ 120 h 278"/>
                <a:gd name="T12" fmla="*/ 16 w 165"/>
                <a:gd name="T13" fmla="*/ 121 h 278"/>
                <a:gd name="T14" fmla="*/ 12 w 165"/>
                <a:gd name="T15" fmla="*/ 112 h 278"/>
                <a:gd name="T16" fmla="*/ 18 w 165"/>
                <a:gd name="T17" fmla="*/ 106 h 278"/>
                <a:gd name="T18" fmla="*/ 22 w 165"/>
                <a:gd name="T19" fmla="*/ 91 h 278"/>
                <a:gd name="T20" fmla="*/ 24 w 165"/>
                <a:gd name="T21" fmla="*/ 70 h 278"/>
                <a:gd name="T22" fmla="*/ 19 w 165"/>
                <a:gd name="T23" fmla="*/ 59 h 278"/>
                <a:gd name="T24" fmla="*/ 13 w 165"/>
                <a:gd name="T25" fmla="*/ 59 h 278"/>
                <a:gd name="T26" fmla="*/ 9 w 165"/>
                <a:gd name="T27" fmla="*/ 62 h 278"/>
                <a:gd name="T28" fmla="*/ 1 w 165"/>
                <a:gd name="T29" fmla="*/ 59 h 278"/>
                <a:gd name="T30" fmla="*/ 1 w 165"/>
                <a:gd name="T31" fmla="*/ 48 h 278"/>
                <a:gd name="T32" fmla="*/ 10 w 165"/>
                <a:gd name="T33" fmla="*/ 51 h 278"/>
                <a:gd name="T34" fmla="*/ 15 w 165"/>
                <a:gd name="T35" fmla="*/ 47 h 278"/>
                <a:gd name="T36" fmla="*/ 21 w 165"/>
                <a:gd name="T37" fmla="*/ 34 h 278"/>
                <a:gd name="T38" fmla="*/ 21 w 165"/>
                <a:gd name="T39" fmla="*/ 20 h 278"/>
                <a:gd name="T40" fmla="*/ 18 w 165"/>
                <a:gd name="T41" fmla="*/ 14 h 278"/>
                <a:gd name="T42" fmla="*/ 18 w 165"/>
                <a:gd name="T43" fmla="*/ 9 h 278"/>
                <a:gd name="T44" fmla="*/ 23 w 165"/>
                <a:gd name="T45" fmla="*/ 9 h 278"/>
                <a:gd name="T46" fmla="*/ 27 w 165"/>
                <a:gd name="T47" fmla="*/ 8 h 278"/>
                <a:gd name="T48" fmla="*/ 30 w 165"/>
                <a:gd name="T49" fmla="*/ 4 h 278"/>
                <a:gd name="T50" fmla="*/ 42 w 165"/>
                <a:gd name="T51" fmla="*/ 8 h 278"/>
                <a:gd name="T52" fmla="*/ 49 w 165"/>
                <a:gd name="T53" fmla="*/ 7 h 278"/>
                <a:gd name="T54" fmla="*/ 52 w 165"/>
                <a:gd name="T55" fmla="*/ 4 h 278"/>
                <a:gd name="T56" fmla="*/ 57 w 165"/>
                <a:gd name="T57" fmla="*/ 6 h 278"/>
                <a:gd name="T58" fmla="*/ 59 w 165"/>
                <a:gd name="T59" fmla="*/ 11 h 278"/>
                <a:gd name="T60" fmla="*/ 63 w 165"/>
                <a:gd name="T61" fmla="*/ 11 h 278"/>
                <a:gd name="T62" fmla="*/ 67 w 165"/>
                <a:gd name="T63" fmla="*/ 11 h 278"/>
                <a:gd name="T64" fmla="*/ 72 w 165"/>
                <a:gd name="T65" fmla="*/ 9 h 278"/>
                <a:gd name="T66" fmla="*/ 74 w 165"/>
                <a:gd name="T67" fmla="*/ 2 h 278"/>
                <a:gd name="T68" fmla="*/ 76 w 165"/>
                <a:gd name="T69" fmla="*/ 1 h 278"/>
                <a:gd name="T70" fmla="*/ 76 w 165"/>
                <a:gd name="T71" fmla="*/ 6 h 278"/>
                <a:gd name="T72" fmla="*/ 78 w 165"/>
                <a:gd name="T73" fmla="*/ 11 h 278"/>
                <a:gd name="T74" fmla="*/ 82 w 165"/>
                <a:gd name="T75" fmla="*/ 10 h 278"/>
                <a:gd name="T76" fmla="*/ 82 w 165"/>
                <a:gd name="T77" fmla="*/ 16 h 278"/>
                <a:gd name="T78" fmla="*/ 79 w 165"/>
                <a:gd name="T79" fmla="*/ 20 h 278"/>
                <a:gd name="T80" fmla="*/ 80 w 165"/>
                <a:gd name="T81" fmla="*/ 25 h 278"/>
                <a:gd name="T82" fmla="*/ 76 w 165"/>
                <a:gd name="T83" fmla="*/ 31 h 278"/>
                <a:gd name="T84" fmla="*/ 78 w 165"/>
                <a:gd name="T85" fmla="*/ 43 h 278"/>
                <a:gd name="T86" fmla="*/ 78 w 165"/>
                <a:gd name="T87" fmla="*/ 50 h 278"/>
                <a:gd name="T88" fmla="*/ 74 w 165"/>
                <a:gd name="T89" fmla="*/ 51 h 278"/>
                <a:gd name="T90" fmla="*/ 74 w 165"/>
                <a:gd name="T91" fmla="*/ 55 h 278"/>
                <a:gd name="T92" fmla="*/ 76 w 165"/>
                <a:gd name="T93" fmla="*/ 59 h 278"/>
                <a:gd name="T94" fmla="*/ 73 w 165"/>
                <a:gd name="T95" fmla="*/ 65 h 278"/>
                <a:gd name="T96" fmla="*/ 74 w 165"/>
                <a:gd name="T97" fmla="*/ 73 h 278"/>
                <a:gd name="T98" fmla="*/ 70 w 165"/>
                <a:gd name="T99" fmla="*/ 81 h 278"/>
                <a:gd name="T100" fmla="*/ 66 w 165"/>
                <a:gd name="T101" fmla="*/ 88 h 278"/>
                <a:gd name="T102" fmla="*/ 66 w 165"/>
                <a:gd name="T103" fmla="*/ 92 h 278"/>
                <a:gd name="T104" fmla="*/ 67 w 165"/>
                <a:gd name="T105" fmla="*/ 98 h 278"/>
                <a:gd name="T106" fmla="*/ 67 w 165"/>
                <a:gd name="T107" fmla="*/ 101 h 278"/>
                <a:gd name="T108" fmla="*/ 70 w 165"/>
                <a:gd name="T109" fmla="*/ 106 h 278"/>
                <a:gd name="T110" fmla="*/ 67 w 165"/>
                <a:gd name="T111" fmla="*/ 111 h 278"/>
                <a:gd name="T112" fmla="*/ 70 w 165"/>
                <a:gd name="T113" fmla="*/ 116 h 278"/>
                <a:gd name="T114" fmla="*/ 70 w 165"/>
                <a:gd name="T115" fmla="*/ 122 h 278"/>
                <a:gd name="T116" fmla="*/ 67 w 165"/>
                <a:gd name="T117" fmla="*/ 129 h 278"/>
                <a:gd name="T118" fmla="*/ 65 w 165"/>
                <a:gd name="T119" fmla="*/ 134 h 278"/>
                <a:gd name="T120" fmla="*/ 58 w 165"/>
                <a:gd name="T121" fmla="*/ 135 h 278"/>
                <a:gd name="T122" fmla="*/ 54 w 165"/>
                <a:gd name="T123" fmla="*/ 139 h 27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65" h="278">
                  <a:moveTo>
                    <a:pt x="102" y="278"/>
                  </a:moveTo>
                  <a:lnTo>
                    <a:pt x="96" y="278"/>
                  </a:lnTo>
                  <a:lnTo>
                    <a:pt x="92" y="275"/>
                  </a:lnTo>
                  <a:lnTo>
                    <a:pt x="91" y="268"/>
                  </a:lnTo>
                  <a:lnTo>
                    <a:pt x="85" y="263"/>
                  </a:lnTo>
                  <a:lnTo>
                    <a:pt x="83" y="258"/>
                  </a:lnTo>
                  <a:lnTo>
                    <a:pt x="78" y="256"/>
                  </a:lnTo>
                  <a:lnTo>
                    <a:pt x="75" y="258"/>
                  </a:lnTo>
                  <a:lnTo>
                    <a:pt x="67" y="252"/>
                  </a:lnTo>
                  <a:lnTo>
                    <a:pt x="62" y="251"/>
                  </a:lnTo>
                  <a:lnTo>
                    <a:pt x="50" y="246"/>
                  </a:lnTo>
                  <a:lnTo>
                    <a:pt x="48" y="240"/>
                  </a:lnTo>
                  <a:lnTo>
                    <a:pt x="42" y="237"/>
                  </a:lnTo>
                  <a:lnTo>
                    <a:pt x="32" y="242"/>
                  </a:lnTo>
                  <a:lnTo>
                    <a:pt x="23" y="238"/>
                  </a:lnTo>
                  <a:lnTo>
                    <a:pt x="24" y="224"/>
                  </a:lnTo>
                  <a:lnTo>
                    <a:pt x="26" y="219"/>
                  </a:lnTo>
                  <a:lnTo>
                    <a:pt x="35" y="212"/>
                  </a:lnTo>
                  <a:lnTo>
                    <a:pt x="39" y="201"/>
                  </a:lnTo>
                  <a:lnTo>
                    <a:pt x="44" y="182"/>
                  </a:lnTo>
                  <a:lnTo>
                    <a:pt x="48" y="163"/>
                  </a:lnTo>
                  <a:lnTo>
                    <a:pt x="47" y="140"/>
                  </a:lnTo>
                  <a:lnTo>
                    <a:pt x="41" y="123"/>
                  </a:lnTo>
                  <a:lnTo>
                    <a:pt x="37" y="118"/>
                  </a:lnTo>
                  <a:lnTo>
                    <a:pt x="31" y="116"/>
                  </a:lnTo>
                  <a:lnTo>
                    <a:pt x="26" y="117"/>
                  </a:lnTo>
                  <a:lnTo>
                    <a:pt x="23" y="121"/>
                  </a:lnTo>
                  <a:lnTo>
                    <a:pt x="17" y="123"/>
                  </a:lnTo>
                  <a:lnTo>
                    <a:pt x="5" y="122"/>
                  </a:lnTo>
                  <a:lnTo>
                    <a:pt x="1" y="118"/>
                  </a:lnTo>
                  <a:lnTo>
                    <a:pt x="0" y="101"/>
                  </a:lnTo>
                  <a:lnTo>
                    <a:pt x="2" y="96"/>
                  </a:lnTo>
                  <a:lnTo>
                    <a:pt x="13" y="101"/>
                  </a:lnTo>
                  <a:lnTo>
                    <a:pt x="20" y="101"/>
                  </a:lnTo>
                  <a:lnTo>
                    <a:pt x="25" y="99"/>
                  </a:lnTo>
                  <a:lnTo>
                    <a:pt x="30" y="94"/>
                  </a:lnTo>
                  <a:lnTo>
                    <a:pt x="33" y="90"/>
                  </a:lnTo>
                  <a:lnTo>
                    <a:pt x="41" y="67"/>
                  </a:lnTo>
                  <a:lnTo>
                    <a:pt x="42" y="51"/>
                  </a:lnTo>
                  <a:lnTo>
                    <a:pt x="42" y="40"/>
                  </a:lnTo>
                  <a:lnTo>
                    <a:pt x="41" y="36"/>
                  </a:lnTo>
                  <a:lnTo>
                    <a:pt x="35" y="28"/>
                  </a:lnTo>
                  <a:lnTo>
                    <a:pt x="33" y="25"/>
                  </a:lnTo>
                  <a:lnTo>
                    <a:pt x="35" y="18"/>
                  </a:lnTo>
                  <a:lnTo>
                    <a:pt x="39" y="16"/>
                  </a:lnTo>
                  <a:lnTo>
                    <a:pt x="45" y="18"/>
                  </a:lnTo>
                  <a:lnTo>
                    <a:pt x="49" y="18"/>
                  </a:lnTo>
                  <a:lnTo>
                    <a:pt x="54" y="15"/>
                  </a:lnTo>
                  <a:lnTo>
                    <a:pt x="55" y="8"/>
                  </a:lnTo>
                  <a:lnTo>
                    <a:pt x="60" y="8"/>
                  </a:lnTo>
                  <a:lnTo>
                    <a:pt x="68" y="14"/>
                  </a:lnTo>
                  <a:lnTo>
                    <a:pt x="83" y="16"/>
                  </a:lnTo>
                  <a:lnTo>
                    <a:pt x="87" y="13"/>
                  </a:lnTo>
                  <a:lnTo>
                    <a:pt x="98" y="14"/>
                  </a:lnTo>
                  <a:lnTo>
                    <a:pt x="101" y="12"/>
                  </a:lnTo>
                  <a:lnTo>
                    <a:pt x="104" y="8"/>
                  </a:lnTo>
                  <a:lnTo>
                    <a:pt x="109" y="8"/>
                  </a:lnTo>
                  <a:lnTo>
                    <a:pt x="113" y="12"/>
                  </a:lnTo>
                  <a:lnTo>
                    <a:pt x="115" y="18"/>
                  </a:lnTo>
                  <a:lnTo>
                    <a:pt x="117" y="21"/>
                  </a:lnTo>
                  <a:lnTo>
                    <a:pt x="123" y="25"/>
                  </a:lnTo>
                  <a:lnTo>
                    <a:pt x="126" y="21"/>
                  </a:lnTo>
                  <a:lnTo>
                    <a:pt x="131" y="21"/>
                  </a:lnTo>
                  <a:lnTo>
                    <a:pt x="134" y="22"/>
                  </a:lnTo>
                  <a:lnTo>
                    <a:pt x="139" y="19"/>
                  </a:lnTo>
                  <a:lnTo>
                    <a:pt x="143" y="18"/>
                  </a:lnTo>
                  <a:lnTo>
                    <a:pt x="147" y="9"/>
                  </a:lnTo>
                  <a:lnTo>
                    <a:pt x="147" y="3"/>
                  </a:lnTo>
                  <a:lnTo>
                    <a:pt x="150" y="0"/>
                  </a:lnTo>
                  <a:lnTo>
                    <a:pt x="152" y="2"/>
                  </a:lnTo>
                  <a:lnTo>
                    <a:pt x="152" y="9"/>
                  </a:lnTo>
                  <a:lnTo>
                    <a:pt x="151" y="12"/>
                  </a:lnTo>
                  <a:lnTo>
                    <a:pt x="149" y="16"/>
                  </a:lnTo>
                  <a:lnTo>
                    <a:pt x="155" y="22"/>
                  </a:lnTo>
                  <a:lnTo>
                    <a:pt x="158" y="22"/>
                  </a:lnTo>
                  <a:lnTo>
                    <a:pt x="164" y="19"/>
                  </a:lnTo>
                  <a:lnTo>
                    <a:pt x="165" y="20"/>
                  </a:lnTo>
                  <a:lnTo>
                    <a:pt x="164" y="31"/>
                  </a:lnTo>
                  <a:lnTo>
                    <a:pt x="158" y="34"/>
                  </a:lnTo>
                  <a:lnTo>
                    <a:pt x="158" y="40"/>
                  </a:lnTo>
                  <a:lnTo>
                    <a:pt x="159" y="49"/>
                  </a:lnTo>
                  <a:lnTo>
                    <a:pt x="159" y="50"/>
                  </a:lnTo>
                  <a:lnTo>
                    <a:pt x="156" y="56"/>
                  </a:lnTo>
                  <a:lnTo>
                    <a:pt x="151" y="62"/>
                  </a:lnTo>
                  <a:lnTo>
                    <a:pt x="155" y="76"/>
                  </a:lnTo>
                  <a:lnTo>
                    <a:pt x="156" y="85"/>
                  </a:lnTo>
                  <a:lnTo>
                    <a:pt x="158" y="96"/>
                  </a:lnTo>
                  <a:lnTo>
                    <a:pt x="155" y="100"/>
                  </a:lnTo>
                  <a:lnTo>
                    <a:pt x="150" y="99"/>
                  </a:lnTo>
                  <a:lnTo>
                    <a:pt x="147" y="101"/>
                  </a:lnTo>
                  <a:lnTo>
                    <a:pt x="146" y="106"/>
                  </a:lnTo>
                  <a:lnTo>
                    <a:pt x="147" y="109"/>
                  </a:lnTo>
                  <a:lnTo>
                    <a:pt x="153" y="112"/>
                  </a:lnTo>
                  <a:lnTo>
                    <a:pt x="152" y="118"/>
                  </a:lnTo>
                  <a:lnTo>
                    <a:pt x="147" y="125"/>
                  </a:lnTo>
                  <a:lnTo>
                    <a:pt x="146" y="129"/>
                  </a:lnTo>
                  <a:lnTo>
                    <a:pt x="150" y="134"/>
                  </a:lnTo>
                  <a:lnTo>
                    <a:pt x="147" y="146"/>
                  </a:lnTo>
                  <a:lnTo>
                    <a:pt x="141" y="153"/>
                  </a:lnTo>
                  <a:lnTo>
                    <a:pt x="140" y="161"/>
                  </a:lnTo>
                  <a:lnTo>
                    <a:pt x="135" y="171"/>
                  </a:lnTo>
                  <a:lnTo>
                    <a:pt x="132" y="176"/>
                  </a:lnTo>
                  <a:lnTo>
                    <a:pt x="129" y="181"/>
                  </a:lnTo>
                  <a:lnTo>
                    <a:pt x="131" y="184"/>
                  </a:lnTo>
                  <a:lnTo>
                    <a:pt x="134" y="189"/>
                  </a:lnTo>
                  <a:lnTo>
                    <a:pt x="134" y="195"/>
                  </a:lnTo>
                  <a:lnTo>
                    <a:pt x="134" y="197"/>
                  </a:lnTo>
                  <a:lnTo>
                    <a:pt x="133" y="201"/>
                  </a:lnTo>
                  <a:lnTo>
                    <a:pt x="135" y="206"/>
                  </a:lnTo>
                  <a:lnTo>
                    <a:pt x="139" y="212"/>
                  </a:lnTo>
                  <a:lnTo>
                    <a:pt x="138" y="215"/>
                  </a:lnTo>
                  <a:lnTo>
                    <a:pt x="133" y="222"/>
                  </a:lnTo>
                  <a:lnTo>
                    <a:pt x="133" y="226"/>
                  </a:lnTo>
                  <a:lnTo>
                    <a:pt x="140" y="232"/>
                  </a:lnTo>
                  <a:lnTo>
                    <a:pt x="141" y="232"/>
                  </a:lnTo>
                  <a:lnTo>
                    <a:pt x="140" y="243"/>
                  </a:lnTo>
                  <a:lnTo>
                    <a:pt x="133" y="252"/>
                  </a:lnTo>
                  <a:lnTo>
                    <a:pt x="133" y="257"/>
                  </a:lnTo>
                  <a:lnTo>
                    <a:pt x="132" y="261"/>
                  </a:lnTo>
                  <a:lnTo>
                    <a:pt x="129" y="268"/>
                  </a:lnTo>
                  <a:lnTo>
                    <a:pt x="123" y="266"/>
                  </a:lnTo>
                  <a:lnTo>
                    <a:pt x="115" y="270"/>
                  </a:lnTo>
                  <a:lnTo>
                    <a:pt x="114" y="275"/>
                  </a:lnTo>
                  <a:lnTo>
                    <a:pt x="108" y="278"/>
                  </a:lnTo>
                  <a:lnTo>
                    <a:pt x="102" y="278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92" name="Freeform 399"/>
            <p:cNvSpPr>
              <a:spLocks/>
            </p:cNvSpPr>
            <p:nvPr/>
          </p:nvSpPr>
          <p:spPr bwMode="auto">
            <a:xfrm>
              <a:off x="6462783" y="4417661"/>
              <a:ext cx="287241" cy="134451"/>
            </a:xfrm>
            <a:custGeom>
              <a:avLst/>
              <a:gdLst>
                <a:gd name="T0" fmla="*/ 58 w 131"/>
                <a:gd name="T1" fmla="*/ 24 h 66"/>
                <a:gd name="T2" fmla="*/ 65 w 131"/>
                <a:gd name="T3" fmla="*/ 22 h 66"/>
                <a:gd name="T4" fmla="*/ 66 w 131"/>
                <a:gd name="T5" fmla="*/ 17 h 66"/>
                <a:gd name="T6" fmla="*/ 64 w 131"/>
                <a:gd name="T7" fmla="*/ 12 h 66"/>
                <a:gd name="T8" fmla="*/ 62 w 131"/>
                <a:gd name="T9" fmla="*/ 9 h 66"/>
                <a:gd name="T10" fmla="*/ 57 w 131"/>
                <a:gd name="T11" fmla="*/ 8 h 66"/>
                <a:gd name="T12" fmla="*/ 53 w 131"/>
                <a:gd name="T13" fmla="*/ 10 h 66"/>
                <a:gd name="T14" fmla="*/ 45 w 131"/>
                <a:gd name="T15" fmla="*/ 12 h 66"/>
                <a:gd name="T16" fmla="*/ 42 w 131"/>
                <a:gd name="T17" fmla="*/ 8 h 66"/>
                <a:gd name="T18" fmla="*/ 40 w 131"/>
                <a:gd name="T19" fmla="*/ 8 h 66"/>
                <a:gd name="T20" fmla="*/ 39 w 131"/>
                <a:gd name="T21" fmla="*/ 9 h 66"/>
                <a:gd name="T22" fmla="*/ 36 w 131"/>
                <a:gd name="T23" fmla="*/ 10 h 66"/>
                <a:gd name="T24" fmla="*/ 33 w 131"/>
                <a:gd name="T25" fmla="*/ 10 h 66"/>
                <a:gd name="T26" fmla="*/ 30 w 131"/>
                <a:gd name="T27" fmla="*/ 7 h 66"/>
                <a:gd name="T28" fmla="*/ 28 w 131"/>
                <a:gd name="T29" fmla="*/ 6 h 66"/>
                <a:gd name="T30" fmla="*/ 20 w 131"/>
                <a:gd name="T31" fmla="*/ 4 h 66"/>
                <a:gd name="T32" fmla="*/ 14 w 131"/>
                <a:gd name="T33" fmla="*/ 1 h 66"/>
                <a:gd name="T34" fmla="*/ 5 w 131"/>
                <a:gd name="T35" fmla="*/ 3 h 66"/>
                <a:gd name="T36" fmla="*/ 3 w 131"/>
                <a:gd name="T37" fmla="*/ 6 h 66"/>
                <a:gd name="T38" fmla="*/ 8 w 131"/>
                <a:gd name="T39" fmla="*/ 16 h 66"/>
                <a:gd name="T40" fmla="*/ 14 w 131"/>
                <a:gd name="T41" fmla="*/ 21 h 66"/>
                <a:gd name="T42" fmla="*/ 17 w 131"/>
                <a:gd name="T43" fmla="*/ 22 h 66"/>
                <a:gd name="T44" fmla="*/ 19 w 131"/>
                <a:gd name="T45" fmla="*/ 22 h 66"/>
                <a:gd name="T46" fmla="*/ 23 w 131"/>
                <a:gd name="T47" fmla="*/ 24 h 66"/>
                <a:gd name="T48" fmla="*/ 26 w 131"/>
                <a:gd name="T49" fmla="*/ 24 h 66"/>
                <a:gd name="T50" fmla="*/ 30 w 131"/>
                <a:gd name="T51" fmla="*/ 25 h 66"/>
                <a:gd name="T52" fmla="*/ 32 w 131"/>
                <a:gd name="T53" fmla="*/ 30 h 66"/>
                <a:gd name="T54" fmla="*/ 35 w 131"/>
                <a:gd name="T55" fmla="*/ 33 h 66"/>
                <a:gd name="T56" fmla="*/ 35 w 131"/>
                <a:gd name="T57" fmla="*/ 30 h 66"/>
                <a:gd name="T58" fmla="*/ 35 w 131"/>
                <a:gd name="T59" fmla="*/ 27 h 66"/>
                <a:gd name="T60" fmla="*/ 35 w 131"/>
                <a:gd name="T61" fmla="*/ 24 h 66"/>
                <a:gd name="T62" fmla="*/ 37 w 131"/>
                <a:gd name="T63" fmla="*/ 24 h 66"/>
                <a:gd name="T64" fmla="*/ 39 w 131"/>
                <a:gd name="T65" fmla="*/ 23 h 66"/>
                <a:gd name="T66" fmla="*/ 42 w 131"/>
                <a:gd name="T67" fmla="*/ 22 h 66"/>
                <a:gd name="T68" fmla="*/ 45 w 131"/>
                <a:gd name="T69" fmla="*/ 24 h 66"/>
                <a:gd name="T70" fmla="*/ 51 w 131"/>
                <a:gd name="T71" fmla="*/ 27 h 66"/>
                <a:gd name="T72" fmla="*/ 56 w 131"/>
                <a:gd name="T73" fmla="*/ 30 h 6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31" h="66">
                  <a:moveTo>
                    <a:pt x="111" y="59"/>
                  </a:moveTo>
                  <a:lnTo>
                    <a:pt x="116" y="47"/>
                  </a:lnTo>
                  <a:lnTo>
                    <a:pt x="124" y="44"/>
                  </a:lnTo>
                  <a:lnTo>
                    <a:pt x="129" y="44"/>
                  </a:lnTo>
                  <a:lnTo>
                    <a:pt x="129" y="38"/>
                  </a:lnTo>
                  <a:lnTo>
                    <a:pt x="131" y="33"/>
                  </a:lnTo>
                  <a:lnTo>
                    <a:pt x="131" y="30"/>
                  </a:lnTo>
                  <a:lnTo>
                    <a:pt x="128" y="23"/>
                  </a:lnTo>
                  <a:lnTo>
                    <a:pt x="126" y="17"/>
                  </a:lnTo>
                  <a:lnTo>
                    <a:pt x="123" y="17"/>
                  </a:lnTo>
                  <a:lnTo>
                    <a:pt x="117" y="16"/>
                  </a:lnTo>
                  <a:lnTo>
                    <a:pt x="114" y="16"/>
                  </a:lnTo>
                  <a:lnTo>
                    <a:pt x="112" y="18"/>
                  </a:lnTo>
                  <a:lnTo>
                    <a:pt x="106" y="19"/>
                  </a:lnTo>
                  <a:lnTo>
                    <a:pt x="100" y="17"/>
                  </a:lnTo>
                  <a:lnTo>
                    <a:pt x="90" y="23"/>
                  </a:lnTo>
                  <a:lnTo>
                    <a:pt x="83" y="20"/>
                  </a:lnTo>
                  <a:lnTo>
                    <a:pt x="83" y="16"/>
                  </a:lnTo>
                  <a:lnTo>
                    <a:pt x="82" y="13"/>
                  </a:lnTo>
                  <a:lnTo>
                    <a:pt x="80" y="16"/>
                  </a:lnTo>
                  <a:lnTo>
                    <a:pt x="78" y="17"/>
                  </a:lnTo>
                  <a:lnTo>
                    <a:pt x="77" y="18"/>
                  </a:lnTo>
                  <a:lnTo>
                    <a:pt x="76" y="19"/>
                  </a:lnTo>
                  <a:lnTo>
                    <a:pt x="72" y="19"/>
                  </a:lnTo>
                  <a:lnTo>
                    <a:pt x="69" y="20"/>
                  </a:lnTo>
                  <a:lnTo>
                    <a:pt x="65" y="20"/>
                  </a:lnTo>
                  <a:lnTo>
                    <a:pt x="62" y="17"/>
                  </a:lnTo>
                  <a:lnTo>
                    <a:pt x="60" y="13"/>
                  </a:lnTo>
                  <a:lnTo>
                    <a:pt x="57" y="12"/>
                  </a:lnTo>
                  <a:lnTo>
                    <a:pt x="56" y="11"/>
                  </a:lnTo>
                  <a:lnTo>
                    <a:pt x="47" y="11"/>
                  </a:lnTo>
                  <a:lnTo>
                    <a:pt x="39" y="7"/>
                  </a:lnTo>
                  <a:lnTo>
                    <a:pt x="30" y="7"/>
                  </a:lnTo>
                  <a:lnTo>
                    <a:pt x="28" y="2"/>
                  </a:lnTo>
                  <a:lnTo>
                    <a:pt x="22" y="0"/>
                  </a:lnTo>
                  <a:lnTo>
                    <a:pt x="10" y="6"/>
                  </a:lnTo>
                  <a:lnTo>
                    <a:pt x="0" y="5"/>
                  </a:lnTo>
                  <a:lnTo>
                    <a:pt x="5" y="12"/>
                  </a:lnTo>
                  <a:lnTo>
                    <a:pt x="9" y="24"/>
                  </a:lnTo>
                  <a:lnTo>
                    <a:pt x="16" y="32"/>
                  </a:lnTo>
                  <a:lnTo>
                    <a:pt x="24" y="38"/>
                  </a:lnTo>
                  <a:lnTo>
                    <a:pt x="28" y="41"/>
                  </a:lnTo>
                  <a:lnTo>
                    <a:pt x="29" y="43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8" y="44"/>
                  </a:lnTo>
                  <a:lnTo>
                    <a:pt x="41" y="47"/>
                  </a:lnTo>
                  <a:lnTo>
                    <a:pt x="45" y="47"/>
                  </a:lnTo>
                  <a:lnTo>
                    <a:pt x="50" y="45"/>
                  </a:lnTo>
                  <a:lnTo>
                    <a:pt x="52" y="47"/>
                  </a:lnTo>
                  <a:lnTo>
                    <a:pt x="56" y="48"/>
                  </a:lnTo>
                  <a:lnTo>
                    <a:pt x="60" y="50"/>
                  </a:lnTo>
                  <a:lnTo>
                    <a:pt x="62" y="55"/>
                  </a:lnTo>
                  <a:lnTo>
                    <a:pt x="64" y="60"/>
                  </a:lnTo>
                  <a:lnTo>
                    <a:pt x="65" y="63"/>
                  </a:lnTo>
                  <a:lnTo>
                    <a:pt x="69" y="66"/>
                  </a:lnTo>
                  <a:lnTo>
                    <a:pt x="69" y="63"/>
                  </a:lnTo>
                  <a:lnTo>
                    <a:pt x="70" y="60"/>
                  </a:lnTo>
                  <a:lnTo>
                    <a:pt x="71" y="57"/>
                  </a:lnTo>
                  <a:lnTo>
                    <a:pt x="69" y="54"/>
                  </a:lnTo>
                  <a:lnTo>
                    <a:pt x="69" y="50"/>
                  </a:lnTo>
                  <a:lnTo>
                    <a:pt x="69" y="48"/>
                  </a:lnTo>
                  <a:lnTo>
                    <a:pt x="70" y="47"/>
                  </a:lnTo>
                  <a:lnTo>
                    <a:pt x="74" y="48"/>
                  </a:lnTo>
                  <a:lnTo>
                    <a:pt x="75" y="47"/>
                  </a:lnTo>
                  <a:lnTo>
                    <a:pt x="77" y="45"/>
                  </a:lnTo>
                  <a:lnTo>
                    <a:pt x="81" y="44"/>
                  </a:lnTo>
                  <a:lnTo>
                    <a:pt x="83" y="44"/>
                  </a:lnTo>
                  <a:lnTo>
                    <a:pt x="87" y="48"/>
                  </a:lnTo>
                  <a:lnTo>
                    <a:pt x="89" y="48"/>
                  </a:lnTo>
                  <a:lnTo>
                    <a:pt x="95" y="47"/>
                  </a:lnTo>
                  <a:lnTo>
                    <a:pt x="102" y="54"/>
                  </a:lnTo>
                  <a:lnTo>
                    <a:pt x="106" y="56"/>
                  </a:lnTo>
                  <a:lnTo>
                    <a:pt x="111" y="59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93" name="Freeform 400"/>
            <p:cNvSpPr>
              <a:spLocks/>
            </p:cNvSpPr>
            <p:nvPr/>
          </p:nvSpPr>
          <p:spPr bwMode="auto">
            <a:xfrm>
              <a:off x="6567235" y="4792492"/>
              <a:ext cx="52225" cy="44817"/>
            </a:xfrm>
            <a:custGeom>
              <a:avLst/>
              <a:gdLst>
                <a:gd name="T0" fmla="*/ 11 w 24"/>
                <a:gd name="T1" fmla="*/ 3 h 23"/>
                <a:gd name="T2" fmla="*/ 12 w 24"/>
                <a:gd name="T3" fmla="*/ 3 h 23"/>
                <a:gd name="T4" fmla="*/ 12 w 24"/>
                <a:gd name="T5" fmla="*/ 4 h 23"/>
                <a:gd name="T6" fmla="*/ 12 w 24"/>
                <a:gd name="T7" fmla="*/ 5 h 23"/>
                <a:gd name="T8" fmla="*/ 11 w 24"/>
                <a:gd name="T9" fmla="*/ 6 h 23"/>
                <a:gd name="T10" fmla="*/ 11 w 24"/>
                <a:gd name="T11" fmla="*/ 8 h 23"/>
                <a:gd name="T12" fmla="*/ 9 w 24"/>
                <a:gd name="T13" fmla="*/ 9 h 23"/>
                <a:gd name="T14" fmla="*/ 7 w 24"/>
                <a:gd name="T15" fmla="*/ 10 h 23"/>
                <a:gd name="T16" fmla="*/ 5 w 24"/>
                <a:gd name="T17" fmla="*/ 11 h 23"/>
                <a:gd name="T18" fmla="*/ 5 w 24"/>
                <a:gd name="T19" fmla="*/ 11 h 23"/>
                <a:gd name="T20" fmla="*/ 3 w 24"/>
                <a:gd name="T21" fmla="*/ 11 h 23"/>
                <a:gd name="T22" fmla="*/ 2 w 24"/>
                <a:gd name="T23" fmla="*/ 10 h 23"/>
                <a:gd name="T24" fmla="*/ 2 w 24"/>
                <a:gd name="T25" fmla="*/ 9 h 23"/>
                <a:gd name="T26" fmla="*/ 1 w 24"/>
                <a:gd name="T27" fmla="*/ 8 h 23"/>
                <a:gd name="T28" fmla="*/ 0 w 24"/>
                <a:gd name="T29" fmla="*/ 5 h 23"/>
                <a:gd name="T30" fmla="*/ 1 w 24"/>
                <a:gd name="T31" fmla="*/ 4 h 23"/>
                <a:gd name="T32" fmla="*/ 2 w 24"/>
                <a:gd name="T33" fmla="*/ 2 h 23"/>
                <a:gd name="T34" fmla="*/ 2 w 24"/>
                <a:gd name="T35" fmla="*/ 2 h 23"/>
                <a:gd name="T36" fmla="*/ 3 w 24"/>
                <a:gd name="T37" fmla="*/ 0 h 23"/>
                <a:gd name="T38" fmla="*/ 4 w 24"/>
                <a:gd name="T39" fmla="*/ 0 h 23"/>
                <a:gd name="T40" fmla="*/ 6 w 24"/>
                <a:gd name="T41" fmla="*/ 0 h 23"/>
                <a:gd name="T42" fmla="*/ 6 w 24"/>
                <a:gd name="T43" fmla="*/ 0 h 23"/>
                <a:gd name="T44" fmla="*/ 8 w 24"/>
                <a:gd name="T45" fmla="*/ 2 h 23"/>
                <a:gd name="T46" fmla="*/ 11 w 24"/>
                <a:gd name="T47" fmla="*/ 3 h 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4" h="23">
                  <a:moveTo>
                    <a:pt x="21" y="6"/>
                  </a:moveTo>
                  <a:lnTo>
                    <a:pt x="23" y="7"/>
                  </a:lnTo>
                  <a:lnTo>
                    <a:pt x="24" y="8"/>
                  </a:lnTo>
                  <a:lnTo>
                    <a:pt x="23" y="11"/>
                  </a:lnTo>
                  <a:lnTo>
                    <a:pt x="22" y="13"/>
                  </a:lnTo>
                  <a:lnTo>
                    <a:pt x="21" y="16"/>
                  </a:lnTo>
                  <a:lnTo>
                    <a:pt x="18" y="18"/>
                  </a:lnTo>
                  <a:lnTo>
                    <a:pt x="14" y="20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6" y="22"/>
                  </a:lnTo>
                  <a:lnTo>
                    <a:pt x="4" y="20"/>
                  </a:lnTo>
                  <a:lnTo>
                    <a:pt x="3" y="18"/>
                  </a:lnTo>
                  <a:lnTo>
                    <a:pt x="2" y="16"/>
                  </a:lnTo>
                  <a:lnTo>
                    <a:pt x="0" y="11"/>
                  </a:lnTo>
                  <a:lnTo>
                    <a:pt x="2" y="8"/>
                  </a:lnTo>
                  <a:lnTo>
                    <a:pt x="3" y="5"/>
                  </a:lnTo>
                  <a:lnTo>
                    <a:pt x="3" y="4"/>
                  </a:lnTo>
                  <a:lnTo>
                    <a:pt x="5" y="1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2" y="1"/>
                  </a:lnTo>
                  <a:lnTo>
                    <a:pt x="16" y="4"/>
                  </a:lnTo>
                  <a:lnTo>
                    <a:pt x="21" y="6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94" name="Freeform 401"/>
            <p:cNvSpPr>
              <a:spLocks/>
            </p:cNvSpPr>
            <p:nvPr/>
          </p:nvSpPr>
          <p:spPr bwMode="auto">
            <a:xfrm>
              <a:off x="6684743" y="5362886"/>
              <a:ext cx="47874" cy="44817"/>
            </a:xfrm>
            <a:custGeom>
              <a:avLst/>
              <a:gdLst>
                <a:gd name="T0" fmla="*/ 8 w 23"/>
                <a:gd name="T1" fmla="*/ 4 h 21"/>
                <a:gd name="T2" fmla="*/ 9 w 23"/>
                <a:gd name="T3" fmla="*/ 4 h 21"/>
                <a:gd name="T4" fmla="*/ 9 w 23"/>
                <a:gd name="T5" fmla="*/ 5 h 21"/>
                <a:gd name="T6" fmla="*/ 10 w 23"/>
                <a:gd name="T7" fmla="*/ 6 h 21"/>
                <a:gd name="T8" fmla="*/ 11 w 23"/>
                <a:gd name="T9" fmla="*/ 7 h 21"/>
                <a:gd name="T10" fmla="*/ 11 w 23"/>
                <a:gd name="T11" fmla="*/ 8 h 21"/>
                <a:gd name="T12" fmla="*/ 11 w 23"/>
                <a:gd name="T13" fmla="*/ 9 h 21"/>
                <a:gd name="T14" fmla="*/ 11 w 23"/>
                <a:gd name="T15" fmla="*/ 10 h 21"/>
                <a:gd name="T16" fmla="*/ 10 w 23"/>
                <a:gd name="T17" fmla="*/ 10 h 21"/>
                <a:gd name="T18" fmla="*/ 9 w 23"/>
                <a:gd name="T19" fmla="*/ 10 h 21"/>
                <a:gd name="T20" fmla="*/ 8 w 23"/>
                <a:gd name="T21" fmla="*/ 10 h 21"/>
                <a:gd name="T22" fmla="*/ 7 w 23"/>
                <a:gd name="T23" fmla="*/ 11 h 21"/>
                <a:gd name="T24" fmla="*/ 6 w 23"/>
                <a:gd name="T25" fmla="*/ 10 h 21"/>
                <a:gd name="T26" fmla="*/ 5 w 23"/>
                <a:gd name="T27" fmla="*/ 10 h 21"/>
                <a:gd name="T28" fmla="*/ 4 w 23"/>
                <a:gd name="T29" fmla="*/ 9 h 21"/>
                <a:gd name="T30" fmla="*/ 3 w 23"/>
                <a:gd name="T31" fmla="*/ 8 h 21"/>
                <a:gd name="T32" fmla="*/ 2 w 23"/>
                <a:gd name="T33" fmla="*/ 7 h 21"/>
                <a:gd name="T34" fmla="*/ 0 w 23"/>
                <a:gd name="T35" fmla="*/ 5 h 21"/>
                <a:gd name="T36" fmla="*/ 0 w 23"/>
                <a:gd name="T37" fmla="*/ 5 h 21"/>
                <a:gd name="T38" fmla="*/ 0 w 23"/>
                <a:gd name="T39" fmla="*/ 4 h 21"/>
                <a:gd name="T40" fmla="*/ 0 w 23"/>
                <a:gd name="T41" fmla="*/ 3 h 21"/>
                <a:gd name="T42" fmla="*/ 0 w 23"/>
                <a:gd name="T43" fmla="*/ 2 h 21"/>
                <a:gd name="T44" fmla="*/ 0 w 23"/>
                <a:gd name="T45" fmla="*/ 2 h 21"/>
                <a:gd name="T46" fmla="*/ 1 w 23"/>
                <a:gd name="T47" fmla="*/ 1 h 21"/>
                <a:gd name="T48" fmla="*/ 2 w 23"/>
                <a:gd name="T49" fmla="*/ 1 h 21"/>
                <a:gd name="T50" fmla="*/ 2 w 23"/>
                <a:gd name="T51" fmla="*/ 0 h 21"/>
                <a:gd name="T52" fmla="*/ 3 w 23"/>
                <a:gd name="T53" fmla="*/ 0 h 21"/>
                <a:gd name="T54" fmla="*/ 4 w 23"/>
                <a:gd name="T55" fmla="*/ 0 h 21"/>
                <a:gd name="T56" fmla="*/ 5 w 23"/>
                <a:gd name="T57" fmla="*/ 0 h 21"/>
                <a:gd name="T58" fmla="*/ 5 w 23"/>
                <a:gd name="T59" fmla="*/ 1 h 21"/>
                <a:gd name="T60" fmla="*/ 6 w 23"/>
                <a:gd name="T61" fmla="*/ 2 h 21"/>
                <a:gd name="T62" fmla="*/ 7 w 23"/>
                <a:gd name="T63" fmla="*/ 3 h 21"/>
                <a:gd name="T64" fmla="*/ 8 w 23"/>
                <a:gd name="T65" fmla="*/ 4 h 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3" h="21">
                  <a:moveTo>
                    <a:pt x="17" y="7"/>
                  </a:moveTo>
                  <a:lnTo>
                    <a:pt x="18" y="8"/>
                  </a:lnTo>
                  <a:lnTo>
                    <a:pt x="19" y="9"/>
                  </a:lnTo>
                  <a:lnTo>
                    <a:pt x="21" y="12"/>
                  </a:lnTo>
                  <a:lnTo>
                    <a:pt x="22" y="14"/>
                  </a:lnTo>
                  <a:lnTo>
                    <a:pt x="23" y="15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19" y="20"/>
                  </a:lnTo>
                  <a:lnTo>
                    <a:pt x="16" y="20"/>
                  </a:lnTo>
                  <a:lnTo>
                    <a:pt x="15" y="21"/>
                  </a:lnTo>
                  <a:lnTo>
                    <a:pt x="12" y="20"/>
                  </a:lnTo>
                  <a:lnTo>
                    <a:pt x="11" y="19"/>
                  </a:lnTo>
                  <a:lnTo>
                    <a:pt x="9" y="18"/>
                  </a:lnTo>
                  <a:lnTo>
                    <a:pt x="6" y="15"/>
                  </a:lnTo>
                  <a:lnTo>
                    <a:pt x="4" y="13"/>
                  </a:lnTo>
                  <a:lnTo>
                    <a:pt x="1" y="10"/>
                  </a:lnTo>
                  <a:lnTo>
                    <a:pt x="0" y="9"/>
                  </a:lnTo>
                  <a:lnTo>
                    <a:pt x="1" y="8"/>
                  </a:lnTo>
                  <a:lnTo>
                    <a:pt x="1" y="6"/>
                  </a:lnTo>
                  <a:lnTo>
                    <a:pt x="1" y="4"/>
                  </a:lnTo>
                  <a:lnTo>
                    <a:pt x="1" y="3"/>
                  </a:lnTo>
                  <a:lnTo>
                    <a:pt x="3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6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1" y="2"/>
                  </a:lnTo>
                  <a:lnTo>
                    <a:pt x="13" y="3"/>
                  </a:lnTo>
                  <a:lnTo>
                    <a:pt x="15" y="6"/>
                  </a:lnTo>
                  <a:lnTo>
                    <a:pt x="17" y="7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95" name="Freeform 402"/>
            <p:cNvSpPr>
              <a:spLocks/>
            </p:cNvSpPr>
            <p:nvPr/>
          </p:nvSpPr>
          <p:spPr bwMode="auto">
            <a:xfrm>
              <a:off x="6610757" y="5028799"/>
              <a:ext cx="43522" cy="32594"/>
            </a:xfrm>
            <a:custGeom>
              <a:avLst/>
              <a:gdLst>
                <a:gd name="T0" fmla="*/ 7 w 20"/>
                <a:gd name="T1" fmla="*/ 0 h 16"/>
                <a:gd name="T2" fmla="*/ 5 w 20"/>
                <a:gd name="T3" fmla="*/ 0 h 16"/>
                <a:gd name="T4" fmla="*/ 3 w 20"/>
                <a:gd name="T5" fmla="*/ 0 h 16"/>
                <a:gd name="T6" fmla="*/ 2 w 20"/>
                <a:gd name="T7" fmla="*/ 1 h 16"/>
                <a:gd name="T8" fmla="*/ 1 w 20"/>
                <a:gd name="T9" fmla="*/ 2 h 16"/>
                <a:gd name="T10" fmla="*/ 0 w 20"/>
                <a:gd name="T11" fmla="*/ 2 h 16"/>
                <a:gd name="T12" fmla="*/ 0 w 20"/>
                <a:gd name="T13" fmla="*/ 3 h 16"/>
                <a:gd name="T14" fmla="*/ 1 w 20"/>
                <a:gd name="T15" fmla="*/ 5 h 16"/>
                <a:gd name="T16" fmla="*/ 1 w 20"/>
                <a:gd name="T17" fmla="*/ 5 h 16"/>
                <a:gd name="T18" fmla="*/ 1 w 20"/>
                <a:gd name="T19" fmla="*/ 6 h 16"/>
                <a:gd name="T20" fmla="*/ 1 w 20"/>
                <a:gd name="T21" fmla="*/ 6 h 16"/>
                <a:gd name="T22" fmla="*/ 2 w 20"/>
                <a:gd name="T23" fmla="*/ 8 h 16"/>
                <a:gd name="T24" fmla="*/ 2 w 20"/>
                <a:gd name="T25" fmla="*/ 8 h 16"/>
                <a:gd name="T26" fmla="*/ 3 w 20"/>
                <a:gd name="T27" fmla="*/ 8 h 16"/>
                <a:gd name="T28" fmla="*/ 5 w 20"/>
                <a:gd name="T29" fmla="*/ 8 h 16"/>
                <a:gd name="T30" fmla="*/ 7 w 20"/>
                <a:gd name="T31" fmla="*/ 8 h 16"/>
                <a:gd name="T32" fmla="*/ 8 w 20"/>
                <a:gd name="T33" fmla="*/ 7 h 16"/>
                <a:gd name="T34" fmla="*/ 9 w 20"/>
                <a:gd name="T35" fmla="*/ 6 h 16"/>
                <a:gd name="T36" fmla="*/ 10 w 20"/>
                <a:gd name="T37" fmla="*/ 6 h 16"/>
                <a:gd name="T38" fmla="*/ 10 w 20"/>
                <a:gd name="T39" fmla="*/ 5 h 16"/>
                <a:gd name="T40" fmla="*/ 10 w 20"/>
                <a:gd name="T41" fmla="*/ 4 h 16"/>
                <a:gd name="T42" fmla="*/ 10 w 20"/>
                <a:gd name="T43" fmla="*/ 4 h 16"/>
                <a:gd name="T44" fmla="*/ 10 w 20"/>
                <a:gd name="T45" fmla="*/ 3 h 16"/>
                <a:gd name="T46" fmla="*/ 8 w 20"/>
                <a:gd name="T47" fmla="*/ 3 h 16"/>
                <a:gd name="T48" fmla="*/ 8 w 20"/>
                <a:gd name="T49" fmla="*/ 2 h 16"/>
                <a:gd name="T50" fmla="*/ 7 w 20"/>
                <a:gd name="T51" fmla="*/ 1 h 16"/>
                <a:gd name="T52" fmla="*/ 7 w 20"/>
                <a:gd name="T53" fmla="*/ 0 h 1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0" h="16">
                  <a:moveTo>
                    <a:pt x="13" y="0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2" y="12"/>
                  </a:lnTo>
                  <a:lnTo>
                    <a:pt x="3" y="15"/>
                  </a:lnTo>
                  <a:lnTo>
                    <a:pt x="4" y="16"/>
                  </a:lnTo>
                  <a:lnTo>
                    <a:pt x="6" y="15"/>
                  </a:lnTo>
                  <a:lnTo>
                    <a:pt x="9" y="15"/>
                  </a:lnTo>
                  <a:lnTo>
                    <a:pt x="13" y="15"/>
                  </a:lnTo>
                  <a:lnTo>
                    <a:pt x="15" y="14"/>
                  </a:lnTo>
                  <a:lnTo>
                    <a:pt x="18" y="12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6"/>
                  </a:lnTo>
                  <a:lnTo>
                    <a:pt x="16" y="5"/>
                  </a:lnTo>
                  <a:lnTo>
                    <a:pt x="15" y="3"/>
                  </a:lnTo>
                  <a:lnTo>
                    <a:pt x="14" y="2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96" name="Freeform 403"/>
            <p:cNvSpPr>
              <a:spLocks/>
            </p:cNvSpPr>
            <p:nvPr/>
          </p:nvSpPr>
          <p:spPr bwMode="auto">
            <a:xfrm>
              <a:off x="6388797" y="4283210"/>
              <a:ext cx="356875" cy="183341"/>
            </a:xfrm>
            <a:custGeom>
              <a:avLst/>
              <a:gdLst>
                <a:gd name="T0" fmla="*/ 78 w 163"/>
                <a:gd name="T1" fmla="*/ 42 h 90"/>
                <a:gd name="T2" fmla="*/ 74 w 163"/>
                <a:gd name="T3" fmla="*/ 42 h 90"/>
                <a:gd name="T4" fmla="*/ 70 w 163"/>
                <a:gd name="T5" fmla="*/ 43 h 90"/>
                <a:gd name="T6" fmla="*/ 62 w 163"/>
                <a:gd name="T7" fmla="*/ 45 h 90"/>
                <a:gd name="T8" fmla="*/ 58 w 163"/>
                <a:gd name="T9" fmla="*/ 42 h 90"/>
                <a:gd name="T10" fmla="*/ 57 w 163"/>
                <a:gd name="T11" fmla="*/ 42 h 90"/>
                <a:gd name="T12" fmla="*/ 55 w 163"/>
                <a:gd name="T13" fmla="*/ 43 h 90"/>
                <a:gd name="T14" fmla="*/ 53 w 163"/>
                <a:gd name="T15" fmla="*/ 43 h 90"/>
                <a:gd name="T16" fmla="*/ 49 w 163"/>
                <a:gd name="T17" fmla="*/ 44 h 90"/>
                <a:gd name="T18" fmla="*/ 47 w 163"/>
                <a:gd name="T19" fmla="*/ 40 h 90"/>
                <a:gd name="T20" fmla="*/ 45 w 163"/>
                <a:gd name="T21" fmla="*/ 39 h 90"/>
                <a:gd name="T22" fmla="*/ 36 w 163"/>
                <a:gd name="T23" fmla="*/ 37 h 90"/>
                <a:gd name="T24" fmla="*/ 31 w 163"/>
                <a:gd name="T25" fmla="*/ 35 h 90"/>
                <a:gd name="T26" fmla="*/ 22 w 163"/>
                <a:gd name="T27" fmla="*/ 37 h 90"/>
                <a:gd name="T28" fmla="*/ 16 w 163"/>
                <a:gd name="T29" fmla="*/ 36 h 90"/>
                <a:gd name="T30" fmla="*/ 12 w 163"/>
                <a:gd name="T31" fmla="*/ 36 h 90"/>
                <a:gd name="T32" fmla="*/ 8 w 163"/>
                <a:gd name="T33" fmla="*/ 34 h 90"/>
                <a:gd name="T34" fmla="*/ 6 w 163"/>
                <a:gd name="T35" fmla="*/ 31 h 90"/>
                <a:gd name="T36" fmla="*/ 1 w 163"/>
                <a:gd name="T37" fmla="*/ 31 h 90"/>
                <a:gd name="T38" fmla="*/ 1 w 163"/>
                <a:gd name="T39" fmla="*/ 27 h 90"/>
                <a:gd name="T40" fmla="*/ 1 w 163"/>
                <a:gd name="T41" fmla="*/ 25 h 90"/>
                <a:gd name="T42" fmla="*/ 5 w 163"/>
                <a:gd name="T43" fmla="*/ 22 h 90"/>
                <a:gd name="T44" fmla="*/ 11 w 163"/>
                <a:gd name="T45" fmla="*/ 22 h 90"/>
                <a:gd name="T46" fmla="*/ 21 w 163"/>
                <a:gd name="T47" fmla="*/ 13 h 90"/>
                <a:gd name="T48" fmla="*/ 23 w 163"/>
                <a:gd name="T49" fmla="*/ 10 h 90"/>
                <a:gd name="T50" fmla="*/ 27 w 163"/>
                <a:gd name="T51" fmla="*/ 10 h 90"/>
                <a:gd name="T52" fmla="*/ 28 w 163"/>
                <a:gd name="T53" fmla="*/ 3 h 90"/>
                <a:gd name="T54" fmla="*/ 33 w 163"/>
                <a:gd name="T55" fmla="*/ 0 h 90"/>
                <a:gd name="T56" fmla="*/ 41 w 163"/>
                <a:gd name="T57" fmla="*/ 5 h 90"/>
                <a:gd name="T58" fmla="*/ 45 w 163"/>
                <a:gd name="T59" fmla="*/ 3 h 90"/>
                <a:gd name="T60" fmla="*/ 48 w 163"/>
                <a:gd name="T61" fmla="*/ 5 h 90"/>
                <a:gd name="T62" fmla="*/ 57 w 163"/>
                <a:gd name="T63" fmla="*/ 9 h 90"/>
                <a:gd name="T64" fmla="*/ 64 w 163"/>
                <a:gd name="T65" fmla="*/ 7 h 90"/>
                <a:gd name="T66" fmla="*/ 68 w 163"/>
                <a:gd name="T67" fmla="*/ 9 h 90"/>
                <a:gd name="T68" fmla="*/ 69 w 163"/>
                <a:gd name="T69" fmla="*/ 13 h 90"/>
                <a:gd name="T70" fmla="*/ 71 w 163"/>
                <a:gd name="T71" fmla="*/ 15 h 90"/>
                <a:gd name="T72" fmla="*/ 73 w 163"/>
                <a:gd name="T73" fmla="*/ 18 h 90"/>
                <a:gd name="T74" fmla="*/ 76 w 163"/>
                <a:gd name="T75" fmla="*/ 24 h 90"/>
                <a:gd name="T76" fmla="*/ 78 w 163"/>
                <a:gd name="T77" fmla="*/ 28 h 90"/>
                <a:gd name="T78" fmla="*/ 81 w 163"/>
                <a:gd name="T79" fmla="*/ 36 h 90"/>
                <a:gd name="T80" fmla="*/ 82 w 163"/>
                <a:gd name="T81" fmla="*/ 40 h 9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63" h="90">
                  <a:moveTo>
                    <a:pt x="159" y="84"/>
                  </a:moveTo>
                  <a:lnTo>
                    <a:pt x="156" y="84"/>
                  </a:lnTo>
                  <a:lnTo>
                    <a:pt x="150" y="83"/>
                  </a:lnTo>
                  <a:lnTo>
                    <a:pt x="147" y="83"/>
                  </a:lnTo>
                  <a:lnTo>
                    <a:pt x="145" y="85"/>
                  </a:lnTo>
                  <a:lnTo>
                    <a:pt x="139" y="86"/>
                  </a:lnTo>
                  <a:lnTo>
                    <a:pt x="133" y="84"/>
                  </a:lnTo>
                  <a:lnTo>
                    <a:pt x="123" y="90"/>
                  </a:lnTo>
                  <a:lnTo>
                    <a:pt x="116" y="87"/>
                  </a:lnTo>
                  <a:lnTo>
                    <a:pt x="116" y="83"/>
                  </a:lnTo>
                  <a:lnTo>
                    <a:pt x="115" y="80"/>
                  </a:lnTo>
                  <a:lnTo>
                    <a:pt x="113" y="83"/>
                  </a:lnTo>
                  <a:lnTo>
                    <a:pt x="111" y="84"/>
                  </a:lnTo>
                  <a:lnTo>
                    <a:pt x="110" y="85"/>
                  </a:lnTo>
                  <a:lnTo>
                    <a:pt x="109" y="86"/>
                  </a:lnTo>
                  <a:lnTo>
                    <a:pt x="105" y="86"/>
                  </a:lnTo>
                  <a:lnTo>
                    <a:pt x="102" y="87"/>
                  </a:lnTo>
                  <a:lnTo>
                    <a:pt x="98" y="87"/>
                  </a:lnTo>
                  <a:lnTo>
                    <a:pt x="95" y="84"/>
                  </a:lnTo>
                  <a:lnTo>
                    <a:pt x="93" y="80"/>
                  </a:lnTo>
                  <a:lnTo>
                    <a:pt x="90" y="79"/>
                  </a:lnTo>
                  <a:lnTo>
                    <a:pt x="89" y="78"/>
                  </a:lnTo>
                  <a:lnTo>
                    <a:pt x="80" y="78"/>
                  </a:lnTo>
                  <a:lnTo>
                    <a:pt x="72" y="74"/>
                  </a:lnTo>
                  <a:lnTo>
                    <a:pt x="63" y="74"/>
                  </a:lnTo>
                  <a:lnTo>
                    <a:pt x="61" y="69"/>
                  </a:lnTo>
                  <a:lnTo>
                    <a:pt x="55" y="67"/>
                  </a:lnTo>
                  <a:lnTo>
                    <a:pt x="43" y="73"/>
                  </a:lnTo>
                  <a:lnTo>
                    <a:pt x="33" y="72"/>
                  </a:lnTo>
                  <a:lnTo>
                    <a:pt x="31" y="72"/>
                  </a:lnTo>
                  <a:lnTo>
                    <a:pt x="26" y="71"/>
                  </a:lnTo>
                  <a:lnTo>
                    <a:pt x="23" y="72"/>
                  </a:lnTo>
                  <a:lnTo>
                    <a:pt x="19" y="71"/>
                  </a:lnTo>
                  <a:lnTo>
                    <a:pt x="15" y="68"/>
                  </a:lnTo>
                  <a:lnTo>
                    <a:pt x="13" y="65"/>
                  </a:lnTo>
                  <a:lnTo>
                    <a:pt x="11" y="62"/>
                  </a:lnTo>
                  <a:lnTo>
                    <a:pt x="7" y="62"/>
                  </a:lnTo>
                  <a:lnTo>
                    <a:pt x="2" y="62"/>
                  </a:lnTo>
                  <a:lnTo>
                    <a:pt x="2" y="59"/>
                  </a:lnTo>
                  <a:lnTo>
                    <a:pt x="1" y="53"/>
                  </a:lnTo>
                  <a:lnTo>
                    <a:pt x="0" y="49"/>
                  </a:lnTo>
                  <a:lnTo>
                    <a:pt x="2" y="50"/>
                  </a:lnTo>
                  <a:lnTo>
                    <a:pt x="6" y="49"/>
                  </a:lnTo>
                  <a:lnTo>
                    <a:pt x="9" y="44"/>
                  </a:lnTo>
                  <a:lnTo>
                    <a:pt x="14" y="43"/>
                  </a:lnTo>
                  <a:lnTo>
                    <a:pt x="21" y="43"/>
                  </a:lnTo>
                  <a:lnTo>
                    <a:pt x="29" y="31"/>
                  </a:lnTo>
                  <a:lnTo>
                    <a:pt x="42" y="25"/>
                  </a:lnTo>
                  <a:lnTo>
                    <a:pt x="44" y="24"/>
                  </a:lnTo>
                  <a:lnTo>
                    <a:pt x="45" y="20"/>
                  </a:lnTo>
                  <a:lnTo>
                    <a:pt x="51" y="21"/>
                  </a:lnTo>
                  <a:lnTo>
                    <a:pt x="53" y="20"/>
                  </a:lnTo>
                  <a:lnTo>
                    <a:pt x="54" y="8"/>
                  </a:lnTo>
                  <a:lnTo>
                    <a:pt x="56" y="5"/>
                  </a:lnTo>
                  <a:lnTo>
                    <a:pt x="62" y="1"/>
                  </a:lnTo>
                  <a:lnTo>
                    <a:pt x="66" y="0"/>
                  </a:lnTo>
                  <a:lnTo>
                    <a:pt x="73" y="3"/>
                  </a:lnTo>
                  <a:lnTo>
                    <a:pt x="81" y="9"/>
                  </a:lnTo>
                  <a:lnTo>
                    <a:pt x="86" y="9"/>
                  </a:lnTo>
                  <a:lnTo>
                    <a:pt x="90" y="6"/>
                  </a:lnTo>
                  <a:lnTo>
                    <a:pt x="92" y="6"/>
                  </a:lnTo>
                  <a:lnTo>
                    <a:pt x="96" y="9"/>
                  </a:lnTo>
                  <a:lnTo>
                    <a:pt x="108" y="18"/>
                  </a:lnTo>
                  <a:lnTo>
                    <a:pt x="113" y="18"/>
                  </a:lnTo>
                  <a:lnTo>
                    <a:pt x="119" y="15"/>
                  </a:lnTo>
                  <a:lnTo>
                    <a:pt x="127" y="14"/>
                  </a:lnTo>
                  <a:lnTo>
                    <a:pt x="135" y="11"/>
                  </a:lnTo>
                  <a:lnTo>
                    <a:pt x="135" y="17"/>
                  </a:lnTo>
                  <a:lnTo>
                    <a:pt x="137" y="20"/>
                  </a:lnTo>
                  <a:lnTo>
                    <a:pt x="138" y="25"/>
                  </a:lnTo>
                  <a:lnTo>
                    <a:pt x="140" y="27"/>
                  </a:lnTo>
                  <a:lnTo>
                    <a:pt x="141" y="30"/>
                  </a:lnTo>
                  <a:lnTo>
                    <a:pt x="143" y="32"/>
                  </a:lnTo>
                  <a:lnTo>
                    <a:pt x="146" y="35"/>
                  </a:lnTo>
                  <a:lnTo>
                    <a:pt x="150" y="36"/>
                  </a:lnTo>
                  <a:lnTo>
                    <a:pt x="152" y="47"/>
                  </a:lnTo>
                  <a:lnTo>
                    <a:pt x="155" y="51"/>
                  </a:lnTo>
                  <a:lnTo>
                    <a:pt x="156" y="55"/>
                  </a:lnTo>
                  <a:lnTo>
                    <a:pt x="158" y="62"/>
                  </a:lnTo>
                  <a:lnTo>
                    <a:pt x="162" y="71"/>
                  </a:lnTo>
                  <a:lnTo>
                    <a:pt x="163" y="75"/>
                  </a:lnTo>
                  <a:lnTo>
                    <a:pt x="163" y="80"/>
                  </a:lnTo>
                  <a:lnTo>
                    <a:pt x="159" y="84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97" name="Freeform 404"/>
            <p:cNvSpPr>
              <a:spLocks/>
            </p:cNvSpPr>
            <p:nvPr/>
          </p:nvSpPr>
          <p:spPr bwMode="auto">
            <a:xfrm>
              <a:off x="6697799" y="4352472"/>
              <a:ext cx="348171" cy="419648"/>
            </a:xfrm>
            <a:custGeom>
              <a:avLst/>
              <a:gdLst>
                <a:gd name="T0" fmla="*/ 11 w 161"/>
                <a:gd name="T1" fmla="*/ 36 h 206"/>
                <a:gd name="T2" fmla="*/ 12 w 161"/>
                <a:gd name="T3" fmla="*/ 32 h 206"/>
                <a:gd name="T4" fmla="*/ 9 w 161"/>
                <a:gd name="T5" fmla="*/ 26 h 206"/>
                <a:gd name="T6" fmla="*/ 11 w 161"/>
                <a:gd name="T7" fmla="*/ 21 h 206"/>
                <a:gd name="T8" fmla="*/ 9 w 161"/>
                <a:gd name="T9" fmla="*/ 15 h 206"/>
                <a:gd name="T10" fmla="*/ 7 w 161"/>
                <a:gd name="T11" fmla="*/ 9 h 206"/>
                <a:gd name="T12" fmla="*/ 5 w 161"/>
                <a:gd name="T13" fmla="*/ 2 h 206"/>
                <a:gd name="T14" fmla="*/ 9 w 161"/>
                <a:gd name="T15" fmla="*/ 5 h 206"/>
                <a:gd name="T16" fmla="*/ 14 w 161"/>
                <a:gd name="T17" fmla="*/ 11 h 206"/>
                <a:gd name="T18" fmla="*/ 20 w 161"/>
                <a:gd name="T19" fmla="*/ 16 h 206"/>
                <a:gd name="T20" fmla="*/ 24 w 161"/>
                <a:gd name="T21" fmla="*/ 20 h 206"/>
                <a:gd name="T22" fmla="*/ 28 w 161"/>
                <a:gd name="T23" fmla="*/ 22 h 206"/>
                <a:gd name="T24" fmla="*/ 32 w 161"/>
                <a:gd name="T25" fmla="*/ 22 h 206"/>
                <a:gd name="T26" fmla="*/ 36 w 161"/>
                <a:gd name="T27" fmla="*/ 21 h 206"/>
                <a:gd name="T28" fmla="*/ 41 w 161"/>
                <a:gd name="T29" fmla="*/ 18 h 206"/>
                <a:gd name="T30" fmla="*/ 47 w 161"/>
                <a:gd name="T31" fmla="*/ 14 h 206"/>
                <a:gd name="T32" fmla="*/ 53 w 161"/>
                <a:gd name="T33" fmla="*/ 15 h 206"/>
                <a:gd name="T34" fmla="*/ 56 w 161"/>
                <a:gd name="T35" fmla="*/ 17 h 206"/>
                <a:gd name="T36" fmla="*/ 57 w 161"/>
                <a:gd name="T37" fmla="*/ 20 h 206"/>
                <a:gd name="T38" fmla="*/ 63 w 161"/>
                <a:gd name="T39" fmla="*/ 20 h 206"/>
                <a:gd name="T40" fmla="*/ 69 w 161"/>
                <a:gd name="T41" fmla="*/ 21 h 206"/>
                <a:gd name="T42" fmla="*/ 71 w 161"/>
                <a:gd name="T43" fmla="*/ 27 h 206"/>
                <a:gd name="T44" fmla="*/ 74 w 161"/>
                <a:gd name="T45" fmla="*/ 30 h 206"/>
                <a:gd name="T46" fmla="*/ 76 w 161"/>
                <a:gd name="T47" fmla="*/ 30 h 206"/>
                <a:gd name="T48" fmla="*/ 80 w 161"/>
                <a:gd name="T49" fmla="*/ 30 h 206"/>
                <a:gd name="T50" fmla="*/ 78 w 161"/>
                <a:gd name="T51" fmla="*/ 33 h 206"/>
                <a:gd name="T52" fmla="*/ 62 w 161"/>
                <a:gd name="T53" fmla="*/ 38 h 206"/>
                <a:gd name="T54" fmla="*/ 47 w 161"/>
                <a:gd name="T55" fmla="*/ 56 h 206"/>
                <a:gd name="T56" fmla="*/ 47 w 161"/>
                <a:gd name="T57" fmla="*/ 66 h 206"/>
                <a:gd name="T58" fmla="*/ 44 w 161"/>
                <a:gd name="T59" fmla="*/ 81 h 206"/>
                <a:gd name="T60" fmla="*/ 36 w 161"/>
                <a:gd name="T61" fmla="*/ 86 h 206"/>
                <a:gd name="T62" fmla="*/ 26 w 161"/>
                <a:gd name="T63" fmla="*/ 89 h 206"/>
                <a:gd name="T64" fmla="*/ 16 w 161"/>
                <a:gd name="T65" fmla="*/ 97 h 206"/>
                <a:gd name="T66" fmla="*/ 12 w 161"/>
                <a:gd name="T67" fmla="*/ 103 h 206"/>
                <a:gd name="T68" fmla="*/ 3 w 161"/>
                <a:gd name="T69" fmla="*/ 100 h 206"/>
                <a:gd name="T70" fmla="*/ 5 w 161"/>
                <a:gd name="T71" fmla="*/ 94 h 206"/>
                <a:gd name="T72" fmla="*/ 5 w 161"/>
                <a:gd name="T73" fmla="*/ 89 h 206"/>
                <a:gd name="T74" fmla="*/ 5 w 161"/>
                <a:gd name="T75" fmla="*/ 78 h 206"/>
                <a:gd name="T76" fmla="*/ 8 w 161"/>
                <a:gd name="T77" fmla="*/ 75 h 206"/>
                <a:gd name="T78" fmla="*/ 9 w 161"/>
                <a:gd name="T79" fmla="*/ 73 h 206"/>
                <a:gd name="T80" fmla="*/ 4 w 161"/>
                <a:gd name="T81" fmla="*/ 69 h 206"/>
                <a:gd name="T82" fmla="*/ 6 w 161"/>
                <a:gd name="T83" fmla="*/ 65 h 206"/>
                <a:gd name="T84" fmla="*/ 11 w 161"/>
                <a:gd name="T85" fmla="*/ 59 h 206"/>
                <a:gd name="T86" fmla="*/ 20 w 161"/>
                <a:gd name="T87" fmla="*/ 51 h 206"/>
                <a:gd name="T88" fmla="*/ 26 w 161"/>
                <a:gd name="T89" fmla="*/ 44 h 206"/>
                <a:gd name="T90" fmla="*/ 17 w 161"/>
                <a:gd name="T91" fmla="*/ 38 h 206"/>
                <a:gd name="T92" fmla="*/ 11 w 161"/>
                <a:gd name="T93" fmla="*/ 39 h 20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1" h="206">
                  <a:moveTo>
                    <a:pt x="22" y="78"/>
                  </a:moveTo>
                  <a:lnTo>
                    <a:pt x="22" y="72"/>
                  </a:lnTo>
                  <a:lnTo>
                    <a:pt x="24" y="67"/>
                  </a:lnTo>
                  <a:lnTo>
                    <a:pt x="24" y="64"/>
                  </a:lnTo>
                  <a:lnTo>
                    <a:pt x="21" y="57"/>
                  </a:lnTo>
                  <a:lnTo>
                    <a:pt x="19" y="51"/>
                  </a:lnTo>
                  <a:lnTo>
                    <a:pt x="23" y="47"/>
                  </a:lnTo>
                  <a:lnTo>
                    <a:pt x="23" y="42"/>
                  </a:lnTo>
                  <a:lnTo>
                    <a:pt x="22" y="38"/>
                  </a:lnTo>
                  <a:lnTo>
                    <a:pt x="18" y="29"/>
                  </a:lnTo>
                  <a:lnTo>
                    <a:pt x="16" y="22"/>
                  </a:lnTo>
                  <a:lnTo>
                    <a:pt x="15" y="18"/>
                  </a:lnTo>
                  <a:lnTo>
                    <a:pt x="12" y="14"/>
                  </a:lnTo>
                  <a:lnTo>
                    <a:pt x="10" y="3"/>
                  </a:lnTo>
                  <a:lnTo>
                    <a:pt x="13" y="0"/>
                  </a:lnTo>
                  <a:lnTo>
                    <a:pt x="18" y="9"/>
                  </a:lnTo>
                  <a:lnTo>
                    <a:pt x="23" y="15"/>
                  </a:lnTo>
                  <a:lnTo>
                    <a:pt x="28" y="22"/>
                  </a:lnTo>
                  <a:lnTo>
                    <a:pt x="34" y="28"/>
                  </a:lnTo>
                  <a:lnTo>
                    <a:pt x="40" y="32"/>
                  </a:lnTo>
                  <a:lnTo>
                    <a:pt x="43" y="35"/>
                  </a:lnTo>
                  <a:lnTo>
                    <a:pt x="49" y="40"/>
                  </a:lnTo>
                  <a:lnTo>
                    <a:pt x="54" y="42"/>
                  </a:lnTo>
                  <a:lnTo>
                    <a:pt x="57" y="44"/>
                  </a:lnTo>
                  <a:lnTo>
                    <a:pt x="60" y="42"/>
                  </a:lnTo>
                  <a:lnTo>
                    <a:pt x="65" y="44"/>
                  </a:lnTo>
                  <a:lnTo>
                    <a:pt x="70" y="42"/>
                  </a:lnTo>
                  <a:lnTo>
                    <a:pt x="72" y="41"/>
                  </a:lnTo>
                  <a:lnTo>
                    <a:pt x="76" y="39"/>
                  </a:lnTo>
                  <a:lnTo>
                    <a:pt x="83" y="36"/>
                  </a:lnTo>
                  <a:lnTo>
                    <a:pt x="90" y="29"/>
                  </a:lnTo>
                  <a:lnTo>
                    <a:pt x="94" y="28"/>
                  </a:lnTo>
                  <a:lnTo>
                    <a:pt x="101" y="33"/>
                  </a:lnTo>
                  <a:lnTo>
                    <a:pt x="107" y="29"/>
                  </a:lnTo>
                  <a:lnTo>
                    <a:pt x="111" y="29"/>
                  </a:lnTo>
                  <a:lnTo>
                    <a:pt x="113" y="33"/>
                  </a:lnTo>
                  <a:lnTo>
                    <a:pt x="114" y="38"/>
                  </a:lnTo>
                  <a:lnTo>
                    <a:pt x="115" y="40"/>
                  </a:lnTo>
                  <a:lnTo>
                    <a:pt x="119" y="41"/>
                  </a:lnTo>
                  <a:lnTo>
                    <a:pt x="126" y="40"/>
                  </a:lnTo>
                  <a:lnTo>
                    <a:pt x="135" y="40"/>
                  </a:lnTo>
                  <a:lnTo>
                    <a:pt x="138" y="42"/>
                  </a:lnTo>
                  <a:lnTo>
                    <a:pt x="141" y="47"/>
                  </a:lnTo>
                  <a:lnTo>
                    <a:pt x="142" y="54"/>
                  </a:lnTo>
                  <a:lnTo>
                    <a:pt x="144" y="59"/>
                  </a:lnTo>
                  <a:lnTo>
                    <a:pt x="149" y="60"/>
                  </a:lnTo>
                  <a:lnTo>
                    <a:pt x="151" y="61"/>
                  </a:lnTo>
                  <a:lnTo>
                    <a:pt x="153" y="60"/>
                  </a:lnTo>
                  <a:lnTo>
                    <a:pt x="159" y="57"/>
                  </a:lnTo>
                  <a:lnTo>
                    <a:pt x="160" y="59"/>
                  </a:lnTo>
                  <a:lnTo>
                    <a:pt x="161" y="64"/>
                  </a:lnTo>
                  <a:lnTo>
                    <a:pt x="156" y="66"/>
                  </a:lnTo>
                  <a:lnTo>
                    <a:pt x="130" y="71"/>
                  </a:lnTo>
                  <a:lnTo>
                    <a:pt x="124" y="75"/>
                  </a:lnTo>
                  <a:lnTo>
                    <a:pt x="113" y="85"/>
                  </a:lnTo>
                  <a:lnTo>
                    <a:pt x="95" y="111"/>
                  </a:lnTo>
                  <a:lnTo>
                    <a:pt x="93" y="119"/>
                  </a:lnTo>
                  <a:lnTo>
                    <a:pt x="95" y="131"/>
                  </a:lnTo>
                  <a:lnTo>
                    <a:pt x="93" y="153"/>
                  </a:lnTo>
                  <a:lnTo>
                    <a:pt x="88" y="162"/>
                  </a:lnTo>
                  <a:lnTo>
                    <a:pt x="79" y="166"/>
                  </a:lnTo>
                  <a:lnTo>
                    <a:pt x="72" y="171"/>
                  </a:lnTo>
                  <a:lnTo>
                    <a:pt x="60" y="177"/>
                  </a:lnTo>
                  <a:lnTo>
                    <a:pt x="53" y="178"/>
                  </a:lnTo>
                  <a:lnTo>
                    <a:pt x="35" y="188"/>
                  </a:lnTo>
                  <a:lnTo>
                    <a:pt x="33" y="193"/>
                  </a:lnTo>
                  <a:lnTo>
                    <a:pt x="30" y="204"/>
                  </a:lnTo>
                  <a:lnTo>
                    <a:pt x="24" y="206"/>
                  </a:lnTo>
                  <a:lnTo>
                    <a:pt x="18" y="206"/>
                  </a:lnTo>
                  <a:lnTo>
                    <a:pt x="7" y="200"/>
                  </a:lnTo>
                  <a:lnTo>
                    <a:pt x="0" y="192"/>
                  </a:lnTo>
                  <a:lnTo>
                    <a:pt x="11" y="188"/>
                  </a:lnTo>
                  <a:lnTo>
                    <a:pt x="11" y="185"/>
                  </a:lnTo>
                  <a:lnTo>
                    <a:pt x="10" y="178"/>
                  </a:lnTo>
                  <a:lnTo>
                    <a:pt x="10" y="163"/>
                  </a:lnTo>
                  <a:lnTo>
                    <a:pt x="11" y="156"/>
                  </a:lnTo>
                  <a:lnTo>
                    <a:pt x="15" y="153"/>
                  </a:lnTo>
                  <a:lnTo>
                    <a:pt x="17" y="150"/>
                  </a:lnTo>
                  <a:lnTo>
                    <a:pt x="18" y="147"/>
                  </a:lnTo>
                  <a:lnTo>
                    <a:pt x="18" y="145"/>
                  </a:lnTo>
                  <a:lnTo>
                    <a:pt x="11" y="139"/>
                  </a:lnTo>
                  <a:lnTo>
                    <a:pt x="9" y="138"/>
                  </a:lnTo>
                  <a:lnTo>
                    <a:pt x="7" y="132"/>
                  </a:lnTo>
                  <a:lnTo>
                    <a:pt x="12" y="130"/>
                  </a:lnTo>
                  <a:lnTo>
                    <a:pt x="19" y="127"/>
                  </a:lnTo>
                  <a:lnTo>
                    <a:pt x="23" y="118"/>
                  </a:lnTo>
                  <a:lnTo>
                    <a:pt x="29" y="111"/>
                  </a:lnTo>
                  <a:lnTo>
                    <a:pt x="41" y="101"/>
                  </a:lnTo>
                  <a:lnTo>
                    <a:pt x="48" y="93"/>
                  </a:lnTo>
                  <a:lnTo>
                    <a:pt x="52" y="88"/>
                  </a:lnTo>
                  <a:lnTo>
                    <a:pt x="51" y="85"/>
                  </a:lnTo>
                  <a:lnTo>
                    <a:pt x="35" y="75"/>
                  </a:lnTo>
                  <a:lnTo>
                    <a:pt x="27" y="78"/>
                  </a:lnTo>
                  <a:lnTo>
                    <a:pt x="23" y="78"/>
                  </a:lnTo>
                  <a:lnTo>
                    <a:pt x="22" y="78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98" name="Freeform 405"/>
            <p:cNvSpPr>
              <a:spLocks/>
            </p:cNvSpPr>
            <p:nvPr/>
          </p:nvSpPr>
          <p:spPr bwMode="auto">
            <a:xfrm>
              <a:off x="6467136" y="4499145"/>
              <a:ext cx="235016" cy="195565"/>
            </a:xfrm>
            <a:custGeom>
              <a:avLst/>
              <a:gdLst>
                <a:gd name="T0" fmla="*/ 9 w 108"/>
                <a:gd name="T1" fmla="*/ 47 h 97"/>
                <a:gd name="T2" fmla="*/ 6 w 108"/>
                <a:gd name="T3" fmla="*/ 44 h 97"/>
                <a:gd name="T4" fmla="*/ 2 w 108"/>
                <a:gd name="T5" fmla="*/ 36 h 97"/>
                <a:gd name="T6" fmla="*/ 4 w 108"/>
                <a:gd name="T7" fmla="*/ 32 h 97"/>
                <a:gd name="T8" fmla="*/ 6 w 108"/>
                <a:gd name="T9" fmla="*/ 27 h 97"/>
                <a:gd name="T10" fmla="*/ 4 w 108"/>
                <a:gd name="T11" fmla="*/ 23 h 97"/>
                <a:gd name="T12" fmla="*/ 0 w 108"/>
                <a:gd name="T13" fmla="*/ 21 h 97"/>
                <a:gd name="T14" fmla="*/ 4 w 108"/>
                <a:gd name="T15" fmla="*/ 17 h 97"/>
                <a:gd name="T16" fmla="*/ 8 w 108"/>
                <a:gd name="T17" fmla="*/ 14 h 97"/>
                <a:gd name="T18" fmla="*/ 11 w 108"/>
                <a:gd name="T19" fmla="*/ 8 h 97"/>
                <a:gd name="T20" fmla="*/ 11 w 108"/>
                <a:gd name="T21" fmla="*/ 2 h 97"/>
                <a:gd name="T22" fmla="*/ 13 w 108"/>
                <a:gd name="T23" fmla="*/ 1 h 97"/>
                <a:gd name="T24" fmla="*/ 15 w 108"/>
                <a:gd name="T25" fmla="*/ 2 h 97"/>
                <a:gd name="T26" fmla="*/ 18 w 108"/>
                <a:gd name="T27" fmla="*/ 3 h 97"/>
                <a:gd name="T28" fmla="*/ 21 w 108"/>
                <a:gd name="T29" fmla="*/ 4 h 97"/>
                <a:gd name="T30" fmla="*/ 25 w 108"/>
                <a:gd name="T31" fmla="*/ 4 h 97"/>
                <a:gd name="T32" fmla="*/ 29 w 108"/>
                <a:gd name="T33" fmla="*/ 6 h 97"/>
                <a:gd name="T34" fmla="*/ 31 w 108"/>
                <a:gd name="T35" fmla="*/ 11 h 97"/>
                <a:gd name="T36" fmla="*/ 33 w 108"/>
                <a:gd name="T37" fmla="*/ 14 h 97"/>
                <a:gd name="T38" fmla="*/ 34 w 108"/>
                <a:gd name="T39" fmla="*/ 11 h 97"/>
                <a:gd name="T40" fmla="*/ 33 w 108"/>
                <a:gd name="T41" fmla="*/ 8 h 97"/>
                <a:gd name="T42" fmla="*/ 33 w 108"/>
                <a:gd name="T43" fmla="*/ 5 h 97"/>
                <a:gd name="T44" fmla="*/ 36 w 108"/>
                <a:gd name="T45" fmla="*/ 5 h 97"/>
                <a:gd name="T46" fmla="*/ 37 w 108"/>
                <a:gd name="T47" fmla="*/ 3 h 97"/>
                <a:gd name="T48" fmla="*/ 40 w 108"/>
                <a:gd name="T49" fmla="*/ 3 h 97"/>
                <a:gd name="T50" fmla="*/ 43 w 108"/>
                <a:gd name="T51" fmla="*/ 5 h 97"/>
                <a:gd name="T52" fmla="*/ 50 w 108"/>
                <a:gd name="T53" fmla="*/ 8 h 97"/>
                <a:gd name="T54" fmla="*/ 54 w 108"/>
                <a:gd name="T55" fmla="*/ 10 h 97"/>
                <a:gd name="T56" fmla="*/ 51 w 108"/>
                <a:gd name="T57" fmla="*/ 16 h 97"/>
                <a:gd name="T58" fmla="*/ 47 w 108"/>
                <a:gd name="T59" fmla="*/ 26 h 97"/>
                <a:gd name="T60" fmla="*/ 49 w 108"/>
                <a:gd name="T61" fmla="*/ 29 h 97"/>
                <a:gd name="T62" fmla="*/ 53 w 108"/>
                <a:gd name="T63" fmla="*/ 36 h 97"/>
                <a:gd name="T64" fmla="*/ 52 w 108"/>
                <a:gd name="T65" fmla="*/ 41 h 97"/>
                <a:gd name="T66" fmla="*/ 46 w 108"/>
                <a:gd name="T67" fmla="*/ 48 h 97"/>
                <a:gd name="T68" fmla="*/ 42 w 108"/>
                <a:gd name="T69" fmla="*/ 48 h 97"/>
                <a:gd name="T70" fmla="*/ 42 w 108"/>
                <a:gd name="T71" fmla="*/ 39 h 97"/>
                <a:gd name="T72" fmla="*/ 38 w 108"/>
                <a:gd name="T73" fmla="*/ 34 h 97"/>
                <a:gd name="T74" fmla="*/ 16 w 108"/>
                <a:gd name="T75" fmla="*/ 38 h 97"/>
                <a:gd name="T76" fmla="*/ 10 w 108"/>
                <a:gd name="T77" fmla="*/ 47 h 9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08" h="97">
                  <a:moveTo>
                    <a:pt x="19" y="94"/>
                  </a:moveTo>
                  <a:lnTo>
                    <a:pt x="18" y="94"/>
                  </a:lnTo>
                  <a:lnTo>
                    <a:pt x="14" y="91"/>
                  </a:lnTo>
                  <a:lnTo>
                    <a:pt x="11" y="88"/>
                  </a:lnTo>
                  <a:lnTo>
                    <a:pt x="6" y="78"/>
                  </a:lnTo>
                  <a:lnTo>
                    <a:pt x="3" y="73"/>
                  </a:lnTo>
                  <a:lnTo>
                    <a:pt x="5" y="70"/>
                  </a:lnTo>
                  <a:lnTo>
                    <a:pt x="8" y="65"/>
                  </a:lnTo>
                  <a:lnTo>
                    <a:pt x="11" y="60"/>
                  </a:lnTo>
                  <a:lnTo>
                    <a:pt x="12" y="55"/>
                  </a:lnTo>
                  <a:lnTo>
                    <a:pt x="11" y="51"/>
                  </a:lnTo>
                  <a:lnTo>
                    <a:pt x="8" y="47"/>
                  </a:lnTo>
                  <a:lnTo>
                    <a:pt x="5" y="45"/>
                  </a:lnTo>
                  <a:lnTo>
                    <a:pt x="0" y="43"/>
                  </a:lnTo>
                  <a:lnTo>
                    <a:pt x="3" y="37"/>
                  </a:lnTo>
                  <a:lnTo>
                    <a:pt x="7" y="35"/>
                  </a:lnTo>
                  <a:lnTo>
                    <a:pt x="11" y="31"/>
                  </a:lnTo>
                  <a:lnTo>
                    <a:pt x="15" y="28"/>
                  </a:lnTo>
                  <a:lnTo>
                    <a:pt x="19" y="22"/>
                  </a:lnTo>
                  <a:lnTo>
                    <a:pt x="21" y="17"/>
                  </a:lnTo>
                  <a:lnTo>
                    <a:pt x="21" y="10"/>
                  </a:lnTo>
                  <a:lnTo>
                    <a:pt x="21" y="4"/>
                  </a:lnTo>
                  <a:lnTo>
                    <a:pt x="21" y="0"/>
                  </a:lnTo>
                  <a:lnTo>
                    <a:pt x="25" y="3"/>
                  </a:lnTo>
                  <a:lnTo>
                    <a:pt x="26" y="5"/>
                  </a:lnTo>
                  <a:lnTo>
                    <a:pt x="30" y="5"/>
                  </a:lnTo>
                  <a:lnTo>
                    <a:pt x="32" y="5"/>
                  </a:lnTo>
                  <a:lnTo>
                    <a:pt x="35" y="6"/>
                  </a:lnTo>
                  <a:lnTo>
                    <a:pt x="38" y="9"/>
                  </a:lnTo>
                  <a:lnTo>
                    <a:pt x="42" y="9"/>
                  </a:lnTo>
                  <a:lnTo>
                    <a:pt x="47" y="7"/>
                  </a:lnTo>
                  <a:lnTo>
                    <a:pt x="49" y="9"/>
                  </a:lnTo>
                  <a:lnTo>
                    <a:pt x="53" y="10"/>
                  </a:lnTo>
                  <a:lnTo>
                    <a:pt x="57" y="12"/>
                  </a:lnTo>
                  <a:lnTo>
                    <a:pt x="59" y="17"/>
                  </a:lnTo>
                  <a:lnTo>
                    <a:pt x="61" y="22"/>
                  </a:lnTo>
                  <a:lnTo>
                    <a:pt x="62" y="25"/>
                  </a:lnTo>
                  <a:lnTo>
                    <a:pt x="66" y="28"/>
                  </a:lnTo>
                  <a:lnTo>
                    <a:pt x="66" y="25"/>
                  </a:lnTo>
                  <a:lnTo>
                    <a:pt x="67" y="22"/>
                  </a:lnTo>
                  <a:lnTo>
                    <a:pt x="68" y="19"/>
                  </a:lnTo>
                  <a:lnTo>
                    <a:pt x="66" y="16"/>
                  </a:lnTo>
                  <a:lnTo>
                    <a:pt x="66" y="12"/>
                  </a:lnTo>
                  <a:lnTo>
                    <a:pt x="66" y="10"/>
                  </a:lnTo>
                  <a:lnTo>
                    <a:pt x="67" y="9"/>
                  </a:lnTo>
                  <a:lnTo>
                    <a:pt x="71" y="10"/>
                  </a:lnTo>
                  <a:lnTo>
                    <a:pt x="72" y="9"/>
                  </a:lnTo>
                  <a:lnTo>
                    <a:pt x="74" y="7"/>
                  </a:lnTo>
                  <a:lnTo>
                    <a:pt x="78" y="6"/>
                  </a:lnTo>
                  <a:lnTo>
                    <a:pt x="80" y="6"/>
                  </a:lnTo>
                  <a:lnTo>
                    <a:pt x="84" y="10"/>
                  </a:lnTo>
                  <a:lnTo>
                    <a:pt x="86" y="10"/>
                  </a:lnTo>
                  <a:lnTo>
                    <a:pt x="92" y="9"/>
                  </a:lnTo>
                  <a:lnTo>
                    <a:pt x="99" y="16"/>
                  </a:lnTo>
                  <a:lnTo>
                    <a:pt x="103" y="18"/>
                  </a:lnTo>
                  <a:lnTo>
                    <a:pt x="108" y="21"/>
                  </a:lnTo>
                  <a:lnTo>
                    <a:pt x="107" y="23"/>
                  </a:lnTo>
                  <a:lnTo>
                    <a:pt x="101" y="33"/>
                  </a:lnTo>
                  <a:lnTo>
                    <a:pt x="96" y="42"/>
                  </a:lnTo>
                  <a:lnTo>
                    <a:pt x="93" y="52"/>
                  </a:lnTo>
                  <a:lnTo>
                    <a:pt x="93" y="55"/>
                  </a:lnTo>
                  <a:lnTo>
                    <a:pt x="98" y="59"/>
                  </a:lnTo>
                  <a:lnTo>
                    <a:pt x="103" y="69"/>
                  </a:lnTo>
                  <a:lnTo>
                    <a:pt x="105" y="72"/>
                  </a:lnTo>
                  <a:lnTo>
                    <a:pt x="105" y="76"/>
                  </a:lnTo>
                  <a:lnTo>
                    <a:pt x="103" y="82"/>
                  </a:lnTo>
                  <a:lnTo>
                    <a:pt x="97" y="91"/>
                  </a:lnTo>
                  <a:lnTo>
                    <a:pt x="92" y="96"/>
                  </a:lnTo>
                  <a:lnTo>
                    <a:pt x="89" y="97"/>
                  </a:lnTo>
                  <a:lnTo>
                    <a:pt x="84" y="96"/>
                  </a:lnTo>
                  <a:lnTo>
                    <a:pt x="84" y="90"/>
                  </a:lnTo>
                  <a:lnTo>
                    <a:pt x="84" y="79"/>
                  </a:lnTo>
                  <a:lnTo>
                    <a:pt x="81" y="72"/>
                  </a:lnTo>
                  <a:lnTo>
                    <a:pt x="75" y="69"/>
                  </a:lnTo>
                  <a:lnTo>
                    <a:pt x="69" y="69"/>
                  </a:lnTo>
                  <a:lnTo>
                    <a:pt x="32" y="76"/>
                  </a:lnTo>
                  <a:lnTo>
                    <a:pt x="26" y="83"/>
                  </a:lnTo>
                  <a:lnTo>
                    <a:pt x="19" y="94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299" name="Freeform 406"/>
            <p:cNvSpPr>
              <a:spLocks/>
            </p:cNvSpPr>
            <p:nvPr/>
          </p:nvSpPr>
          <p:spPr bwMode="auto">
            <a:xfrm>
              <a:off x="6245176" y="4389141"/>
              <a:ext cx="269833" cy="281124"/>
            </a:xfrm>
            <a:custGeom>
              <a:avLst/>
              <a:gdLst>
                <a:gd name="T0" fmla="*/ 51 w 124"/>
                <a:gd name="T1" fmla="*/ 50 h 136"/>
                <a:gd name="T2" fmla="*/ 47 w 124"/>
                <a:gd name="T3" fmla="*/ 51 h 136"/>
                <a:gd name="T4" fmla="*/ 43 w 124"/>
                <a:gd name="T5" fmla="*/ 51 h 136"/>
                <a:gd name="T6" fmla="*/ 40 w 124"/>
                <a:gd name="T7" fmla="*/ 53 h 136"/>
                <a:gd name="T8" fmla="*/ 34 w 124"/>
                <a:gd name="T9" fmla="*/ 54 h 136"/>
                <a:gd name="T10" fmla="*/ 32 w 124"/>
                <a:gd name="T11" fmla="*/ 51 h 136"/>
                <a:gd name="T12" fmla="*/ 31 w 124"/>
                <a:gd name="T13" fmla="*/ 50 h 136"/>
                <a:gd name="T14" fmla="*/ 28 w 124"/>
                <a:gd name="T15" fmla="*/ 49 h 136"/>
                <a:gd name="T16" fmla="*/ 27 w 124"/>
                <a:gd name="T17" fmla="*/ 46 h 136"/>
                <a:gd name="T18" fmla="*/ 25 w 124"/>
                <a:gd name="T19" fmla="*/ 47 h 136"/>
                <a:gd name="T20" fmla="*/ 23 w 124"/>
                <a:gd name="T21" fmla="*/ 50 h 136"/>
                <a:gd name="T22" fmla="*/ 22 w 124"/>
                <a:gd name="T23" fmla="*/ 56 h 136"/>
                <a:gd name="T24" fmla="*/ 22 w 124"/>
                <a:gd name="T25" fmla="*/ 62 h 136"/>
                <a:gd name="T26" fmla="*/ 17 w 124"/>
                <a:gd name="T27" fmla="*/ 69 h 136"/>
                <a:gd name="T28" fmla="*/ 13 w 124"/>
                <a:gd name="T29" fmla="*/ 66 h 136"/>
                <a:gd name="T30" fmla="*/ 12 w 124"/>
                <a:gd name="T31" fmla="*/ 60 h 136"/>
                <a:gd name="T32" fmla="*/ 10 w 124"/>
                <a:gd name="T33" fmla="*/ 56 h 136"/>
                <a:gd name="T34" fmla="*/ 5 w 124"/>
                <a:gd name="T35" fmla="*/ 54 h 136"/>
                <a:gd name="T36" fmla="*/ 6 w 124"/>
                <a:gd name="T37" fmla="*/ 47 h 136"/>
                <a:gd name="T38" fmla="*/ 7 w 124"/>
                <a:gd name="T39" fmla="*/ 40 h 136"/>
                <a:gd name="T40" fmla="*/ 7 w 124"/>
                <a:gd name="T41" fmla="*/ 32 h 136"/>
                <a:gd name="T42" fmla="*/ 5 w 124"/>
                <a:gd name="T43" fmla="*/ 26 h 136"/>
                <a:gd name="T44" fmla="*/ 2 w 124"/>
                <a:gd name="T45" fmla="*/ 22 h 136"/>
                <a:gd name="T46" fmla="*/ 0 w 124"/>
                <a:gd name="T47" fmla="*/ 20 h 136"/>
                <a:gd name="T48" fmla="*/ 2 w 124"/>
                <a:gd name="T49" fmla="*/ 16 h 136"/>
                <a:gd name="T50" fmla="*/ 6 w 124"/>
                <a:gd name="T51" fmla="*/ 3 h 136"/>
                <a:gd name="T52" fmla="*/ 10 w 124"/>
                <a:gd name="T53" fmla="*/ 4 h 136"/>
                <a:gd name="T54" fmla="*/ 13 w 124"/>
                <a:gd name="T55" fmla="*/ 0 h 136"/>
                <a:gd name="T56" fmla="*/ 17 w 124"/>
                <a:gd name="T57" fmla="*/ 2 h 136"/>
                <a:gd name="T58" fmla="*/ 23 w 124"/>
                <a:gd name="T59" fmla="*/ 4 h 136"/>
                <a:gd name="T60" fmla="*/ 26 w 124"/>
                <a:gd name="T61" fmla="*/ 7 h 136"/>
                <a:gd name="T62" fmla="*/ 31 w 124"/>
                <a:gd name="T63" fmla="*/ 6 h 136"/>
                <a:gd name="T64" fmla="*/ 35 w 124"/>
                <a:gd name="T65" fmla="*/ 3 h 136"/>
                <a:gd name="T66" fmla="*/ 37 w 124"/>
                <a:gd name="T67" fmla="*/ 5 h 136"/>
                <a:gd name="T68" fmla="*/ 40 w 124"/>
                <a:gd name="T69" fmla="*/ 6 h 136"/>
                <a:gd name="T70" fmla="*/ 43 w 124"/>
                <a:gd name="T71" fmla="*/ 9 h 136"/>
                <a:gd name="T72" fmla="*/ 47 w 124"/>
                <a:gd name="T73" fmla="*/ 9 h 136"/>
                <a:gd name="T74" fmla="*/ 50 w 124"/>
                <a:gd name="T75" fmla="*/ 10 h 136"/>
                <a:gd name="T76" fmla="*/ 55 w 124"/>
                <a:gd name="T77" fmla="*/ 19 h 136"/>
                <a:gd name="T78" fmla="*/ 62 w 124"/>
                <a:gd name="T79" fmla="*/ 26 h 136"/>
                <a:gd name="T80" fmla="*/ 62 w 124"/>
                <a:gd name="T81" fmla="*/ 31 h 136"/>
                <a:gd name="T82" fmla="*/ 61 w 124"/>
                <a:gd name="T83" fmla="*/ 38 h 136"/>
                <a:gd name="T84" fmla="*/ 57 w 124"/>
                <a:gd name="T85" fmla="*/ 42 h 136"/>
                <a:gd name="T86" fmla="*/ 53 w 124"/>
                <a:gd name="T87" fmla="*/ 45 h 1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24" h="136">
                  <a:moveTo>
                    <a:pt x="103" y="95"/>
                  </a:moveTo>
                  <a:lnTo>
                    <a:pt x="102" y="98"/>
                  </a:lnTo>
                  <a:lnTo>
                    <a:pt x="98" y="100"/>
                  </a:lnTo>
                  <a:lnTo>
                    <a:pt x="94" y="101"/>
                  </a:lnTo>
                  <a:lnTo>
                    <a:pt x="90" y="101"/>
                  </a:lnTo>
                  <a:lnTo>
                    <a:pt x="86" y="101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3" y="106"/>
                  </a:lnTo>
                  <a:lnTo>
                    <a:pt x="67" y="106"/>
                  </a:lnTo>
                  <a:lnTo>
                    <a:pt x="64" y="104"/>
                  </a:lnTo>
                  <a:lnTo>
                    <a:pt x="63" y="101"/>
                  </a:lnTo>
                  <a:lnTo>
                    <a:pt x="62" y="99"/>
                  </a:lnTo>
                  <a:lnTo>
                    <a:pt x="61" y="98"/>
                  </a:lnTo>
                  <a:lnTo>
                    <a:pt x="57" y="98"/>
                  </a:lnTo>
                  <a:lnTo>
                    <a:pt x="55" y="97"/>
                  </a:lnTo>
                  <a:lnTo>
                    <a:pt x="54" y="93"/>
                  </a:lnTo>
                  <a:lnTo>
                    <a:pt x="54" y="91"/>
                  </a:lnTo>
                  <a:lnTo>
                    <a:pt x="52" y="91"/>
                  </a:lnTo>
                  <a:lnTo>
                    <a:pt x="50" y="92"/>
                  </a:lnTo>
                  <a:lnTo>
                    <a:pt x="48" y="94"/>
                  </a:lnTo>
                  <a:lnTo>
                    <a:pt x="45" y="98"/>
                  </a:lnTo>
                  <a:lnTo>
                    <a:pt x="43" y="104"/>
                  </a:lnTo>
                  <a:lnTo>
                    <a:pt x="43" y="111"/>
                  </a:lnTo>
                  <a:lnTo>
                    <a:pt x="43" y="116"/>
                  </a:lnTo>
                  <a:lnTo>
                    <a:pt x="43" y="122"/>
                  </a:lnTo>
                  <a:lnTo>
                    <a:pt x="36" y="135"/>
                  </a:lnTo>
                  <a:lnTo>
                    <a:pt x="33" y="136"/>
                  </a:lnTo>
                  <a:lnTo>
                    <a:pt x="28" y="135"/>
                  </a:lnTo>
                  <a:lnTo>
                    <a:pt x="26" y="130"/>
                  </a:lnTo>
                  <a:lnTo>
                    <a:pt x="25" y="127"/>
                  </a:lnTo>
                  <a:lnTo>
                    <a:pt x="24" y="119"/>
                  </a:lnTo>
                  <a:lnTo>
                    <a:pt x="21" y="112"/>
                  </a:lnTo>
                  <a:lnTo>
                    <a:pt x="19" y="111"/>
                  </a:lnTo>
                  <a:lnTo>
                    <a:pt x="14" y="111"/>
                  </a:lnTo>
                  <a:lnTo>
                    <a:pt x="10" y="106"/>
                  </a:lnTo>
                  <a:lnTo>
                    <a:pt x="10" y="97"/>
                  </a:lnTo>
                  <a:lnTo>
                    <a:pt x="12" y="92"/>
                  </a:lnTo>
                  <a:lnTo>
                    <a:pt x="13" y="86"/>
                  </a:lnTo>
                  <a:lnTo>
                    <a:pt x="14" y="79"/>
                  </a:lnTo>
                  <a:lnTo>
                    <a:pt x="13" y="68"/>
                  </a:lnTo>
                  <a:lnTo>
                    <a:pt x="13" y="63"/>
                  </a:lnTo>
                  <a:lnTo>
                    <a:pt x="12" y="57"/>
                  </a:lnTo>
                  <a:lnTo>
                    <a:pt x="9" y="51"/>
                  </a:lnTo>
                  <a:lnTo>
                    <a:pt x="7" y="47"/>
                  </a:lnTo>
                  <a:lnTo>
                    <a:pt x="4" y="44"/>
                  </a:lnTo>
                  <a:lnTo>
                    <a:pt x="1" y="41"/>
                  </a:lnTo>
                  <a:lnTo>
                    <a:pt x="0" y="39"/>
                  </a:lnTo>
                  <a:lnTo>
                    <a:pt x="2" y="36"/>
                  </a:lnTo>
                  <a:lnTo>
                    <a:pt x="4" y="32"/>
                  </a:lnTo>
                  <a:lnTo>
                    <a:pt x="2" y="24"/>
                  </a:lnTo>
                  <a:lnTo>
                    <a:pt x="12" y="6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1" y="4"/>
                  </a:lnTo>
                  <a:lnTo>
                    <a:pt x="25" y="0"/>
                  </a:lnTo>
                  <a:lnTo>
                    <a:pt x="33" y="1"/>
                  </a:lnTo>
                  <a:lnTo>
                    <a:pt x="34" y="4"/>
                  </a:lnTo>
                  <a:lnTo>
                    <a:pt x="39" y="10"/>
                  </a:lnTo>
                  <a:lnTo>
                    <a:pt x="46" y="8"/>
                  </a:lnTo>
                  <a:lnTo>
                    <a:pt x="50" y="10"/>
                  </a:lnTo>
                  <a:lnTo>
                    <a:pt x="51" y="14"/>
                  </a:lnTo>
                  <a:lnTo>
                    <a:pt x="60" y="16"/>
                  </a:lnTo>
                  <a:lnTo>
                    <a:pt x="62" y="12"/>
                  </a:lnTo>
                  <a:lnTo>
                    <a:pt x="67" y="10"/>
                  </a:lnTo>
                  <a:lnTo>
                    <a:pt x="69" y="6"/>
                  </a:lnTo>
                  <a:lnTo>
                    <a:pt x="69" y="9"/>
                  </a:lnTo>
                  <a:lnTo>
                    <a:pt x="74" y="9"/>
                  </a:lnTo>
                  <a:lnTo>
                    <a:pt x="78" y="9"/>
                  </a:lnTo>
                  <a:lnTo>
                    <a:pt x="80" y="12"/>
                  </a:lnTo>
                  <a:lnTo>
                    <a:pt x="82" y="15"/>
                  </a:lnTo>
                  <a:lnTo>
                    <a:pt x="86" y="18"/>
                  </a:lnTo>
                  <a:lnTo>
                    <a:pt x="90" y="19"/>
                  </a:lnTo>
                  <a:lnTo>
                    <a:pt x="93" y="18"/>
                  </a:lnTo>
                  <a:lnTo>
                    <a:pt x="98" y="19"/>
                  </a:lnTo>
                  <a:lnTo>
                    <a:pt x="100" y="19"/>
                  </a:lnTo>
                  <a:lnTo>
                    <a:pt x="105" y="26"/>
                  </a:lnTo>
                  <a:lnTo>
                    <a:pt x="109" y="38"/>
                  </a:lnTo>
                  <a:lnTo>
                    <a:pt x="116" y="46"/>
                  </a:lnTo>
                  <a:lnTo>
                    <a:pt x="124" y="52"/>
                  </a:lnTo>
                  <a:lnTo>
                    <a:pt x="124" y="56"/>
                  </a:lnTo>
                  <a:lnTo>
                    <a:pt x="124" y="62"/>
                  </a:lnTo>
                  <a:lnTo>
                    <a:pt x="124" y="69"/>
                  </a:lnTo>
                  <a:lnTo>
                    <a:pt x="122" y="74"/>
                  </a:lnTo>
                  <a:lnTo>
                    <a:pt x="118" y="80"/>
                  </a:lnTo>
                  <a:lnTo>
                    <a:pt x="114" y="83"/>
                  </a:lnTo>
                  <a:lnTo>
                    <a:pt x="110" y="87"/>
                  </a:lnTo>
                  <a:lnTo>
                    <a:pt x="106" y="89"/>
                  </a:lnTo>
                  <a:lnTo>
                    <a:pt x="103" y="95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00" name="Freeform 407"/>
            <p:cNvSpPr>
              <a:spLocks/>
            </p:cNvSpPr>
            <p:nvPr/>
          </p:nvSpPr>
          <p:spPr bwMode="auto">
            <a:xfrm>
              <a:off x="6010161" y="4495071"/>
              <a:ext cx="504849" cy="370756"/>
            </a:xfrm>
            <a:custGeom>
              <a:avLst/>
              <a:gdLst>
                <a:gd name="T0" fmla="*/ 1 w 232"/>
                <a:gd name="T1" fmla="*/ 76 h 182"/>
                <a:gd name="T2" fmla="*/ 4 w 232"/>
                <a:gd name="T3" fmla="*/ 70 h 182"/>
                <a:gd name="T4" fmla="*/ 10 w 232"/>
                <a:gd name="T5" fmla="*/ 65 h 182"/>
                <a:gd name="T6" fmla="*/ 15 w 232"/>
                <a:gd name="T7" fmla="*/ 56 h 182"/>
                <a:gd name="T8" fmla="*/ 20 w 232"/>
                <a:gd name="T9" fmla="*/ 50 h 182"/>
                <a:gd name="T10" fmla="*/ 24 w 232"/>
                <a:gd name="T11" fmla="*/ 45 h 182"/>
                <a:gd name="T12" fmla="*/ 26 w 232"/>
                <a:gd name="T13" fmla="*/ 39 h 182"/>
                <a:gd name="T14" fmla="*/ 29 w 232"/>
                <a:gd name="T15" fmla="*/ 36 h 182"/>
                <a:gd name="T16" fmla="*/ 37 w 232"/>
                <a:gd name="T17" fmla="*/ 36 h 182"/>
                <a:gd name="T18" fmla="*/ 42 w 232"/>
                <a:gd name="T19" fmla="*/ 30 h 182"/>
                <a:gd name="T20" fmla="*/ 51 w 232"/>
                <a:gd name="T21" fmla="*/ 25 h 182"/>
                <a:gd name="T22" fmla="*/ 53 w 232"/>
                <a:gd name="T23" fmla="*/ 18 h 182"/>
                <a:gd name="T24" fmla="*/ 55 w 232"/>
                <a:gd name="T25" fmla="*/ 12 h 182"/>
                <a:gd name="T26" fmla="*/ 57 w 232"/>
                <a:gd name="T27" fmla="*/ 3 h 182"/>
                <a:gd name="T28" fmla="*/ 61 w 232"/>
                <a:gd name="T29" fmla="*/ 6 h 182"/>
                <a:gd name="T30" fmla="*/ 61 w 232"/>
                <a:gd name="T31" fmla="*/ 18 h 182"/>
                <a:gd name="T32" fmla="*/ 59 w 232"/>
                <a:gd name="T33" fmla="*/ 28 h 182"/>
                <a:gd name="T34" fmla="*/ 65 w 232"/>
                <a:gd name="T35" fmla="*/ 31 h 182"/>
                <a:gd name="T36" fmla="*/ 67 w 232"/>
                <a:gd name="T37" fmla="*/ 40 h 182"/>
                <a:gd name="T38" fmla="*/ 72 w 232"/>
                <a:gd name="T39" fmla="*/ 42 h 182"/>
                <a:gd name="T40" fmla="*/ 76 w 232"/>
                <a:gd name="T41" fmla="*/ 30 h 182"/>
                <a:gd name="T42" fmla="*/ 78 w 232"/>
                <a:gd name="T43" fmla="*/ 22 h 182"/>
                <a:gd name="T44" fmla="*/ 81 w 232"/>
                <a:gd name="T45" fmla="*/ 20 h 182"/>
                <a:gd name="T46" fmla="*/ 83 w 232"/>
                <a:gd name="T47" fmla="*/ 24 h 182"/>
                <a:gd name="T48" fmla="*/ 86 w 232"/>
                <a:gd name="T49" fmla="*/ 25 h 182"/>
                <a:gd name="T50" fmla="*/ 91 w 232"/>
                <a:gd name="T51" fmla="*/ 28 h 182"/>
                <a:gd name="T52" fmla="*/ 97 w 232"/>
                <a:gd name="T53" fmla="*/ 25 h 182"/>
                <a:gd name="T54" fmla="*/ 103 w 232"/>
                <a:gd name="T55" fmla="*/ 25 h 182"/>
                <a:gd name="T56" fmla="*/ 108 w 232"/>
                <a:gd name="T57" fmla="*/ 23 h 182"/>
                <a:gd name="T58" fmla="*/ 112 w 232"/>
                <a:gd name="T59" fmla="*/ 28 h 182"/>
                <a:gd name="T60" fmla="*/ 108 w 232"/>
                <a:gd name="T61" fmla="*/ 36 h 182"/>
                <a:gd name="T62" fmla="*/ 111 w 232"/>
                <a:gd name="T63" fmla="*/ 45 h 182"/>
                <a:gd name="T64" fmla="*/ 115 w 232"/>
                <a:gd name="T65" fmla="*/ 48 h 182"/>
                <a:gd name="T66" fmla="*/ 114 w 232"/>
                <a:gd name="T67" fmla="*/ 58 h 182"/>
                <a:gd name="T68" fmla="*/ 116 w 232"/>
                <a:gd name="T69" fmla="*/ 66 h 182"/>
                <a:gd name="T70" fmla="*/ 97 w 232"/>
                <a:gd name="T71" fmla="*/ 91 h 182"/>
                <a:gd name="T72" fmla="*/ 88 w 232"/>
                <a:gd name="T73" fmla="*/ 82 h 182"/>
                <a:gd name="T74" fmla="*/ 92 w 232"/>
                <a:gd name="T75" fmla="*/ 54 h 182"/>
                <a:gd name="T76" fmla="*/ 91 w 232"/>
                <a:gd name="T77" fmla="*/ 49 h 182"/>
                <a:gd name="T78" fmla="*/ 76 w 232"/>
                <a:gd name="T79" fmla="*/ 56 h 182"/>
                <a:gd name="T80" fmla="*/ 70 w 232"/>
                <a:gd name="T81" fmla="*/ 62 h 182"/>
                <a:gd name="T82" fmla="*/ 60 w 232"/>
                <a:gd name="T83" fmla="*/ 70 h 182"/>
                <a:gd name="T84" fmla="*/ 54 w 232"/>
                <a:gd name="T85" fmla="*/ 80 h 182"/>
                <a:gd name="T86" fmla="*/ 52 w 232"/>
                <a:gd name="T87" fmla="*/ 91 h 182"/>
                <a:gd name="T88" fmla="*/ 32 w 232"/>
                <a:gd name="T89" fmla="*/ 85 h 182"/>
                <a:gd name="T90" fmla="*/ 20 w 232"/>
                <a:gd name="T91" fmla="*/ 88 h 182"/>
                <a:gd name="T92" fmla="*/ 4 w 232"/>
                <a:gd name="T93" fmla="*/ 84 h 1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32" h="182">
                  <a:moveTo>
                    <a:pt x="1" y="168"/>
                  </a:moveTo>
                  <a:lnTo>
                    <a:pt x="0" y="161"/>
                  </a:lnTo>
                  <a:lnTo>
                    <a:pt x="2" y="152"/>
                  </a:lnTo>
                  <a:lnTo>
                    <a:pt x="2" y="146"/>
                  </a:lnTo>
                  <a:lnTo>
                    <a:pt x="4" y="143"/>
                  </a:lnTo>
                  <a:lnTo>
                    <a:pt x="7" y="139"/>
                  </a:lnTo>
                  <a:lnTo>
                    <a:pt x="13" y="135"/>
                  </a:lnTo>
                  <a:lnTo>
                    <a:pt x="18" y="134"/>
                  </a:lnTo>
                  <a:lnTo>
                    <a:pt x="20" y="129"/>
                  </a:lnTo>
                  <a:lnTo>
                    <a:pt x="24" y="122"/>
                  </a:lnTo>
                  <a:lnTo>
                    <a:pt x="26" y="121"/>
                  </a:lnTo>
                  <a:lnTo>
                    <a:pt x="30" y="111"/>
                  </a:lnTo>
                  <a:lnTo>
                    <a:pt x="32" y="107"/>
                  </a:lnTo>
                  <a:lnTo>
                    <a:pt x="36" y="103"/>
                  </a:lnTo>
                  <a:lnTo>
                    <a:pt x="40" y="100"/>
                  </a:lnTo>
                  <a:lnTo>
                    <a:pt x="42" y="98"/>
                  </a:lnTo>
                  <a:lnTo>
                    <a:pt x="45" y="92"/>
                  </a:lnTo>
                  <a:lnTo>
                    <a:pt x="48" y="90"/>
                  </a:lnTo>
                  <a:lnTo>
                    <a:pt x="50" y="85"/>
                  </a:lnTo>
                  <a:lnTo>
                    <a:pt x="51" y="83"/>
                  </a:lnTo>
                  <a:lnTo>
                    <a:pt x="51" y="78"/>
                  </a:lnTo>
                  <a:lnTo>
                    <a:pt x="52" y="76"/>
                  </a:lnTo>
                  <a:lnTo>
                    <a:pt x="56" y="72"/>
                  </a:lnTo>
                  <a:lnTo>
                    <a:pt x="58" y="71"/>
                  </a:lnTo>
                  <a:lnTo>
                    <a:pt x="62" y="71"/>
                  </a:lnTo>
                  <a:lnTo>
                    <a:pt x="63" y="72"/>
                  </a:lnTo>
                  <a:lnTo>
                    <a:pt x="73" y="71"/>
                  </a:lnTo>
                  <a:lnTo>
                    <a:pt x="75" y="68"/>
                  </a:lnTo>
                  <a:lnTo>
                    <a:pt x="80" y="62"/>
                  </a:lnTo>
                  <a:lnTo>
                    <a:pt x="84" y="59"/>
                  </a:lnTo>
                  <a:lnTo>
                    <a:pt x="92" y="55"/>
                  </a:lnTo>
                  <a:lnTo>
                    <a:pt x="98" y="52"/>
                  </a:lnTo>
                  <a:lnTo>
                    <a:pt x="102" y="49"/>
                  </a:lnTo>
                  <a:lnTo>
                    <a:pt x="104" y="43"/>
                  </a:lnTo>
                  <a:lnTo>
                    <a:pt x="104" y="38"/>
                  </a:lnTo>
                  <a:lnTo>
                    <a:pt x="105" y="35"/>
                  </a:lnTo>
                  <a:lnTo>
                    <a:pt x="106" y="31"/>
                  </a:lnTo>
                  <a:lnTo>
                    <a:pt x="109" y="28"/>
                  </a:lnTo>
                  <a:lnTo>
                    <a:pt x="109" y="24"/>
                  </a:lnTo>
                  <a:lnTo>
                    <a:pt x="109" y="18"/>
                  </a:lnTo>
                  <a:lnTo>
                    <a:pt x="111" y="11"/>
                  </a:lnTo>
                  <a:lnTo>
                    <a:pt x="114" y="6"/>
                  </a:lnTo>
                  <a:lnTo>
                    <a:pt x="117" y="0"/>
                  </a:lnTo>
                  <a:lnTo>
                    <a:pt x="120" y="6"/>
                  </a:lnTo>
                  <a:lnTo>
                    <a:pt x="121" y="12"/>
                  </a:lnTo>
                  <a:lnTo>
                    <a:pt x="121" y="17"/>
                  </a:lnTo>
                  <a:lnTo>
                    <a:pt x="122" y="28"/>
                  </a:lnTo>
                  <a:lnTo>
                    <a:pt x="121" y="35"/>
                  </a:lnTo>
                  <a:lnTo>
                    <a:pt x="120" y="41"/>
                  </a:lnTo>
                  <a:lnTo>
                    <a:pt x="118" y="46"/>
                  </a:lnTo>
                  <a:lnTo>
                    <a:pt x="118" y="55"/>
                  </a:lnTo>
                  <a:lnTo>
                    <a:pt x="122" y="60"/>
                  </a:lnTo>
                  <a:lnTo>
                    <a:pt x="127" y="60"/>
                  </a:lnTo>
                  <a:lnTo>
                    <a:pt x="129" y="61"/>
                  </a:lnTo>
                  <a:lnTo>
                    <a:pt x="132" y="68"/>
                  </a:lnTo>
                  <a:lnTo>
                    <a:pt x="133" y="76"/>
                  </a:lnTo>
                  <a:lnTo>
                    <a:pt x="134" y="79"/>
                  </a:lnTo>
                  <a:lnTo>
                    <a:pt x="136" y="84"/>
                  </a:lnTo>
                  <a:lnTo>
                    <a:pt x="141" y="85"/>
                  </a:lnTo>
                  <a:lnTo>
                    <a:pt x="144" y="84"/>
                  </a:lnTo>
                  <a:lnTo>
                    <a:pt x="151" y="71"/>
                  </a:lnTo>
                  <a:lnTo>
                    <a:pt x="151" y="65"/>
                  </a:lnTo>
                  <a:lnTo>
                    <a:pt x="151" y="60"/>
                  </a:lnTo>
                  <a:lnTo>
                    <a:pt x="151" y="53"/>
                  </a:lnTo>
                  <a:lnTo>
                    <a:pt x="153" y="47"/>
                  </a:lnTo>
                  <a:lnTo>
                    <a:pt x="156" y="43"/>
                  </a:lnTo>
                  <a:lnTo>
                    <a:pt x="158" y="41"/>
                  </a:lnTo>
                  <a:lnTo>
                    <a:pt x="160" y="40"/>
                  </a:lnTo>
                  <a:lnTo>
                    <a:pt x="162" y="40"/>
                  </a:lnTo>
                  <a:lnTo>
                    <a:pt x="162" y="42"/>
                  </a:lnTo>
                  <a:lnTo>
                    <a:pt x="163" y="46"/>
                  </a:lnTo>
                  <a:lnTo>
                    <a:pt x="165" y="47"/>
                  </a:lnTo>
                  <a:lnTo>
                    <a:pt x="169" y="47"/>
                  </a:lnTo>
                  <a:lnTo>
                    <a:pt x="170" y="48"/>
                  </a:lnTo>
                  <a:lnTo>
                    <a:pt x="171" y="50"/>
                  </a:lnTo>
                  <a:lnTo>
                    <a:pt x="172" y="53"/>
                  </a:lnTo>
                  <a:lnTo>
                    <a:pt x="175" y="55"/>
                  </a:lnTo>
                  <a:lnTo>
                    <a:pt x="181" y="55"/>
                  </a:lnTo>
                  <a:lnTo>
                    <a:pt x="187" y="54"/>
                  </a:lnTo>
                  <a:lnTo>
                    <a:pt x="189" y="54"/>
                  </a:lnTo>
                  <a:lnTo>
                    <a:pt x="194" y="50"/>
                  </a:lnTo>
                  <a:lnTo>
                    <a:pt x="198" y="50"/>
                  </a:lnTo>
                  <a:lnTo>
                    <a:pt x="202" y="50"/>
                  </a:lnTo>
                  <a:lnTo>
                    <a:pt x="206" y="49"/>
                  </a:lnTo>
                  <a:lnTo>
                    <a:pt x="210" y="47"/>
                  </a:lnTo>
                  <a:lnTo>
                    <a:pt x="211" y="44"/>
                  </a:lnTo>
                  <a:lnTo>
                    <a:pt x="216" y="46"/>
                  </a:lnTo>
                  <a:lnTo>
                    <a:pt x="219" y="48"/>
                  </a:lnTo>
                  <a:lnTo>
                    <a:pt x="222" y="52"/>
                  </a:lnTo>
                  <a:lnTo>
                    <a:pt x="223" y="56"/>
                  </a:lnTo>
                  <a:lnTo>
                    <a:pt x="222" y="61"/>
                  </a:lnTo>
                  <a:lnTo>
                    <a:pt x="219" y="66"/>
                  </a:lnTo>
                  <a:lnTo>
                    <a:pt x="216" y="71"/>
                  </a:lnTo>
                  <a:lnTo>
                    <a:pt x="214" y="74"/>
                  </a:lnTo>
                  <a:lnTo>
                    <a:pt x="217" y="79"/>
                  </a:lnTo>
                  <a:lnTo>
                    <a:pt x="222" y="89"/>
                  </a:lnTo>
                  <a:lnTo>
                    <a:pt x="225" y="92"/>
                  </a:lnTo>
                  <a:lnTo>
                    <a:pt x="229" y="95"/>
                  </a:lnTo>
                  <a:lnTo>
                    <a:pt x="230" y="95"/>
                  </a:lnTo>
                  <a:lnTo>
                    <a:pt x="230" y="97"/>
                  </a:lnTo>
                  <a:lnTo>
                    <a:pt x="226" y="108"/>
                  </a:lnTo>
                  <a:lnTo>
                    <a:pt x="228" y="115"/>
                  </a:lnTo>
                  <a:lnTo>
                    <a:pt x="231" y="120"/>
                  </a:lnTo>
                  <a:lnTo>
                    <a:pt x="232" y="123"/>
                  </a:lnTo>
                  <a:lnTo>
                    <a:pt x="231" y="131"/>
                  </a:lnTo>
                  <a:lnTo>
                    <a:pt x="224" y="152"/>
                  </a:lnTo>
                  <a:lnTo>
                    <a:pt x="206" y="174"/>
                  </a:lnTo>
                  <a:lnTo>
                    <a:pt x="193" y="181"/>
                  </a:lnTo>
                  <a:lnTo>
                    <a:pt x="184" y="179"/>
                  </a:lnTo>
                  <a:lnTo>
                    <a:pt x="177" y="175"/>
                  </a:lnTo>
                  <a:lnTo>
                    <a:pt x="175" y="164"/>
                  </a:lnTo>
                  <a:lnTo>
                    <a:pt x="176" y="144"/>
                  </a:lnTo>
                  <a:lnTo>
                    <a:pt x="178" y="115"/>
                  </a:lnTo>
                  <a:lnTo>
                    <a:pt x="183" y="107"/>
                  </a:lnTo>
                  <a:lnTo>
                    <a:pt x="184" y="103"/>
                  </a:lnTo>
                  <a:lnTo>
                    <a:pt x="183" y="100"/>
                  </a:lnTo>
                  <a:lnTo>
                    <a:pt x="182" y="97"/>
                  </a:lnTo>
                  <a:lnTo>
                    <a:pt x="153" y="100"/>
                  </a:lnTo>
                  <a:lnTo>
                    <a:pt x="151" y="103"/>
                  </a:lnTo>
                  <a:lnTo>
                    <a:pt x="151" y="111"/>
                  </a:lnTo>
                  <a:lnTo>
                    <a:pt x="150" y="115"/>
                  </a:lnTo>
                  <a:lnTo>
                    <a:pt x="146" y="117"/>
                  </a:lnTo>
                  <a:lnTo>
                    <a:pt x="139" y="123"/>
                  </a:lnTo>
                  <a:lnTo>
                    <a:pt x="130" y="128"/>
                  </a:lnTo>
                  <a:lnTo>
                    <a:pt x="122" y="134"/>
                  </a:lnTo>
                  <a:lnTo>
                    <a:pt x="120" y="139"/>
                  </a:lnTo>
                  <a:lnTo>
                    <a:pt x="118" y="145"/>
                  </a:lnTo>
                  <a:lnTo>
                    <a:pt x="116" y="149"/>
                  </a:lnTo>
                  <a:lnTo>
                    <a:pt x="108" y="159"/>
                  </a:lnTo>
                  <a:lnTo>
                    <a:pt x="103" y="168"/>
                  </a:lnTo>
                  <a:lnTo>
                    <a:pt x="103" y="171"/>
                  </a:lnTo>
                  <a:lnTo>
                    <a:pt x="104" y="182"/>
                  </a:lnTo>
                  <a:lnTo>
                    <a:pt x="91" y="180"/>
                  </a:lnTo>
                  <a:lnTo>
                    <a:pt x="68" y="170"/>
                  </a:lnTo>
                  <a:lnTo>
                    <a:pt x="63" y="170"/>
                  </a:lnTo>
                  <a:lnTo>
                    <a:pt x="55" y="171"/>
                  </a:lnTo>
                  <a:lnTo>
                    <a:pt x="45" y="175"/>
                  </a:lnTo>
                  <a:lnTo>
                    <a:pt x="39" y="176"/>
                  </a:lnTo>
                  <a:lnTo>
                    <a:pt x="31" y="173"/>
                  </a:lnTo>
                  <a:lnTo>
                    <a:pt x="13" y="168"/>
                  </a:lnTo>
                  <a:lnTo>
                    <a:pt x="7" y="167"/>
                  </a:lnTo>
                  <a:lnTo>
                    <a:pt x="1" y="168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01" name="Freeform 408"/>
            <p:cNvSpPr>
              <a:spLocks/>
            </p:cNvSpPr>
            <p:nvPr/>
          </p:nvSpPr>
          <p:spPr bwMode="auto">
            <a:xfrm>
              <a:off x="5657637" y="3835042"/>
              <a:ext cx="343819" cy="484836"/>
            </a:xfrm>
            <a:custGeom>
              <a:avLst/>
              <a:gdLst>
                <a:gd name="T0" fmla="*/ 28 w 158"/>
                <a:gd name="T1" fmla="*/ 119 h 239"/>
                <a:gd name="T2" fmla="*/ 25 w 158"/>
                <a:gd name="T3" fmla="*/ 119 h 239"/>
                <a:gd name="T4" fmla="*/ 22 w 158"/>
                <a:gd name="T5" fmla="*/ 119 h 239"/>
                <a:gd name="T6" fmla="*/ 19 w 158"/>
                <a:gd name="T7" fmla="*/ 116 h 239"/>
                <a:gd name="T8" fmla="*/ 14 w 158"/>
                <a:gd name="T9" fmla="*/ 113 h 239"/>
                <a:gd name="T10" fmla="*/ 10 w 158"/>
                <a:gd name="T11" fmla="*/ 113 h 239"/>
                <a:gd name="T12" fmla="*/ 8 w 158"/>
                <a:gd name="T13" fmla="*/ 110 h 239"/>
                <a:gd name="T14" fmla="*/ 4 w 158"/>
                <a:gd name="T15" fmla="*/ 108 h 239"/>
                <a:gd name="T16" fmla="*/ 2 w 158"/>
                <a:gd name="T17" fmla="*/ 105 h 239"/>
                <a:gd name="T18" fmla="*/ 0 w 158"/>
                <a:gd name="T19" fmla="*/ 98 h 239"/>
                <a:gd name="T20" fmla="*/ 11 w 158"/>
                <a:gd name="T21" fmla="*/ 90 h 239"/>
                <a:gd name="T22" fmla="*/ 21 w 158"/>
                <a:gd name="T23" fmla="*/ 79 h 239"/>
                <a:gd name="T24" fmla="*/ 30 w 158"/>
                <a:gd name="T25" fmla="*/ 68 h 239"/>
                <a:gd name="T26" fmla="*/ 35 w 158"/>
                <a:gd name="T27" fmla="*/ 57 h 239"/>
                <a:gd name="T28" fmla="*/ 35 w 158"/>
                <a:gd name="T29" fmla="*/ 43 h 239"/>
                <a:gd name="T30" fmla="*/ 32 w 158"/>
                <a:gd name="T31" fmla="*/ 32 h 239"/>
                <a:gd name="T32" fmla="*/ 34 w 158"/>
                <a:gd name="T33" fmla="*/ 24 h 239"/>
                <a:gd name="T34" fmla="*/ 36 w 158"/>
                <a:gd name="T35" fmla="*/ 14 h 239"/>
                <a:gd name="T36" fmla="*/ 51 w 158"/>
                <a:gd name="T37" fmla="*/ 8 h 239"/>
                <a:gd name="T38" fmla="*/ 64 w 158"/>
                <a:gd name="T39" fmla="*/ 2 h 239"/>
                <a:gd name="T40" fmla="*/ 68 w 158"/>
                <a:gd name="T41" fmla="*/ 1 h 239"/>
                <a:gd name="T42" fmla="*/ 79 w 158"/>
                <a:gd name="T43" fmla="*/ 1 h 239"/>
                <a:gd name="T44" fmla="*/ 74 w 158"/>
                <a:gd name="T45" fmla="*/ 10 h 239"/>
                <a:gd name="T46" fmla="*/ 73 w 158"/>
                <a:gd name="T47" fmla="*/ 16 h 239"/>
                <a:gd name="T48" fmla="*/ 68 w 158"/>
                <a:gd name="T49" fmla="*/ 20 h 239"/>
                <a:gd name="T50" fmla="*/ 58 w 158"/>
                <a:gd name="T51" fmla="*/ 27 h 239"/>
                <a:gd name="T52" fmla="*/ 50 w 158"/>
                <a:gd name="T53" fmla="*/ 27 h 239"/>
                <a:gd name="T54" fmla="*/ 46 w 158"/>
                <a:gd name="T55" fmla="*/ 33 h 239"/>
                <a:gd name="T56" fmla="*/ 52 w 158"/>
                <a:gd name="T57" fmla="*/ 36 h 239"/>
                <a:gd name="T58" fmla="*/ 58 w 158"/>
                <a:gd name="T59" fmla="*/ 41 h 239"/>
                <a:gd name="T60" fmla="*/ 56 w 158"/>
                <a:gd name="T61" fmla="*/ 48 h 239"/>
                <a:gd name="T62" fmla="*/ 53 w 158"/>
                <a:gd name="T63" fmla="*/ 47 h 239"/>
                <a:gd name="T64" fmla="*/ 49 w 158"/>
                <a:gd name="T65" fmla="*/ 49 h 239"/>
                <a:gd name="T66" fmla="*/ 46 w 158"/>
                <a:gd name="T67" fmla="*/ 53 h 239"/>
                <a:gd name="T68" fmla="*/ 43 w 158"/>
                <a:gd name="T69" fmla="*/ 60 h 239"/>
                <a:gd name="T70" fmla="*/ 42 w 158"/>
                <a:gd name="T71" fmla="*/ 64 h 239"/>
                <a:gd name="T72" fmla="*/ 40 w 158"/>
                <a:gd name="T73" fmla="*/ 68 h 239"/>
                <a:gd name="T74" fmla="*/ 41 w 158"/>
                <a:gd name="T75" fmla="*/ 74 h 239"/>
                <a:gd name="T76" fmla="*/ 38 w 158"/>
                <a:gd name="T77" fmla="*/ 80 h 239"/>
                <a:gd name="T78" fmla="*/ 38 w 158"/>
                <a:gd name="T79" fmla="*/ 84 h 239"/>
                <a:gd name="T80" fmla="*/ 37 w 158"/>
                <a:gd name="T81" fmla="*/ 88 h 239"/>
                <a:gd name="T82" fmla="*/ 35 w 158"/>
                <a:gd name="T83" fmla="*/ 95 h 239"/>
                <a:gd name="T84" fmla="*/ 34 w 158"/>
                <a:gd name="T85" fmla="*/ 102 h 239"/>
                <a:gd name="T86" fmla="*/ 35 w 158"/>
                <a:gd name="T87" fmla="*/ 105 h 239"/>
                <a:gd name="T88" fmla="*/ 36 w 158"/>
                <a:gd name="T89" fmla="*/ 108 h 239"/>
                <a:gd name="T90" fmla="*/ 35 w 158"/>
                <a:gd name="T91" fmla="*/ 113 h 239"/>
                <a:gd name="T92" fmla="*/ 31 w 158"/>
                <a:gd name="T93" fmla="*/ 117 h 239"/>
                <a:gd name="T94" fmla="*/ 28 w 158"/>
                <a:gd name="T95" fmla="*/ 119 h 23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58" h="239">
                  <a:moveTo>
                    <a:pt x="56" y="239"/>
                  </a:moveTo>
                  <a:lnTo>
                    <a:pt x="55" y="239"/>
                  </a:lnTo>
                  <a:lnTo>
                    <a:pt x="52" y="239"/>
                  </a:lnTo>
                  <a:lnTo>
                    <a:pt x="49" y="239"/>
                  </a:lnTo>
                  <a:lnTo>
                    <a:pt x="45" y="239"/>
                  </a:lnTo>
                  <a:lnTo>
                    <a:pt x="43" y="239"/>
                  </a:lnTo>
                  <a:lnTo>
                    <a:pt x="40" y="235"/>
                  </a:lnTo>
                  <a:lnTo>
                    <a:pt x="38" y="232"/>
                  </a:lnTo>
                  <a:lnTo>
                    <a:pt x="34" y="228"/>
                  </a:lnTo>
                  <a:lnTo>
                    <a:pt x="28" y="226"/>
                  </a:lnTo>
                  <a:lnTo>
                    <a:pt x="24" y="226"/>
                  </a:lnTo>
                  <a:lnTo>
                    <a:pt x="20" y="226"/>
                  </a:lnTo>
                  <a:lnTo>
                    <a:pt x="16" y="226"/>
                  </a:lnTo>
                  <a:lnTo>
                    <a:pt x="15" y="221"/>
                  </a:lnTo>
                  <a:lnTo>
                    <a:pt x="10" y="220"/>
                  </a:lnTo>
                  <a:lnTo>
                    <a:pt x="8" y="217"/>
                  </a:lnTo>
                  <a:lnTo>
                    <a:pt x="7" y="214"/>
                  </a:lnTo>
                  <a:lnTo>
                    <a:pt x="4" y="210"/>
                  </a:lnTo>
                  <a:lnTo>
                    <a:pt x="2" y="204"/>
                  </a:lnTo>
                  <a:lnTo>
                    <a:pt x="0" y="197"/>
                  </a:lnTo>
                  <a:lnTo>
                    <a:pt x="8" y="191"/>
                  </a:lnTo>
                  <a:lnTo>
                    <a:pt x="22" y="180"/>
                  </a:lnTo>
                  <a:lnTo>
                    <a:pt x="30" y="172"/>
                  </a:lnTo>
                  <a:lnTo>
                    <a:pt x="42" y="159"/>
                  </a:lnTo>
                  <a:lnTo>
                    <a:pt x="52" y="145"/>
                  </a:lnTo>
                  <a:lnTo>
                    <a:pt x="60" y="136"/>
                  </a:lnTo>
                  <a:lnTo>
                    <a:pt x="64" y="127"/>
                  </a:lnTo>
                  <a:lnTo>
                    <a:pt x="69" y="115"/>
                  </a:lnTo>
                  <a:lnTo>
                    <a:pt x="72" y="105"/>
                  </a:lnTo>
                  <a:lnTo>
                    <a:pt x="70" y="87"/>
                  </a:lnTo>
                  <a:lnTo>
                    <a:pt x="68" y="63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7" y="48"/>
                  </a:lnTo>
                  <a:lnTo>
                    <a:pt x="72" y="40"/>
                  </a:lnTo>
                  <a:lnTo>
                    <a:pt x="72" y="29"/>
                  </a:lnTo>
                  <a:lnTo>
                    <a:pt x="93" y="17"/>
                  </a:lnTo>
                  <a:lnTo>
                    <a:pt x="102" y="16"/>
                  </a:lnTo>
                  <a:lnTo>
                    <a:pt x="118" y="9"/>
                  </a:lnTo>
                  <a:lnTo>
                    <a:pt x="127" y="4"/>
                  </a:lnTo>
                  <a:lnTo>
                    <a:pt x="130" y="4"/>
                  </a:lnTo>
                  <a:lnTo>
                    <a:pt x="135" y="3"/>
                  </a:lnTo>
                  <a:lnTo>
                    <a:pt x="148" y="0"/>
                  </a:lnTo>
                  <a:lnTo>
                    <a:pt x="157" y="3"/>
                  </a:lnTo>
                  <a:lnTo>
                    <a:pt x="158" y="14"/>
                  </a:lnTo>
                  <a:lnTo>
                    <a:pt x="147" y="21"/>
                  </a:lnTo>
                  <a:lnTo>
                    <a:pt x="146" y="24"/>
                  </a:lnTo>
                  <a:lnTo>
                    <a:pt x="146" y="33"/>
                  </a:lnTo>
                  <a:lnTo>
                    <a:pt x="142" y="36"/>
                  </a:lnTo>
                  <a:lnTo>
                    <a:pt x="136" y="40"/>
                  </a:lnTo>
                  <a:lnTo>
                    <a:pt x="124" y="42"/>
                  </a:lnTo>
                  <a:lnTo>
                    <a:pt x="116" y="54"/>
                  </a:lnTo>
                  <a:lnTo>
                    <a:pt x="111" y="57"/>
                  </a:lnTo>
                  <a:lnTo>
                    <a:pt x="99" y="54"/>
                  </a:lnTo>
                  <a:lnTo>
                    <a:pt x="93" y="59"/>
                  </a:lnTo>
                  <a:lnTo>
                    <a:pt x="92" y="66"/>
                  </a:lnTo>
                  <a:lnTo>
                    <a:pt x="96" y="71"/>
                  </a:lnTo>
                  <a:lnTo>
                    <a:pt x="104" y="73"/>
                  </a:lnTo>
                  <a:lnTo>
                    <a:pt x="115" y="77"/>
                  </a:lnTo>
                  <a:lnTo>
                    <a:pt x="116" y="82"/>
                  </a:lnTo>
                  <a:lnTo>
                    <a:pt x="114" y="97"/>
                  </a:lnTo>
                  <a:lnTo>
                    <a:pt x="111" y="96"/>
                  </a:lnTo>
                  <a:lnTo>
                    <a:pt x="108" y="96"/>
                  </a:lnTo>
                  <a:lnTo>
                    <a:pt x="105" y="95"/>
                  </a:lnTo>
                  <a:lnTo>
                    <a:pt x="100" y="97"/>
                  </a:lnTo>
                  <a:lnTo>
                    <a:pt x="97" y="99"/>
                  </a:lnTo>
                  <a:lnTo>
                    <a:pt x="94" y="101"/>
                  </a:lnTo>
                  <a:lnTo>
                    <a:pt x="92" y="106"/>
                  </a:lnTo>
                  <a:lnTo>
                    <a:pt x="88" y="113"/>
                  </a:lnTo>
                  <a:lnTo>
                    <a:pt x="86" y="120"/>
                  </a:lnTo>
                  <a:lnTo>
                    <a:pt x="85" y="126"/>
                  </a:lnTo>
                  <a:lnTo>
                    <a:pt x="84" y="129"/>
                  </a:lnTo>
                  <a:lnTo>
                    <a:pt x="79" y="133"/>
                  </a:lnTo>
                  <a:lnTo>
                    <a:pt x="79" y="136"/>
                  </a:lnTo>
                  <a:lnTo>
                    <a:pt x="81" y="145"/>
                  </a:lnTo>
                  <a:lnTo>
                    <a:pt x="81" y="148"/>
                  </a:lnTo>
                  <a:lnTo>
                    <a:pt x="76" y="157"/>
                  </a:lnTo>
                  <a:lnTo>
                    <a:pt x="76" y="160"/>
                  </a:lnTo>
                  <a:lnTo>
                    <a:pt x="76" y="162"/>
                  </a:lnTo>
                  <a:lnTo>
                    <a:pt x="76" y="168"/>
                  </a:lnTo>
                  <a:lnTo>
                    <a:pt x="75" y="171"/>
                  </a:lnTo>
                  <a:lnTo>
                    <a:pt x="73" y="177"/>
                  </a:lnTo>
                  <a:lnTo>
                    <a:pt x="72" y="183"/>
                  </a:lnTo>
                  <a:lnTo>
                    <a:pt x="69" y="190"/>
                  </a:lnTo>
                  <a:lnTo>
                    <a:pt x="69" y="197"/>
                  </a:lnTo>
                  <a:lnTo>
                    <a:pt x="68" y="205"/>
                  </a:lnTo>
                  <a:lnTo>
                    <a:pt x="69" y="209"/>
                  </a:lnTo>
                  <a:lnTo>
                    <a:pt x="69" y="211"/>
                  </a:lnTo>
                  <a:lnTo>
                    <a:pt x="70" y="214"/>
                  </a:lnTo>
                  <a:lnTo>
                    <a:pt x="72" y="217"/>
                  </a:lnTo>
                  <a:lnTo>
                    <a:pt x="73" y="221"/>
                  </a:lnTo>
                  <a:lnTo>
                    <a:pt x="70" y="227"/>
                  </a:lnTo>
                  <a:lnTo>
                    <a:pt x="67" y="233"/>
                  </a:lnTo>
                  <a:lnTo>
                    <a:pt x="62" y="235"/>
                  </a:lnTo>
                  <a:lnTo>
                    <a:pt x="57" y="238"/>
                  </a:lnTo>
                  <a:lnTo>
                    <a:pt x="56" y="239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02" name="Freeform 409"/>
            <p:cNvSpPr>
              <a:spLocks/>
            </p:cNvSpPr>
            <p:nvPr/>
          </p:nvSpPr>
          <p:spPr bwMode="auto">
            <a:xfrm>
              <a:off x="6863180" y="3329835"/>
              <a:ext cx="422158" cy="427796"/>
            </a:xfrm>
            <a:custGeom>
              <a:avLst/>
              <a:gdLst>
                <a:gd name="T0" fmla="*/ 44 w 194"/>
                <a:gd name="T1" fmla="*/ 93 h 209"/>
                <a:gd name="T2" fmla="*/ 42 w 194"/>
                <a:gd name="T3" fmla="*/ 96 h 209"/>
                <a:gd name="T4" fmla="*/ 36 w 194"/>
                <a:gd name="T5" fmla="*/ 102 h 209"/>
                <a:gd name="T6" fmla="*/ 32 w 194"/>
                <a:gd name="T7" fmla="*/ 104 h 209"/>
                <a:gd name="T8" fmla="*/ 27 w 194"/>
                <a:gd name="T9" fmla="*/ 93 h 209"/>
                <a:gd name="T10" fmla="*/ 22 w 194"/>
                <a:gd name="T11" fmla="*/ 93 h 209"/>
                <a:gd name="T12" fmla="*/ 16 w 194"/>
                <a:gd name="T13" fmla="*/ 91 h 209"/>
                <a:gd name="T14" fmla="*/ 9 w 194"/>
                <a:gd name="T15" fmla="*/ 88 h 209"/>
                <a:gd name="T16" fmla="*/ 5 w 194"/>
                <a:gd name="T17" fmla="*/ 86 h 209"/>
                <a:gd name="T18" fmla="*/ 1 w 194"/>
                <a:gd name="T19" fmla="*/ 85 h 209"/>
                <a:gd name="T20" fmla="*/ 4 w 194"/>
                <a:gd name="T21" fmla="*/ 80 h 209"/>
                <a:gd name="T22" fmla="*/ 8 w 194"/>
                <a:gd name="T23" fmla="*/ 80 h 209"/>
                <a:gd name="T24" fmla="*/ 9 w 194"/>
                <a:gd name="T25" fmla="*/ 75 h 209"/>
                <a:gd name="T26" fmla="*/ 9 w 194"/>
                <a:gd name="T27" fmla="*/ 71 h 209"/>
                <a:gd name="T28" fmla="*/ 13 w 194"/>
                <a:gd name="T29" fmla="*/ 67 h 209"/>
                <a:gd name="T30" fmla="*/ 13 w 194"/>
                <a:gd name="T31" fmla="*/ 61 h 209"/>
                <a:gd name="T32" fmla="*/ 15 w 194"/>
                <a:gd name="T33" fmla="*/ 50 h 209"/>
                <a:gd name="T34" fmla="*/ 19 w 194"/>
                <a:gd name="T35" fmla="*/ 41 h 209"/>
                <a:gd name="T36" fmla="*/ 16 w 194"/>
                <a:gd name="T37" fmla="*/ 36 h 209"/>
                <a:gd name="T38" fmla="*/ 14 w 194"/>
                <a:gd name="T39" fmla="*/ 28 h 209"/>
                <a:gd name="T40" fmla="*/ 18 w 194"/>
                <a:gd name="T41" fmla="*/ 27 h 209"/>
                <a:gd name="T42" fmla="*/ 20 w 194"/>
                <a:gd name="T43" fmla="*/ 20 h 209"/>
                <a:gd name="T44" fmla="*/ 20 w 194"/>
                <a:gd name="T45" fmla="*/ 15 h 209"/>
                <a:gd name="T46" fmla="*/ 16 w 194"/>
                <a:gd name="T47" fmla="*/ 10 h 209"/>
                <a:gd name="T48" fmla="*/ 18 w 194"/>
                <a:gd name="T49" fmla="*/ 6 h 209"/>
                <a:gd name="T50" fmla="*/ 21 w 194"/>
                <a:gd name="T51" fmla="*/ 2 h 209"/>
                <a:gd name="T52" fmla="*/ 28 w 194"/>
                <a:gd name="T53" fmla="*/ 1 h 209"/>
                <a:gd name="T54" fmla="*/ 39 w 194"/>
                <a:gd name="T55" fmla="*/ 4 h 209"/>
                <a:gd name="T56" fmla="*/ 46 w 194"/>
                <a:gd name="T57" fmla="*/ 3 h 209"/>
                <a:gd name="T58" fmla="*/ 52 w 194"/>
                <a:gd name="T59" fmla="*/ 6 h 209"/>
                <a:gd name="T60" fmla="*/ 59 w 194"/>
                <a:gd name="T61" fmla="*/ 10 h 209"/>
                <a:gd name="T62" fmla="*/ 65 w 194"/>
                <a:gd name="T63" fmla="*/ 11 h 209"/>
                <a:gd name="T64" fmla="*/ 61 w 194"/>
                <a:gd name="T65" fmla="*/ 13 h 209"/>
                <a:gd name="T66" fmla="*/ 59 w 194"/>
                <a:gd name="T67" fmla="*/ 15 h 209"/>
                <a:gd name="T68" fmla="*/ 63 w 194"/>
                <a:gd name="T69" fmla="*/ 19 h 209"/>
                <a:gd name="T70" fmla="*/ 75 w 194"/>
                <a:gd name="T71" fmla="*/ 19 h 209"/>
                <a:gd name="T72" fmla="*/ 79 w 194"/>
                <a:gd name="T73" fmla="*/ 16 h 209"/>
                <a:gd name="T74" fmla="*/ 81 w 194"/>
                <a:gd name="T75" fmla="*/ 19 h 209"/>
                <a:gd name="T76" fmla="*/ 85 w 194"/>
                <a:gd name="T77" fmla="*/ 13 h 209"/>
                <a:gd name="T78" fmla="*/ 85 w 194"/>
                <a:gd name="T79" fmla="*/ 2 h 209"/>
                <a:gd name="T80" fmla="*/ 90 w 194"/>
                <a:gd name="T81" fmla="*/ 2 h 209"/>
                <a:gd name="T82" fmla="*/ 97 w 194"/>
                <a:gd name="T83" fmla="*/ 5 h 209"/>
                <a:gd name="T84" fmla="*/ 96 w 194"/>
                <a:gd name="T85" fmla="*/ 11 h 209"/>
                <a:gd name="T86" fmla="*/ 91 w 194"/>
                <a:gd name="T87" fmla="*/ 17 h 209"/>
                <a:gd name="T88" fmla="*/ 87 w 194"/>
                <a:gd name="T89" fmla="*/ 19 h 209"/>
                <a:gd name="T90" fmla="*/ 90 w 194"/>
                <a:gd name="T91" fmla="*/ 23 h 209"/>
                <a:gd name="T92" fmla="*/ 90 w 194"/>
                <a:gd name="T93" fmla="*/ 27 h 209"/>
                <a:gd name="T94" fmla="*/ 87 w 194"/>
                <a:gd name="T95" fmla="*/ 28 h 209"/>
                <a:gd name="T96" fmla="*/ 85 w 194"/>
                <a:gd name="T97" fmla="*/ 35 h 209"/>
                <a:gd name="T98" fmla="*/ 87 w 194"/>
                <a:gd name="T99" fmla="*/ 37 h 209"/>
                <a:gd name="T100" fmla="*/ 87 w 194"/>
                <a:gd name="T101" fmla="*/ 44 h 209"/>
                <a:gd name="T102" fmla="*/ 85 w 194"/>
                <a:gd name="T103" fmla="*/ 64 h 209"/>
                <a:gd name="T104" fmla="*/ 76 w 194"/>
                <a:gd name="T105" fmla="*/ 59 h 209"/>
                <a:gd name="T106" fmla="*/ 78 w 194"/>
                <a:gd name="T107" fmla="*/ 54 h 209"/>
                <a:gd name="T108" fmla="*/ 66 w 194"/>
                <a:gd name="T109" fmla="*/ 53 h 209"/>
                <a:gd name="T110" fmla="*/ 62 w 194"/>
                <a:gd name="T111" fmla="*/ 56 h 209"/>
                <a:gd name="T112" fmla="*/ 60 w 194"/>
                <a:gd name="T113" fmla="*/ 58 h 209"/>
                <a:gd name="T114" fmla="*/ 57 w 194"/>
                <a:gd name="T115" fmla="*/ 56 h 209"/>
                <a:gd name="T116" fmla="*/ 56 w 194"/>
                <a:gd name="T117" fmla="*/ 59 h 209"/>
                <a:gd name="T118" fmla="*/ 58 w 194"/>
                <a:gd name="T119" fmla="*/ 63 h 209"/>
                <a:gd name="T120" fmla="*/ 54 w 194"/>
                <a:gd name="T121" fmla="*/ 64 h 209"/>
                <a:gd name="T122" fmla="*/ 47 w 194"/>
                <a:gd name="T123" fmla="*/ 74 h 209"/>
                <a:gd name="T124" fmla="*/ 45 w 194"/>
                <a:gd name="T125" fmla="*/ 93 h 20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94" h="209">
                  <a:moveTo>
                    <a:pt x="90" y="185"/>
                  </a:moveTo>
                  <a:lnTo>
                    <a:pt x="88" y="185"/>
                  </a:lnTo>
                  <a:lnTo>
                    <a:pt x="85" y="188"/>
                  </a:lnTo>
                  <a:lnTo>
                    <a:pt x="83" y="191"/>
                  </a:lnTo>
                  <a:lnTo>
                    <a:pt x="80" y="201"/>
                  </a:lnTo>
                  <a:lnTo>
                    <a:pt x="72" y="203"/>
                  </a:lnTo>
                  <a:lnTo>
                    <a:pt x="71" y="209"/>
                  </a:lnTo>
                  <a:lnTo>
                    <a:pt x="64" y="207"/>
                  </a:lnTo>
                  <a:lnTo>
                    <a:pt x="60" y="195"/>
                  </a:lnTo>
                  <a:lnTo>
                    <a:pt x="53" y="185"/>
                  </a:lnTo>
                  <a:lnTo>
                    <a:pt x="49" y="183"/>
                  </a:lnTo>
                  <a:lnTo>
                    <a:pt x="43" y="185"/>
                  </a:lnTo>
                  <a:lnTo>
                    <a:pt x="36" y="187"/>
                  </a:lnTo>
                  <a:lnTo>
                    <a:pt x="32" y="182"/>
                  </a:lnTo>
                  <a:lnTo>
                    <a:pt x="24" y="181"/>
                  </a:lnTo>
                  <a:lnTo>
                    <a:pt x="18" y="175"/>
                  </a:lnTo>
                  <a:lnTo>
                    <a:pt x="14" y="175"/>
                  </a:lnTo>
                  <a:lnTo>
                    <a:pt x="10" y="171"/>
                  </a:lnTo>
                  <a:lnTo>
                    <a:pt x="6" y="170"/>
                  </a:lnTo>
                  <a:lnTo>
                    <a:pt x="1" y="170"/>
                  </a:lnTo>
                  <a:lnTo>
                    <a:pt x="0" y="163"/>
                  </a:lnTo>
                  <a:lnTo>
                    <a:pt x="7" y="160"/>
                  </a:lnTo>
                  <a:lnTo>
                    <a:pt x="10" y="159"/>
                  </a:lnTo>
                  <a:lnTo>
                    <a:pt x="16" y="159"/>
                  </a:lnTo>
                  <a:lnTo>
                    <a:pt x="18" y="155"/>
                  </a:lnTo>
                  <a:lnTo>
                    <a:pt x="17" y="149"/>
                  </a:lnTo>
                  <a:lnTo>
                    <a:pt x="17" y="147"/>
                  </a:lnTo>
                  <a:lnTo>
                    <a:pt x="18" y="142"/>
                  </a:lnTo>
                  <a:lnTo>
                    <a:pt x="20" y="140"/>
                  </a:lnTo>
                  <a:lnTo>
                    <a:pt x="26" y="133"/>
                  </a:lnTo>
                  <a:lnTo>
                    <a:pt x="26" y="128"/>
                  </a:lnTo>
                  <a:lnTo>
                    <a:pt x="26" y="121"/>
                  </a:lnTo>
                  <a:lnTo>
                    <a:pt x="25" y="115"/>
                  </a:lnTo>
                  <a:lnTo>
                    <a:pt x="30" y="99"/>
                  </a:lnTo>
                  <a:lnTo>
                    <a:pt x="34" y="89"/>
                  </a:lnTo>
                  <a:lnTo>
                    <a:pt x="38" y="82"/>
                  </a:lnTo>
                  <a:lnTo>
                    <a:pt x="36" y="76"/>
                  </a:lnTo>
                  <a:lnTo>
                    <a:pt x="31" y="72"/>
                  </a:lnTo>
                  <a:lnTo>
                    <a:pt x="29" y="62"/>
                  </a:lnTo>
                  <a:lnTo>
                    <a:pt x="28" y="55"/>
                  </a:lnTo>
                  <a:lnTo>
                    <a:pt x="29" y="51"/>
                  </a:lnTo>
                  <a:lnTo>
                    <a:pt x="36" y="54"/>
                  </a:lnTo>
                  <a:lnTo>
                    <a:pt x="40" y="49"/>
                  </a:lnTo>
                  <a:lnTo>
                    <a:pt x="40" y="40"/>
                  </a:lnTo>
                  <a:lnTo>
                    <a:pt x="36" y="37"/>
                  </a:lnTo>
                  <a:lnTo>
                    <a:pt x="40" y="30"/>
                  </a:lnTo>
                  <a:lnTo>
                    <a:pt x="35" y="22"/>
                  </a:lnTo>
                  <a:lnTo>
                    <a:pt x="31" y="19"/>
                  </a:lnTo>
                  <a:lnTo>
                    <a:pt x="29" y="12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2" y="4"/>
                  </a:lnTo>
                  <a:lnTo>
                    <a:pt x="50" y="0"/>
                  </a:lnTo>
                  <a:lnTo>
                    <a:pt x="56" y="2"/>
                  </a:lnTo>
                  <a:lnTo>
                    <a:pt x="72" y="9"/>
                  </a:lnTo>
                  <a:lnTo>
                    <a:pt x="77" y="8"/>
                  </a:lnTo>
                  <a:lnTo>
                    <a:pt x="83" y="8"/>
                  </a:lnTo>
                  <a:lnTo>
                    <a:pt x="91" y="6"/>
                  </a:lnTo>
                  <a:lnTo>
                    <a:pt x="96" y="6"/>
                  </a:lnTo>
                  <a:lnTo>
                    <a:pt x="104" y="12"/>
                  </a:lnTo>
                  <a:lnTo>
                    <a:pt x="113" y="18"/>
                  </a:lnTo>
                  <a:lnTo>
                    <a:pt x="118" y="19"/>
                  </a:lnTo>
                  <a:lnTo>
                    <a:pt x="127" y="19"/>
                  </a:lnTo>
                  <a:lnTo>
                    <a:pt x="130" y="21"/>
                  </a:lnTo>
                  <a:lnTo>
                    <a:pt x="127" y="24"/>
                  </a:lnTo>
                  <a:lnTo>
                    <a:pt x="121" y="25"/>
                  </a:lnTo>
                  <a:lnTo>
                    <a:pt x="120" y="26"/>
                  </a:lnTo>
                  <a:lnTo>
                    <a:pt x="118" y="30"/>
                  </a:lnTo>
                  <a:lnTo>
                    <a:pt x="120" y="34"/>
                  </a:lnTo>
                  <a:lnTo>
                    <a:pt x="125" y="37"/>
                  </a:lnTo>
                  <a:lnTo>
                    <a:pt x="138" y="38"/>
                  </a:lnTo>
                  <a:lnTo>
                    <a:pt x="149" y="38"/>
                  </a:lnTo>
                  <a:lnTo>
                    <a:pt x="152" y="30"/>
                  </a:lnTo>
                  <a:lnTo>
                    <a:pt x="157" y="32"/>
                  </a:lnTo>
                  <a:lnTo>
                    <a:pt x="160" y="36"/>
                  </a:lnTo>
                  <a:lnTo>
                    <a:pt x="162" y="38"/>
                  </a:lnTo>
                  <a:lnTo>
                    <a:pt x="166" y="32"/>
                  </a:lnTo>
                  <a:lnTo>
                    <a:pt x="169" y="25"/>
                  </a:lnTo>
                  <a:lnTo>
                    <a:pt x="168" y="14"/>
                  </a:lnTo>
                  <a:lnTo>
                    <a:pt x="169" y="3"/>
                  </a:lnTo>
                  <a:lnTo>
                    <a:pt x="175" y="2"/>
                  </a:lnTo>
                  <a:lnTo>
                    <a:pt x="179" y="3"/>
                  </a:lnTo>
                  <a:lnTo>
                    <a:pt x="191" y="9"/>
                  </a:lnTo>
                  <a:lnTo>
                    <a:pt x="194" y="9"/>
                  </a:lnTo>
                  <a:lnTo>
                    <a:pt x="194" y="10"/>
                  </a:lnTo>
                  <a:lnTo>
                    <a:pt x="192" y="22"/>
                  </a:lnTo>
                  <a:lnTo>
                    <a:pt x="185" y="26"/>
                  </a:lnTo>
                  <a:lnTo>
                    <a:pt x="181" y="33"/>
                  </a:lnTo>
                  <a:lnTo>
                    <a:pt x="175" y="34"/>
                  </a:lnTo>
                  <a:lnTo>
                    <a:pt x="174" y="37"/>
                  </a:lnTo>
                  <a:lnTo>
                    <a:pt x="175" y="42"/>
                  </a:lnTo>
                  <a:lnTo>
                    <a:pt x="179" y="45"/>
                  </a:lnTo>
                  <a:lnTo>
                    <a:pt x="181" y="49"/>
                  </a:lnTo>
                  <a:lnTo>
                    <a:pt x="179" y="54"/>
                  </a:lnTo>
                  <a:lnTo>
                    <a:pt x="175" y="55"/>
                  </a:lnTo>
                  <a:lnTo>
                    <a:pt x="173" y="56"/>
                  </a:lnTo>
                  <a:lnTo>
                    <a:pt x="172" y="63"/>
                  </a:lnTo>
                  <a:lnTo>
                    <a:pt x="169" y="69"/>
                  </a:lnTo>
                  <a:lnTo>
                    <a:pt x="172" y="74"/>
                  </a:lnTo>
                  <a:lnTo>
                    <a:pt x="174" y="73"/>
                  </a:lnTo>
                  <a:lnTo>
                    <a:pt x="176" y="76"/>
                  </a:lnTo>
                  <a:lnTo>
                    <a:pt x="174" y="88"/>
                  </a:lnTo>
                  <a:lnTo>
                    <a:pt x="174" y="121"/>
                  </a:lnTo>
                  <a:lnTo>
                    <a:pt x="170" y="127"/>
                  </a:lnTo>
                  <a:lnTo>
                    <a:pt x="164" y="127"/>
                  </a:lnTo>
                  <a:lnTo>
                    <a:pt x="151" y="118"/>
                  </a:lnTo>
                  <a:lnTo>
                    <a:pt x="154" y="115"/>
                  </a:lnTo>
                  <a:lnTo>
                    <a:pt x="156" y="107"/>
                  </a:lnTo>
                  <a:lnTo>
                    <a:pt x="154" y="105"/>
                  </a:lnTo>
                  <a:lnTo>
                    <a:pt x="131" y="105"/>
                  </a:lnTo>
                  <a:lnTo>
                    <a:pt x="125" y="109"/>
                  </a:lnTo>
                  <a:lnTo>
                    <a:pt x="124" y="111"/>
                  </a:lnTo>
                  <a:lnTo>
                    <a:pt x="125" y="116"/>
                  </a:lnTo>
                  <a:lnTo>
                    <a:pt x="120" y="115"/>
                  </a:lnTo>
                  <a:lnTo>
                    <a:pt x="119" y="113"/>
                  </a:lnTo>
                  <a:lnTo>
                    <a:pt x="114" y="112"/>
                  </a:lnTo>
                  <a:lnTo>
                    <a:pt x="112" y="115"/>
                  </a:lnTo>
                  <a:lnTo>
                    <a:pt x="112" y="118"/>
                  </a:lnTo>
                  <a:lnTo>
                    <a:pt x="114" y="123"/>
                  </a:lnTo>
                  <a:lnTo>
                    <a:pt x="115" y="125"/>
                  </a:lnTo>
                  <a:lnTo>
                    <a:pt x="113" y="128"/>
                  </a:lnTo>
                  <a:lnTo>
                    <a:pt x="108" y="128"/>
                  </a:lnTo>
                  <a:lnTo>
                    <a:pt x="103" y="129"/>
                  </a:lnTo>
                  <a:lnTo>
                    <a:pt x="94" y="148"/>
                  </a:lnTo>
                  <a:lnTo>
                    <a:pt x="90" y="169"/>
                  </a:lnTo>
                  <a:lnTo>
                    <a:pt x="90" y="185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03" name="Freeform 410"/>
            <p:cNvSpPr>
              <a:spLocks/>
            </p:cNvSpPr>
            <p:nvPr/>
          </p:nvSpPr>
          <p:spPr bwMode="auto">
            <a:xfrm>
              <a:off x="6658630" y="3272796"/>
              <a:ext cx="291593" cy="497059"/>
            </a:xfrm>
            <a:custGeom>
              <a:avLst/>
              <a:gdLst>
                <a:gd name="T0" fmla="*/ 6 w 134"/>
                <a:gd name="T1" fmla="*/ 116 h 243"/>
                <a:gd name="T2" fmla="*/ 2 w 134"/>
                <a:gd name="T3" fmla="*/ 112 h 243"/>
                <a:gd name="T4" fmla="*/ 2 w 134"/>
                <a:gd name="T5" fmla="*/ 104 h 243"/>
                <a:gd name="T6" fmla="*/ 6 w 134"/>
                <a:gd name="T7" fmla="*/ 96 h 243"/>
                <a:gd name="T8" fmla="*/ 6 w 134"/>
                <a:gd name="T9" fmla="*/ 93 h 243"/>
                <a:gd name="T10" fmla="*/ 6 w 134"/>
                <a:gd name="T11" fmla="*/ 90 h 243"/>
                <a:gd name="T12" fmla="*/ 8 w 134"/>
                <a:gd name="T13" fmla="*/ 84 h 243"/>
                <a:gd name="T14" fmla="*/ 12 w 134"/>
                <a:gd name="T15" fmla="*/ 83 h 243"/>
                <a:gd name="T16" fmla="*/ 19 w 134"/>
                <a:gd name="T17" fmla="*/ 77 h 243"/>
                <a:gd name="T18" fmla="*/ 18 w 134"/>
                <a:gd name="T19" fmla="*/ 72 h 243"/>
                <a:gd name="T20" fmla="*/ 14 w 134"/>
                <a:gd name="T21" fmla="*/ 68 h 243"/>
                <a:gd name="T22" fmla="*/ 11 w 134"/>
                <a:gd name="T23" fmla="*/ 67 h 243"/>
                <a:gd name="T24" fmla="*/ 9 w 134"/>
                <a:gd name="T25" fmla="*/ 64 h 243"/>
                <a:gd name="T26" fmla="*/ 11 w 134"/>
                <a:gd name="T27" fmla="*/ 58 h 243"/>
                <a:gd name="T28" fmla="*/ 8 w 134"/>
                <a:gd name="T29" fmla="*/ 53 h 243"/>
                <a:gd name="T30" fmla="*/ 0 w 134"/>
                <a:gd name="T31" fmla="*/ 49 h 243"/>
                <a:gd name="T32" fmla="*/ 6 w 134"/>
                <a:gd name="T33" fmla="*/ 40 h 243"/>
                <a:gd name="T34" fmla="*/ 18 w 134"/>
                <a:gd name="T35" fmla="*/ 21 h 243"/>
                <a:gd name="T36" fmla="*/ 22 w 134"/>
                <a:gd name="T37" fmla="*/ 1 h 243"/>
                <a:gd name="T38" fmla="*/ 32 w 134"/>
                <a:gd name="T39" fmla="*/ 0 h 243"/>
                <a:gd name="T40" fmla="*/ 36 w 134"/>
                <a:gd name="T41" fmla="*/ 5 h 243"/>
                <a:gd name="T42" fmla="*/ 44 w 134"/>
                <a:gd name="T43" fmla="*/ 8 h 243"/>
                <a:gd name="T44" fmla="*/ 50 w 134"/>
                <a:gd name="T45" fmla="*/ 10 h 243"/>
                <a:gd name="T46" fmla="*/ 53 w 134"/>
                <a:gd name="T47" fmla="*/ 13 h 243"/>
                <a:gd name="T48" fmla="*/ 57 w 134"/>
                <a:gd name="T49" fmla="*/ 19 h 243"/>
                <a:gd name="T50" fmla="*/ 62 w 134"/>
                <a:gd name="T51" fmla="*/ 21 h 243"/>
                <a:gd name="T52" fmla="*/ 65 w 134"/>
                <a:gd name="T53" fmla="*/ 26 h 243"/>
                <a:gd name="T54" fmla="*/ 65 w 134"/>
                <a:gd name="T55" fmla="*/ 33 h 243"/>
                <a:gd name="T56" fmla="*/ 67 w 134"/>
                <a:gd name="T57" fmla="*/ 39 h 243"/>
                <a:gd name="T58" fmla="*/ 62 w 134"/>
                <a:gd name="T59" fmla="*/ 40 h 243"/>
                <a:gd name="T60" fmla="*/ 62 w 134"/>
                <a:gd name="T61" fmla="*/ 46 h 243"/>
                <a:gd name="T62" fmla="*/ 65 w 134"/>
                <a:gd name="T63" fmla="*/ 53 h 243"/>
                <a:gd name="T64" fmla="*/ 64 w 134"/>
                <a:gd name="T65" fmla="*/ 59 h 243"/>
                <a:gd name="T66" fmla="*/ 60 w 134"/>
                <a:gd name="T67" fmla="*/ 72 h 243"/>
                <a:gd name="T68" fmla="*/ 60 w 134"/>
                <a:gd name="T69" fmla="*/ 79 h 243"/>
                <a:gd name="T70" fmla="*/ 57 w 134"/>
                <a:gd name="T71" fmla="*/ 85 h 243"/>
                <a:gd name="T72" fmla="*/ 56 w 134"/>
                <a:gd name="T73" fmla="*/ 88 h 243"/>
                <a:gd name="T74" fmla="*/ 56 w 134"/>
                <a:gd name="T75" fmla="*/ 92 h 243"/>
                <a:gd name="T76" fmla="*/ 52 w 134"/>
                <a:gd name="T77" fmla="*/ 94 h 243"/>
                <a:gd name="T78" fmla="*/ 47 w 134"/>
                <a:gd name="T79" fmla="*/ 96 h 243"/>
                <a:gd name="T80" fmla="*/ 47 w 134"/>
                <a:gd name="T81" fmla="*/ 104 h 243"/>
                <a:gd name="T82" fmla="*/ 47 w 134"/>
                <a:gd name="T83" fmla="*/ 112 h 243"/>
                <a:gd name="T84" fmla="*/ 47 w 134"/>
                <a:gd name="T85" fmla="*/ 118 h 243"/>
                <a:gd name="T86" fmla="*/ 39 w 134"/>
                <a:gd name="T87" fmla="*/ 121 h 243"/>
                <a:gd name="T88" fmla="*/ 33 w 134"/>
                <a:gd name="T89" fmla="*/ 122 h 243"/>
                <a:gd name="T90" fmla="*/ 29 w 134"/>
                <a:gd name="T91" fmla="*/ 119 h 243"/>
                <a:gd name="T92" fmla="*/ 28 w 134"/>
                <a:gd name="T93" fmla="*/ 115 h 243"/>
                <a:gd name="T94" fmla="*/ 21 w 134"/>
                <a:gd name="T95" fmla="*/ 116 h 243"/>
                <a:gd name="T96" fmla="*/ 12 w 134"/>
                <a:gd name="T97" fmla="*/ 115 h 243"/>
                <a:gd name="T98" fmla="*/ 8 w 134"/>
                <a:gd name="T99" fmla="*/ 116 h 24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34" h="243">
                  <a:moveTo>
                    <a:pt x="12" y="233"/>
                  </a:moveTo>
                  <a:lnTo>
                    <a:pt x="12" y="231"/>
                  </a:lnTo>
                  <a:lnTo>
                    <a:pt x="9" y="227"/>
                  </a:lnTo>
                  <a:lnTo>
                    <a:pt x="4" y="223"/>
                  </a:lnTo>
                  <a:lnTo>
                    <a:pt x="3" y="219"/>
                  </a:lnTo>
                  <a:lnTo>
                    <a:pt x="4" y="207"/>
                  </a:lnTo>
                  <a:lnTo>
                    <a:pt x="6" y="202"/>
                  </a:lnTo>
                  <a:lnTo>
                    <a:pt x="11" y="192"/>
                  </a:lnTo>
                  <a:lnTo>
                    <a:pt x="12" y="188"/>
                  </a:lnTo>
                  <a:lnTo>
                    <a:pt x="11" y="186"/>
                  </a:lnTo>
                  <a:lnTo>
                    <a:pt x="10" y="182"/>
                  </a:lnTo>
                  <a:lnTo>
                    <a:pt x="12" y="180"/>
                  </a:lnTo>
                  <a:lnTo>
                    <a:pt x="14" y="170"/>
                  </a:lnTo>
                  <a:lnTo>
                    <a:pt x="15" y="168"/>
                  </a:lnTo>
                  <a:lnTo>
                    <a:pt x="20" y="168"/>
                  </a:lnTo>
                  <a:lnTo>
                    <a:pt x="24" y="165"/>
                  </a:lnTo>
                  <a:lnTo>
                    <a:pt x="30" y="163"/>
                  </a:lnTo>
                  <a:lnTo>
                    <a:pt x="38" y="153"/>
                  </a:lnTo>
                  <a:lnTo>
                    <a:pt x="39" y="148"/>
                  </a:lnTo>
                  <a:lnTo>
                    <a:pt x="35" y="144"/>
                  </a:lnTo>
                  <a:lnTo>
                    <a:pt x="32" y="135"/>
                  </a:lnTo>
                  <a:lnTo>
                    <a:pt x="27" y="135"/>
                  </a:lnTo>
                  <a:lnTo>
                    <a:pt x="24" y="134"/>
                  </a:lnTo>
                  <a:lnTo>
                    <a:pt x="22" y="133"/>
                  </a:lnTo>
                  <a:lnTo>
                    <a:pt x="20" y="130"/>
                  </a:lnTo>
                  <a:lnTo>
                    <a:pt x="18" y="127"/>
                  </a:lnTo>
                  <a:lnTo>
                    <a:pt x="20" y="122"/>
                  </a:lnTo>
                  <a:lnTo>
                    <a:pt x="22" y="115"/>
                  </a:lnTo>
                  <a:lnTo>
                    <a:pt x="21" y="110"/>
                  </a:lnTo>
                  <a:lnTo>
                    <a:pt x="16" y="106"/>
                  </a:lnTo>
                  <a:lnTo>
                    <a:pt x="9" y="104"/>
                  </a:lnTo>
                  <a:lnTo>
                    <a:pt x="0" y="97"/>
                  </a:lnTo>
                  <a:lnTo>
                    <a:pt x="3" y="90"/>
                  </a:lnTo>
                  <a:lnTo>
                    <a:pt x="11" y="80"/>
                  </a:lnTo>
                  <a:lnTo>
                    <a:pt x="29" y="59"/>
                  </a:lnTo>
                  <a:lnTo>
                    <a:pt x="36" y="42"/>
                  </a:lnTo>
                  <a:lnTo>
                    <a:pt x="42" y="18"/>
                  </a:lnTo>
                  <a:lnTo>
                    <a:pt x="44" y="1"/>
                  </a:lnTo>
                  <a:lnTo>
                    <a:pt x="53" y="5"/>
                  </a:lnTo>
                  <a:lnTo>
                    <a:pt x="63" y="0"/>
                  </a:lnTo>
                  <a:lnTo>
                    <a:pt x="69" y="3"/>
                  </a:lnTo>
                  <a:lnTo>
                    <a:pt x="71" y="9"/>
                  </a:lnTo>
                  <a:lnTo>
                    <a:pt x="83" y="14"/>
                  </a:lnTo>
                  <a:lnTo>
                    <a:pt x="88" y="15"/>
                  </a:lnTo>
                  <a:lnTo>
                    <a:pt x="96" y="21"/>
                  </a:lnTo>
                  <a:lnTo>
                    <a:pt x="99" y="19"/>
                  </a:lnTo>
                  <a:lnTo>
                    <a:pt x="104" y="21"/>
                  </a:lnTo>
                  <a:lnTo>
                    <a:pt x="106" y="26"/>
                  </a:lnTo>
                  <a:lnTo>
                    <a:pt x="112" y="31"/>
                  </a:lnTo>
                  <a:lnTo>
                    <a:pt x="113" y="38"/>
                  </a:lnTo>
                  <a:lnTo>
                    <a:pt x="117" y="41"/>
                  </a:lnTo>
                  <a:lnTo>
                    <a:pt x="123" y="41"/>
                  </a:lnTo>
                  <a:lnTo>
                    <a:pt x="125" y="48"/>
                  </a:lnTo>
                  <a:lnTo>
                    <a:pt x="129" y="51"/>
                  </a:lnTo>
                  <a:lnTo>
                    <a:pt x="134" y="59"/>
                  </a:lnTo>
                  <a:lnTo>
                    <a:pt x="130" y="66"/>
                  </a:lnTo>
                  <a:lnTo>
                    <a:pt x="134" y="69"/>
                  </a:lnTo>
                  <a:lnTo>
                    <a:pt x="134" y="78"/>
                  </a:lnTo>
                  <a:lnTo>
                    <a:pt x="130" y="83"/>
                  </a:lnTo>
                  <a:lnTo>
                    <a:pt x="123" y="80"/>
                  </a:lnTo>
                  <a:lnTo>
                    <a:pt x="122" y="84"/>
                  </a:lnTo>
                  <a:lnTo>
                    <a:pt x="123" y="91"/>
                  </a:lnTo>
                  <a:lnTo>
                    <a:pt x="125" y="101"/>
                  </a:lnTo>
                  <a:lnTo>
                    <a:pt x="130" y="105"/>
                  </a:lnTo>
                  <a:lnTo>
                    <a:pt x="132" y="111"/>
                  </a:lnTo>
                  <a:lnTo>
                    <a:pt x="128" y="118"/>
                  </a:lnTo>
                  <a:lnTo>
                    <a:pt x="124" y="128"/>
                  </a:lnTo>
                  <a:lnTo>
                    <a:pt x="119" y="144"/>
                  </a:lnTo>
                  <a:lnTo>
                    <a:pt x="120" y="150"/>
                  </a:lnTo>
                  <a:lnTo>
                    <a:pt x="120" y="157"/>
                  </a:lnTo>
                  <a:lnTo>
                    <a:pt x="120" y="162"/>
                  </a:lnTo>
                  <a:lnTo>
                    <a:pt x="114" y="169"/>
                  </a:lnTo>
                  <a:lnTo>
                    <a:pt x="112" y="171"/>
                  </a:lnTo>
                  <a:lnTo>
                    <a:pt x="111" y="176"/>
                  </a:lnTo>
                  <a:lnTo>
                    <a:pt x="111" y="178"/>
                  </a:lnTo>
                  <a:lnTo>
                    <a:pt x="112" y="184"/>
                  </a:lnTo>
                  <a:lnTo>
                    <a:pt x="110" y="188"/>
                  </a:lnTo>
                  <a:lnTo>
                    <a:pt x="104" y="188"/>
                  </a:lnTo>
                  <a:lnTo>
                    <a:pt x="101" y="189"/>
                  </a:lnTo>
                  <a:lnTo>
                    <a:pt x="94" y="192"/>
                  </a:lnTo>
                  <a:lnTo>
                    <a:pt x="95" y="199"/>
                  </a:lnTo>
                  <a:lnTo>
                    <a:pt x="93" y="208"/>
                  </a:lnTo>
                  <a:lnTo>
                    <a:pt x="92" y="214"/>
                  </a:lnTo>
                  <a:lnTo>
                    <a:pt x="93" y="223"/>
                  </a:lnTo>
                  <a:lnTo>
                    <a:pt x="95" y="229"/>
                  </a:lnTo>
                  <a:lnTo>
                    <a:pt x="94" y="235"/>
                  </a:lnTo>
                  <a:lnTo>
                    <a:pt x="87" y="243"/>
                  </a:lnTo>
                  <a:lnTo>
                    <a:pt x="78" y="241"/>
                  </a:lnTo>
                  <a:lnTo>
                    <a:pt x="72" y="238"/>
                  </a:lnTo>
                  <a:lnTo>
                    <a:pt x="65" y="243"/>
                  </a:lnTo>
                  <a:lnTo>
                    <a:pt x="62" y="242"/>
                  </a:lnTo>
                  <a:lnTo>
                    <a:pt x="58" y="237"/>
                  </a:lnTo>
                  <a:lnTo>
                    <a:pt x="57" y="232"/>
                  </a:lnTo>
                  <a:lnTo>
                    <a:pt x="56" y="230"/>
                  </a:lnTo>
                  <a:lnTo>
                    <a:pt x="52" y="230"/>
                  </a:lnTo>
                  <a:lnTo>
                    <a:pt x="42" y="232"/>
                  </a:lnTo>
                  <a:lnTo>
                    <a:pt x="33" y="230"/>
                  </a:lnTo>
                  <a:lnTo>
                    <a:pt x="23" y="229"/>
                  </a:lnTo>
                  <a:lnTo>
                    <a:pt x="21" y="231"/>
                  </a:lnTo>
                  <a:lnTo>
                    <a:pt x="16" y="232"/>
                  </a:lnTo>
                  <a:lnTo>
                    <a:pt x="12" y="233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04" name="Freeform 411"/>
            <p:cNvSpPr>
              <a:spLocks/>
            </p:cNvSpPr>
            <p:nvPr/>
          </p:nvSpPr>
          <p:spPr bwMode="auto">
            <a:xfrm>
              <a:off x="6528065" y="3676147"/>
              <a:ext cx="565778" cy="440020"/>
            </a:xfrm>
            <a:custGeom>
              <a:avLst/>
              <a:gdLst>
                <a:gd name="T0" fmla="*/ 112 w 261"/>
                <a:gd name="T1" fmla="*/ 101 h 215"/>
                <a:gd name="T2" fmla="*/ 106 w 261"/>
                <a:gd name="T3" fmla="*/ 99 h 215"/>
                <a:gd name="T4" fmla="*/ 103 w 261"/>
                <a:gd name="T5" fmla="*/ 97 h 215"/>
                <a:gd name="T6" fmla="*/ 99 w 261"/>
                <a:gd name="T7" fmla="*/ 95 h 215"/>
                <a:gd name="T8" fmla="*/ 100 w 261"/>
                <a:gd name="T9" fmla="*/ 100 h 215"/>
                <a:gd name="T10" fmla="*/ 97 w 261"/>
                <a:gd name="T11" fmla="*/ 104 h 215"/>
                <a:gd name="T12" fmla="*/ 93 w 261"/>
                <a:gd name="T13" fmla="*/ 108 h 215"/>
                <a:gd name="T14" fmla="*/ 89 w 261"/>
                <a:gd name="T15" fmla="*/ 106 h 215"/>
                <a:gd name="T16" fmla="*/ 85 w 261"/>
                <a:gd name="T17" fmla="*/ 100 h 215"/>
                <a:gd name="T18" fmla="*/ 79 w 261"/>
                <a:gd name="T19" fmla="*/ 95 h 215"/>
                <a:gd name="T20" fmla="*/ 76 w 261"/>
                <a:gd name="T21" fmla="*/ 91 h 215"/>
                <a:gd name="T22" fmla="*/ 66 w 261"/>
                <a:gd name="T23" fmla="*/ 77 h 215"/>
                <a:gd name="T24" fmla="*/ 59 w 261"/>
                <a:gd name="T25" fmla="*/ 73 h 215"/>
                <a:gd name="T26" fmla="*/ 52 w 261"/>
                <a:gd name="T27" fmla="*/ 73 h 215"/>
                <a:gd name="T28" fmla="*/ 47 w 261"/>
                <a:gd name="T29" fmla="*/ 79 h 215"/>
                <a:gd name="T30" fmla="*/ 40 w 261"/>
                <a:gd name="T31" fmla="*/ 80 h 215"/>
                <a:gd name="T32" fmla="*/ 38 w 261"/>
                <a:gd name="T33" fmla="*/ 83 h 215"/>
                <a:gd name="T34" fmla="*/ 29 w 261"/>
                <a:gd name="T35" fmla="*/ 88 h 215"/>
                <a:gd name="T36" fmla="*/ 25 w 261"/>
                <a:gd name="T37" fmla="*/ 93 h 215"/>
                <a:gd name="T38" fmla="*/ 14 w 261"/>
                <a:gd name="T39" fmla="*/ 95 h 215"/>
                <a:gd name="T40" fmla="*/ 6 w 261"/>
                <a:gd name="T41" fmla="*/ 97 h 215"/>
                <a:gd name="T42" fmla="*/ 3 w 261"/>
                <a:gd name="T43" fmla="*/ 91 h 215"/>
                <a:gd name="T44" fmla="*/ 3 w 261"/>
                <a:gd name="T45" fmla="*/ 82 h 215"/>
                <a:gd name="T46" fmla="*/ 0 w 261"/>
                <a:gd name="T47" fmla="*/ 70 h 215"/>
                <a:gd name="T48" fmla="*/ 5 w 261"/>
                <a:gd name="T49" fmla="*/ 58 h 215"/>
                <a:gd name="T50" fmla="*/ 5 w 261"/>
                <a:gd name="T51" fmla="*/ 54 h 215"/>
                <a:gd name="T52" fmla="*/ 4 w 261"/>
                <a:gd name="T53" fmla="*/ 51 h 215"/>
                <a:gd name="T54" fmla="*/ 6 w 261"/>
                <a:gd name="T55" fmla="*/ 49 h 215"/>
                <a:gd name="T56" fmla="*/ 14 w 261"/>
                <a:gd name="T57" fmla="*/ 48 h 215"/>
                <a:gd name="T58" fmla="*/ 16 w 261"/>
                <a:gd name="T59" fmla="*/ 46 h 215"/>
                <a:gd name="T60" fmla="*/ 22 w 261"/>
                <a:gd name="T61" fmla="*/ 46 h 215"/>
                <a:gd name="T62" fmla="*/ 26 w 261"/>
                <a:gd name="T63" fmla="*/ 43 h 215"/>
                <a:gd name="T64" fmla="*/ 26 w 261"/>
                <a:gd name="T65" fmla="*/ 32 h 215"/>
                <a:gd name="T66" fmla="*/ 29 w 261"/>
                <a:gd name="T67" fmla="*/ 28 h 215"/>
                <a:gd name="T68" fmla="*/ 36 w 261"/>
                <a:gd name="T69" fmla="*/ 17 h 215"/>
                <a:gd name="T70" fmla="*/ 40 w 261"/>
                <a:gd name="T71" fmla="*/ 16 h 215"/>
                <a:gd name="T72" fmla="*/ 46 w 261"/>
                <a:gd name="T73" fmla="*/ 16 h 215"/>
                <a:gd name="T74" fmla="*/ 56 w 261"/>
                <a:gd name="T75" fmla="*/ 16 h 215"/>
                <a:gd name="T76" fmla="*/ 58 w 261"/>
                <a:gd name="T77" fmla="*/ 17 h 215"/>
                <a:gd name="T78" fmla="*/ 61 w 261"/>
                <a:gd name="T79" fmla="*/ 22 h 215"/>
                <a:gd name="T80" fmla="*/ 66 w 261"/>
                <a:gd name="T81" fmla="*/ 20 h 215"/>
                <a:gd name="T82" fmla="*/ 73 w 261"/>
                <a:gd name="T83" fmla="*/ 22 h 215"/>
                <a:gd name="T84" fmla="*/ 77 w 261"/>
                <a:gd name="T85" fmla="*/ 15 h 215"/>
                <a:gd name="T86" fmla="*/ 76 w 261"/>
                <a:gd name="T87" fmla="*/ 8 h 215"/>
                <a:gd name="T88" fmla="*/ 77 w 261"/>
                <a:gd name="T89" fmla="*/ 0 h 215"/>
                <a:gd name="T90" fmla="*/ 82 w 261"/>
                <a:gd name="T91" fmla="*/ 1 h 215"/>
                <a:gd name="T92" fmla="*/ 86 w 261"/>
                <a:gd name="T93" fmla="*/ 3 h 215"/>
                <a:gd name="T94" fmla="*/ 93 w 261"/>
                <a:gd name="T95" fmla="*/ 6 h 215"/>
                <a:gd name="T96" fmla="*/ 98 w 261"/>
                <a:gd name="T97" fmla="*/ 8 h 215"/>
                <a:gd name="T98" fmla="*/ 103 w 261"/>
                <a:gd name="T99" fmla="*/ 8 h 215"/>
                <a:gd name="T100" fmla="*/ 109 w 261"/>
                <a:gd name="T101" fmla="*/ 19 h 215"/>
                <a:gd name="T102" fmla="*/ 113 w 261"/>
                <a:gd name="T103" fmla="*/ 17 h 215"/>
                <a:gd name="T104" fmla="*/ 118 w 261"/>
                <a:gd name="T105" fmla="*/ 11 h 215"/>
                <a:gd name="T106" fmla="*/ 121 w 261"/>
                <a:gd name="T107" fmla="*/ 8 h 215"/>
                <a:gd name="T108" fmla="*/ 122 w 261"/>
                <a:gd name="T109" fmla="*/ 9 h 215"/>
                <a:gd name="T110" fmla="*/ 129 w 261"/>
                <a:gd name="T111" fmla="*/ 37 h 215"/>
                <a:gd name="T112" fmla="*/ 129 w 261"/>
                <a:gd name="T113" fmla="*/ 67 h 215"/>
                <a:gd name="T114" fmla="*/ 124 w 261"/>
                <a:gd name="T115" fmla="*/ 93 h 215"/>
                <a:gd name="T116" fmla="*/ 119 w 261"/>
                <a:gd name="T117" fmla="*/ 94 h 215"/>
                <a:gd name="T118" fmla="*/ 117 w 261"/>
                <a:gd name="T119" fmla="*/ 97 h 215"/>
                <a:gd name="T120" fmla="*/ 114 w 261"/>
                <a:gd name="T121" fmla="*/ 99 h 215"/>
                <a:gd name="T122" fmla="*/ 113 w 261"/>
                <a:gd name="T123" fmla="*/ 103 h 21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261" h="215">
                  <a:moveTo>
                    <a:pt x="227" y="205"/>
                  </a:moveTo>
                  <a:lnTo>
                    <a:pt x="225" y="202"/>
                  </a:lnTo>
                  <a:lnTo>
                    <a:pt x="216" y="201"/>
                  </a:lnTo>
                  <a:lnTo>
                    <a:pt x="213" y="197"/>
                  </a:lnTo>
                  <a:lnTo>
                    <a:pt x="210" y="195"/>
                  </a:lnTo>
                  <a:lnTo>
                    <a:pt x="206" y="193"/>
                  </a:lnTo>
                  <a:lnTo>
                    <a:pt x="202" y="190"/>
                  </a:lnTo>
                  <a:lnTo>
                    <a:pt x="198" y="190"/>
                  </a:lnTo>
                  <a:lnTo>
                    <a:pt x="200" y="196"/>
                  </a:lnTo>
                  <a:lnTo>
                    <a:pt x="201" y="200"/>
                  </a:lnTo>
                  <a:lnTo>
                    <a:pt x="198" y="203"/>
                  </a:lnTo>
                  <a:lnTo>
                    <a:pt x="195" y="207"/>
                  </a:lnTo>
                  <a:lnTo>
                    <a:pt x="191" y="213"/>
                  </a:lnTo>
                  <a:lnTo>
                    <a:pt x="186" y="215"/>
                  </a:lnTo>
                  <a:lnTo>
                    <a:pt x="183" y="213"/>
                  </a:lnTo>
                  <a:lnTo>
                    <a:pt x="179" y="212"/>
                  </a:lnTo>
                  <a:lnTo>
                    <a:pt x="176" y="208"/>
                  </a:lnTo>
                  <a:lnTo>
                    <a:pt x="170" y="200"/>
                  </a:lnTo>
                  <a:lnTo>
                    <a:pt x="164" y="195"/>
                  </a:lnTo>
                  <a:lnTo>
                    <a:pt x="159" y="190"/>
                  </a:lnTo>
                  <a:lnTo>
                    <a:pt x="154" y="184"/>
                  </a:lnTo>
                  <a:lnTo>
                    <a:pt x="152" y="181"/>
                  </a:lnTo>
                  <a:lnTo>
                    <a:pt x="147" y="167"/>
                  </a:lnTo>
                  <a:lnTo>
                    <a:pt x="132" y="153"/>
                  </a:lnTo>
                  <a:lnTo>
                    <a:pt x="125" y="147"/>
                  </a:lnTo>
                  <a:lnTo>
                    <a:pt x="118" y="145"/>
                  </a:lnTo>
                  <a:lnTo>
                    <a:pt x="111" y="144"/>
                  </a:lnTo>
                  <a:lnTo>
                    <a:pt x="104" y="146"/>
                  </a:lnTo>
                  <a:lnTo>
                    <a:pt x="99" y="149"/>
                  </a:lnTo>
                  <a:lnTo>
                    <a:pt x="94" y="158"/>
                  </a:lnTo>
                  <a:lnTo>
                    <a:pt x="89" y="159"/>
                  </a:lnTo>
                  <a:lnTo>
                    <a:pt x="81" y="159"/>
                  </a:lnTo>
                  <a:lnTo>
                    <a:pt x="78" y="161"/>
                  </a:lnTo>
                  <a:lnTo>
                    <a:pt x="76" y="166"/>
                  </a:lnTo>
                  <a:lnTo>
                    <a:pt x="70" y="171"/>
                  </a:lnTo>
                  <a:lnTo>
                    <a:pt x="58" y="176"/>
                  </a:lnTo>
                  <a:lnTo>
                    <a:pt x="57" y="178"/>
                  </a:lnTo>
                  <a:lnTo>
                    <a:pt x="50" y="185"/>
                  </a:lnTo>
                  <a:lnTo>
                    <a:pt x="44" y="188"/>
                  </a:lnTo>
                  <a:lnTo>
                    <a:pt x="29" y="189"/>
                  </a:lnTo>
                  <a:lnTo>
                    <a:pt x="21" y="190"/>
                  </a:lnTo>
                  <a:lnTo>
                    <a:pt x="12" y="193"/>
                  </a:lnTo>
                  <a:lnTo>
                    <a:pt x="4" y="189"/>
                  </a:lnTo>
                  <a:lnTo>
                    <a:pt x="6" y="182"/>
                  </a:lnTo>
                  <a:lnTo>
                    <a:pt x="6" y="173"/>
                  </a:lnTo>
                  <a:lnTo>
                    <a:pt x="6" y="163"/>
                  </a:lnTo>
                  <a:lnTo>
                    <a:pt x="8" y="146"/>
                  </a:lnTo>
                  <a:lnTo>
                    <a:pt x="0" y="139"/>
                  </a:lnTo>
                  <a:lnTo>
                    <a:pt x="2" y="133"/>
                  </a:lnTo>
                  <a:lnTo>
                    <a:pt x="10" y="116"/>
                  </a:lnTo>
                  <a:lnTo>
                    <a:pt x="11" y="111"/>
                  </a:lnTo>
                  <a:lnTo>
                    <a:pt x="11" y="108"/>
                  </a:lnTo>
                  <a:lnTo>
                    <a:pt x="9" y="103"/>
                  </a:lnTo>
                  <a:lnTo>
                    <a:pt x="8" y="102"/>
                  </a:lnTo>
                  <a:lnTo>
                    <a:pt x="9" y="99"/>
                  </a:lnTo>
                  <a:lnTo>
                    <a:pt x="12" y="97"/>
                  </a:lnTo>
                  <a:lnTo>
                    <a:pt x="23" y="96"/>
                  </a:lnTo>
                  <a:lnTo>
                    <a:pt x="28" y="96"/>
                  </a:lnTo>
                  <a:lnTo>
                    <a:pt x="32" y="97"/>
                  </a:lnTo>
                  <a:lnTo>
                    <a:pt x="33" y="91"/>
                  </a:lnTo>
                  <a:lnTo>
                    <a:pt x="35" y="88"/>
                  </a:lnTo>
                  <a:lnTo>
                    <a:pt x="44" y="91"/>
                  </a:lnTo>
                  <a:lnTo>
                    <a:pt x="52" y="90"/>
                  </a:lnTo>
                  <a:lnTo>
                    <a:pt x="53" y="86"/>
                  </a:lnTo>
                  <a:lnTo>
                    <a:pt x="50" y="69"/>
                  </a:lnTo>
                  <a:lnTo>
                    <a:pt x="52" y="64"/>
                  </a:lnTo>
                  <a:lnTo>
                    <a:pt x="57" y="62"/>
                  </a:lnTo>
                  <a:lnTo>
                    <a:pt x="59" y="56"/>
                  </a:lnTo>
                  <a:lnTo>
                    <a:pt x="62" y="51"/>
                  </a:lnTo>
                  <a:lnTo>
                    <a:pt x="72" y="34"/>
                  </a:lnTo>
                  <a:lnTo>
                    <a:pt x="76" y="33"/>
                  </a:lnTo>
                  <a:lnTo>
                    <a:pt x="81" y="32"/>
                  </a:lnTo>
                  <a:lnTo>
                    <a:pt x="83" y="30"/>
                  </a:lnTo>
                  <a:lnTo>
                    <a:pt x="93" y="31"/>
                  </a:lnTo>
                  <a:lnTo>
                    <a:pt x="102" y="33"/>
                  </a:lnTo>
                  <a:lnTo>
                    <a:pt x="112" y="31"/>
                  </a:lnTo>
                  <a:lnTo>
                    <a:pt x="116" y="31"/>
                  </a:lnTo>
                  <a:lnTo>
                    <a:pt x="117" y="33"/>
                  </a:lnTo>
                  <a:lnTo>
                    <a:pt x="118" y="38"/>
                  </a:lnTo>
                  <a:lnTo>
                    <a:pt x="122" y="43"/>
                  </a:lnTo>
                  <a:lnTo>
                    <a:pt x="125" y="44"/>
                  </a:lnTo>
                  <a:lnTo>
                    <a:pt x="132" y="39"/>
                  </a:lnTo>
                  <a:lnTo>
                    <a:pt x="138" y="42"/>
                  </a:lnTo>
                  <a:lnTo>
                    <a:pt x="147" y="44"/>
                  </a:lnTo>
                  <a:lnTo>
                    <a:pt x="154" y="36"/>
                  </a:lnTo>
                  <a:lnTo>
                    <a:pt x="155" y="30"/>
                  </a:lnTo>
                  <a:lnTo>
                    <a:pt x="153" y="24"/>
                  </a:lnTo>
                  <a:lnTo>
                    <a:pt x="152" y="15"/>
                  </a:lnTo>
                  <a:lnTo>
                    <a:pt x="153" y="9"/>
                  </a:lnTo>
                  <a:lnTo>
                    <a:pt x="155" y="0"/>
                  </a:lnTo>
                  <a:lnTo>
                    <a:pt x="160" y="0"/>
                  </a:lnTo>
                  <a:lnTo>
                    <a:pt x="164" y="1"/>
                  </a:lnTo>
                  <a:lnTo>
                    <a:pt x="168" y="5"/>
                  </a:lnTo>
                  <a:lnTo>
                    <a:pt x="172" y="5"/>
                  </a:lnTo>
                  <a:lnTo>
                    <a:pt x="178" y="11"/>
                  </a:lnTo>
                  <a:lnTo>
                    <a:pt x="186" y="12"/>
                  </a:lnTo>
                  <a:lnTo>
                    <a:pt x="190" y="17"/>
                  </a:lnTo>
                  <a:lnTo>
                    <a:pt x="197" y="15"/>
                  </a:lnTo>
                  <a:lnTo>
                    <a:pt x="203" y="13"/>
                  </a:lnTo>
                  <a:lnTo>
                    <a:pt x="207" y="15"/>
                  </a:lnTo>
                  <a:lnTo>
                    <a:pt x="214" y="25"/>
                  </a:lnTo>
                  <a:lnTo>
                    <a:pt x="218" y="37"/>
                  </a:lnTo>
                  <a:lnTo>
                    <a:pt x="225" y="39"/>
                  </a:lnTo>
                  <a:lnTo>
                    <a:pt x="226" y="33"/>
                  </a:lnTo>
                  <a:lnTo>
                    <a:pt x="234" y="31"/>
                  </a:lnTo>
                  <a:lnTo>
                    <a:pt x="237" y="21"/>
                  </a:lnTo>
                  <a:lnTo>
                    <a:pt x="239" y="18"/>
                  </a:lnTo>
                  <a:lnTo>
                    <a:pt x="242" y="15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51" y="43"/>
                  </a:lnTo>
                  <a:lnTo>
                    <a:pt x="258" y="73"/>
                  </a:lnTo>
                  <a:lnTo>
                    <a:pt x="261" y="108"/>
                  </a:lnTo>
                  <a:lnTo>
                    <a:pt x="258" y="133"/>
                  </a:lnTo>
                  <a:lnTo>
                    <a:pt x="252" y="171"/>
                  </a:lnTo>
                  <a:lnTo>
                    <a:pt x="249" y="185"/>
                  </a:lnTo>
                  <a:lnTo>
                    <a:pt x="244" y="188"/>
                  </a:lnTo>
                  <a:lnTo>
                    <a:pt x="239" y="188"/>
                  </a:lnTo>
                  <a:lnTo>
                    <a:pt x="237" y="190"/>
                  </a:lnTo>
                  <a:lnTo>
                    <a:pt x="234" y="194"/>
                  </a:lnTo>
                  <a:lnTo>
                    <a:pt x="232" y="195"/>
                  </a:lnTo>
                  <a:lnTo>
                    <a:pt x="228" y="197"/>
                  </a:lnTo>
                  <a:lnTo>
                    <a:pt x="227" y="199"/>
                  </a:lnTo>
                  <a:lnTo>
                    <a:pt x="227" y="205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05" name="Freeform 412"/>
            <p:cNvSpPr>
              <a:spLocks/>
            </p:cNvSpPr>
            <p:nvPr/>
          </p:nvSpPr>
          <p:spPr bwMode="auto">
            <a:xfrm>
              <a:off x="6684743" y="4046903"/>
              <a:ext cx="356875" cy="427796"/>
            </a:xfrm>
            <a:custGeom>
              <a:avLst/>
              <a:gdLst>
                <a:gd name="T0" fmla="*/ 79 w 164"/>
                <a:gd name="T1" fmla="*/ 105 h 210"/>
                <a:gd name="T2" fmla="*/ 77 w 164"/>
                <a:gd name="T3" fmla="*/ 105 h 210"/>
                <a:gd name="T4" fmla="*/ 74 w 164"/>
                <a:gd name="T5" fmla="*/ 102 h 210"/>
                <a:gd name="T6" fmla="*/ 72 w 164"/>
                <a:gd name="T7" fmla="*/ 96 h 210"/>
                <a:gd name="T8" fmla="*/ 66 w 164"/>
                <a:gd name="T9" fmla="*/ 95 h 210"/>
                <a:gd name="T10" fmla="*/ 60 w 164"/>
                <a:gd name="T11" fmla="*/ 95 h 210"/>
                <a:gd name="T12" fmla="*/ 59 w 164"/>
                <a:gd name="T13" fmla="*/ 91 h 210"/>
                <a:gd name="T14" fmla="*/ 56 w 164"/>
                <a:gd name="T15" fmla="*/ 89 h 210"/>
                <a:gd name="T16" fmla="*/ 50 w 164"/>
                <a:gd name="T17" fmla="*/ 89 h 210"/>
                <a:gd name="T18" fmla="*/ 44 w 164"/>
                <a:gd name="T19" fmla="*/ 93 h 210"/>
                <a:gd name="T20" fmla="*/ 39 w 164"/>
                <a:gd name="T21" fmla="*/ 95 h 210"/>
                <a:gd name="T22" fmla="*/ 35 w 164"/>
                <a:gd name="T23" fmla="*/ 97 h 210"/>
                <a:gd name="T24" fmla="*/ 31 w 164"/>
                <a:gd name="T25" fmla="*/ 97 h 210"/>
                <a:gd name="T26" fmla="*/ 27 w 164"/>
                <a:gd name="T27" fmla="*/ 95 h 210"/>
                <a:gd name="T28" fmla="*/ 23 w 164"/>
                <a:gd name="T29" fmla="*/ 91 h 210"/>
                <a:gd name="T30" fmla="*/ 17 w 164"/>
                <a:gd name="T31" fmla="*/ 86 h 210"/>
                <a:gd name="T32" fmla="*/ 12 w 164"/>
                <a:gd name="T33" fmla="*/ 79 h 210"/>
                <a:gd name="T34" fmla="*/ 8 w 164"/>
                <a:gd name="T35" fmla="*/ 76 h 210"/>
                <a:gd name="T36" fmla="*/ 4 w 164"/>
                <a:gd name="T37" fmla="*/ 74 h 210"/>
                <a:gd name="T38" fmla="*/ 3 w 164"/>
                <a:gd name="T39" fmla="*/ 72 h 210"/>
                <a:gd name="T40" fmla="*/ 1 w 164"/>
                <a:gd name="T41" fmla="*/ 68 h 210"/>
                <a:gd name="T42" fmla="*/ 0 w 164"/>
                <a:gd name="T43" fmla="*/ 64 h 210"/>
                <a:gd name="T44" fmla="*/ 8 w 164"/>
                <a:gd name="T45" fmla="*/ 64 h 210"/>
                <a:gd name="T46" fmla="*/ 12 w 164"/>
                <a:gd name="T47" fmla="*/ 58 h 210"/>
                <a:gd name="T48" fmla="*/ 13 w 164"/>
                <a:gd name="T49" fmla="*/ 54 h 210"/>
                <a:gd name="T50" fmla="*/ 18 w 164"/>
                <a:gd name="T51" fmla="*/ 55 h 210"/>
                <a:gd name="T52" fmla="*/ 23 w 164"/>
                <a:gd name="T53" fmla="*/ 50 h 210"/>
                <a:gd name="T54" fmla="*/ 24 w 164"/>
                <a:gd name="T55" fmla="*/ 51 h 210"/>
                <a:gd name="T56" fmla="*/ 27 w 164"/>
                <a:gd name="T57" fmla="*/ 48 h 210"/>
                <a:gd name="T58" fmla="*/ 30 w 164"/>
                <a:gd name="T59" fmla="*/ 47 h 210"/>
                <a:gd name="T60" fmla="*/ 35 w 164"/>
                <a:gd name="T61" fmla="*/ 47 h 210"/>
                <a:gd name="T62" fmla="*/ 36 w 164"/>
                <a:gd name="T63" fmla="*/ 41 h 210"/>
                <a:gd name="T64" fmla="*/ 38 w 164"/>
                <a:gd name="T65" fmla="*/ 38 h 210"/>
                <a:gd name="T66" fmla="*/ 37 w 164"/>
                <a:gd name="T67" fmla="*/ 29 h 210"/>
                <a:gd name="T68" fmla="*/ 37 w 164"/>
                <a:gd name="T69" fmla="*/ 22 h 210"/>
                <a:gd name="T70" fmla="*/ 40 w 164"/>
                <a:gd name="T71" fmla="*/ 19 h 210"/>
                <a:gd name="T72" fmla="*/ 38 w 164"/>
                <a:gd name="T73" fmla="*/ 12 h 210"/>
                <a:gd name="T74" fmla="*/ 40 w 164"/>
                <a:gd name="T75" fmla="*/ 3 h 210"/>
                <a:gd name="T76" fmla="*/ 41 w 164"/>
                <a:gd name="T77" fmla="*/ 2 h 210"/>
                <a:gd name="T78" fmla="*/ 46 w 164"/>
                <a:gd name="T79" fmla="*/ 7 h 210"/>
                <a:gd name="T80" fmla="*/ 52 w 164"/>
                <a:gd name="T81" fmla="*/ 14 h 210"/>
                <a:gd name="T82" fmla="*/ 56 w 164"/>
                <a:gd name="T83" fmla="*/ 16 h 210"/>
                <a:gd name="T84" fmla="*/ 60 w 164"/>
                <a:gd name="T85" fmla="*/ 16 h 210"/>
                <a:gd name="T86" fmla="*/ 63 w 164"/>
                <a:gd name="T87" fmla="*/ 11 h 210"/>
                <a:gd name="T88" fmla="*/ 64 w 164"/>
                <a:gd name="T89" fmla="*/ 8 h 210"/>
                <a:gd name="T90" fmla="*/ 65 w 164"/>
                <a:gd name="T91" fmla="*/ 5 h 210"/>
                <a:gd name="T92" fmla="*/ 69 w 164"/>
                <a:gd name="T93" fmla="*/ 7 h 210"/>
                <a:gd name="T94" fmla="*/ 72 w 164"/>
                <a:gd name="T95" fmla="*/ 10 h 210"/>
                <a:gd name="T96" fmla="*/ 78 w 164"/>
                <a:gd name="T97" fmla="*/ 12 h 210"/>
                <a:gd name="T98" fmla="*/ 74 w 164"/>
                <a:gd name="T99" fmla="*/ 19 h 210"/>
                <a:gd name="T100" fmla="*/ 69 w 164"/>
                <a:gd name="T101" fmla="*/ 32 h 210"/>
                <a:gd name="T102" fmla="*/ 65 w 164"/>
                <a:gd name="T103" fmla="*/ 44 h 210"/>
                <a:gd name="T104" fmla="*/ 64 w 164"/>
                <a:gd name="T105" fmla="*/ 56 h 210"/>
                <a:gd name="T106" fmla="*/ 62 w 164"/>
                <a:gd name="T107" fmla="*/ 59 h 210"/>
                <a:gd name="T108" fmla="*/ 63 w 164"/>
                <a:gd name="T109" fmla="*/ 71 h 210"/>
                <a:gd name="T110" fmla="*/ 78 w 164"/>
                <a:gd name="T111" fmla="*/ 98 h 2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4" h="210">
                  <a:moveTo>
                    <a:pt x="164" y="206"/>
                  </a:moveTo>
                  <a:lnTo>
                    <a:pt x="158" y="209"/>
                  </a:lnTo>
                  <a:lnTo>
                    <a:pt x="156" y="210"/>
                  </a:lnTo>
                  <a:lnTo>
                    <a:pt x="154" y="209"/>
                  </a:lnTo>
                  <a:lnTo>
                    <a:pt x="149" y="208"/>
                  </a:lnTo>
                  <a:lnTo>
                    <a:pt x="147" y="203"/>
                  </a:lnTo>
                  <a:lnTo>
                    <a:pt x="146" y="196"/>
                  </a:lnTo>
                  <a:lnTo>
                    <a:pt x="143" y="191"/>
                  </a:lnTo>
                  <a:lnTo>
                    <a:pt x="140" y="189"/>
                  </a:lnTo>
                  <a:lnTo>
                    <a:pt x="131" y="189"/>
                  </a:lnTo>
                  <a:lnTo>
                    <a:pt x="124" y="190"/>
                  </a:lnTo>
                  <a:lnTo>
                    <a:pt x="120" y="189"/>
                  </a:lnTo>
                  <a:lnTo>
                    <a:pt x="119" y="187"/>
                  </a:lnTo>
                  <a:lnTo>
                    <a:pt x="118" y="182"/>
                  </a:lnTo>
                  <a:lnTo>
                    <a:pt x="116" y="178"/>
                  </a:lnTo>
                  <a:lnTo>
                    <a:pt x="112" y="178"/>
                  </a:lnTo>
                  <a:lnTo>
                    <a:pt x="106" y="182"/>
                  </a:lnTo>
                  <a:lnTo>
                    <a:pt x="99" y="177"/>
                  </a:lnTo>
                  <a:lnTo>
                    <a:pt x="95" y="178"/>
                  </a:lnTo>
                  <a:lnTo>
                    <a:pt x="88" y="185"/>
                  </a:lnTo>
                  <a:lnTo>
                    <a:pt x="81" y="188"/>
                  </a:lnTo>
                  <a:lnTo>
                    <a:pt x="77" y="190"/>
                  </a:lnTo>
                  <a:lnTo>
                    <a:pt x="75" y="191"/>
                  </a:lnTo>
                  <a:lnTo>
                    <a:pt x="70" y="193"/>
                  </a:lnTo>
                  <a:lnTo>
                    <a:pt x="65" y="191"/>
                  </a:lnTo>
                  <a:lnTo>
                    <a:pt x="62" y="193"/>
                  </a:lnTo>
                  <a:lnTo>
                    <a:pt x="59" y="191"/>
                  </a:lnTo>
                  <a:lnTo>
                    <a:pt x="54" y="189"/>
                  </a:lnTo>
                  <a:lnTo>
                    <a:pt x="48" y="184"/>
                  </a:lnTo>
                  <a:lnTo>
                    <a:pt x="45" y="181"/>
                  </a:lnTo>
                  <a:lnTo>
                    <a:pt x="39" y="177"/>
                  </a:lnTo>
                  <a:lnTo>
                    <a:pt x="33" y="171"/>
                  </a:lnTo>
                  <a:lnTo>
                    <a:pt x="28" y="164"/>
                  </a:lnTo>
                  <a:lnTo>
                    <a:pt x="23" y="158"/>
                  </a:lnTo>
                  <a:lnTo>
                    <a:pt x="18" y="149"/>
                  </a:lnTo>
                  <a:lnTo>
                    <a:pt x="15" y="152"/>
                  </a:lnTo>
                  <a:lnTo>
                    <a:pt x="11" y="151"/>
                  </a:lnTo>
                  <a:lnTo>
                    <a:pt x="8" y="148"/>
                  </a:lnTo>
                  <a:lnTo>
                    <a:pt x="6" y="146"/>
                  </a:lnTo>
                  <a:lnTo>
                    <a:pt x="5" y="143"/>
                  </a:lnTo>
                  <a:lnTo>
                    <a:pt x="3" y="141"/>
                  </a:lnTo>
                  <a:lnTo>
                    <a:pt x="2" y="136"/>
                  </a:lnTo>
                  <a:lnTo>
                    <a:pt x="0" y="133"/>
                  </a:lnTo>
                  <a:lnTo>
                    <a:pt x="0" y="127"/>
                  </a:lnTo>
                  <a:lnTo>
                    <a:pt x="8" y="129"/>
                  </a:lnTo>
                  <a:lnTo>
                    <a:pt x="15" y="128"/>
                  </a:lnTo>
                  <a:lnTo>
                    <a:pt x="20" y="123"/>
                  </a:lnTo>
                  <a:lnTo>
                    <a:pt x="23" y="115"/>
                  </a:lnTo>
                  <a:lnTo>
                    <a:pt x="23" y="109"/>
                  </a:lnTo>
                  <a:lnTo>
                    <a:pt x="26" y="107"/>
                  </a:lnTo>
                  <a:lnTo>
                    <a:pt x="32" y="111"/>
                  </a:lnTo>
                  <a:lnTo>
                    <a:pt x="36" y="110"/>
                  </a:lnTo>
                  <a:lnTo>
                    <a:pt x="42" y="103"/>
                  </a:lnTo>
                  <a:lnTo>
                    <a:pt x="45" y="100"/>
                  </a:lnTo>
                  <a:lnTo>
                    <a:pt x="47" y="100"/>
                  </a:lnTo>
                  <a:lnTo>
                    <a:pt x="48" y="101"/>
                  </a:lnTo>
                  <a:lnTo>
                    <a:pt x="53" y="95"/>
                  </a:lnTo>
                  <a:lnTo>
                    <a:pt x="54" y="95"/>
                  </a:lnTo>
                  <a:lnTo>
                    <a:pt x="58" y="98"/>
                  </a:lnTo>
                  <a:lnTo>
                    <a:pt x="60" y="94"/>
                  </a:lnTo>
                  <a:lnTo>
                    <a:pt x="66" y="97"/>
                  </a:lnTo>
                  <a:lnTo>
                    <a:pt x="69" y="93"/>
                  </a:lnTo>
                  <a:lnTo>
                    <a:pt x="69" y="85"/>
                  </a:lnTo>
                  <a:lnTo>
                    <a:pt x="71" y="81"/>
                  </a:lnTo>
                  <a:lnTo>
                    <a:pt x="75" y="80"/>
                  </a:lnTo>
                  <a:lnTo>
                    <a:pt x="76" y="75"/>
                  </a:lnTo>
                  <a:lnTo>
                    <a:pt x="74" y="68"/>
                  </a:lnTo>
                  <a:lnTo>
                    <a:pt x="74" y="57"/>
                  </a:lnTo>
                  <a:lnTo>
                    <a:pt x="71" y="49"/>
                  </a:lnTo>
                  <a:lnTo>
                    <a:pt x="74" y="43"/>
                  </a:lnTo>
                  <a:lnTo>
                    <a:pt x="80" y="39"/>
                  </a:lnTo>
                  <a:lnTo>
                    <a:pt x="80" y="37"/>
                  </a:lnTo>
                  <a:lnTo>
                    <a:pt x="75" y="28"/>
                  </a:lnTo>
                  <a:lnTo>
                    <a:pt x="76" y="24"/>
                  </a:lnTo>
                  <a:lnTo>
                    <a:pt x="78" y="15"/>
                  </a:lnTo>
                  <a:lnTo>
                    <a:pt x="80" y="6"/>
                  </a:lnTo>
                  <a:lnTo>
                    <a:pt x="80" y="0"/>
                  </a:lnTo>
                  <a:lnTo>
                    <a:pt x="82" y="3"/>
                  </a:lnTo>
                  <a:lnTo>
                    <a:pt x="87" y="9"/>
                  </a:lnTo>
                  <a:lnTo>
                    <a:pt x="92" y="14"/>
                  </a:lnTo>
                  <a:lnTo>
                    <a:pt x="98" y="19"/>
                  </a:lnTo>
                  <a:lnTo>
                    <a:pt x="104" y="27"/>
                  </a:lnTo>
                  <a:lnTo>
                    <a:pt x="107" y="31"/>
                  </a:lnTo>
                  <a:lnTo>
                    <a:pt x="111" y="32"/>
                  </a:lnTo>
                  <a:lnTo>
                    <a:pt x="114" y="34"/>
                  </a:lnTo>
                  <a:lnTo>
                    <a:pt x="119" y="32"/>
                  </a:lnTo>
                  <a:lnTo>
                    <a:pt x="123" y="26"/>
                  </a:lnTo>
                  <a:lnTo>
                    <a:pt x="126" y="22"/>
                  </a:lnTo>
                  <a:lnTo>
                    <a:pt x="129" y="19"/>
                  </a:lnTo>
                  <a:lnTo>
                    <a:pt x="128" y="15"/>
                  </a:lnTo>
                  <a:lnTo>
                    <a:pt x="126" y="9"/>
                  </a:lnTo>
                  <a:lnTo>
                    <a:pt x="130" y="9"/>
                  </a:lnTo>
                  <a:lnTo>
                    <a:pt x="134" y="12"/>
                  </a:lnTo>
                  <a:lnTo>
                    <a:pt x="138" y="14"/>
                  </a:lnTo>
                  <a:lnTo>
                    <a:pt x="141" y="16"/>
                  </a:lnTo>
                  <a:lnTo>
                    <a:pt x="144" y="20"/>
                  </a:lnTo>
                  <a:lnTo>
                    <a:pt x="153" y="21"/>
                  </a:lnTo>
                  <a:lnTo>
                    <a:pt x="155" y="24"/>
                  </a:lnTo>
                  <a:lnTo>
                    <a:pt x="156" y="25"/>
                  </a:lnTo>
                  <a:lnTo>
                    <a:pt x="147" y="38"/>
                  </a:lnTo>
                  <a:lnTo>
                    <a:pt x="144" y="49"/>
                  </a:lnTo>
                  <a:lnTo>
                    <a:pt x="138" y="64"/>
                  </a:lnTo>
                  <a:lnTo>
                    <a:pt x="130" y="84"/>
                  </a:lnTo>
                  <a:lnTo>
                    <a:pt x="129" y="87"/>
                  </a:lnTo>
                  <a:lnTo>
                    <a:pt x="130" y="104"/>
                  </a:lnTo>
                  <a:lnTo>
                    <a:pt x="128" y="111"/>
                  </a:lnTo>
                  <a:lnTo>
                    <a:pt x="125" y="115"/>
                  </a:lnTo>
                  <a:lnTo>
                    <a:pt x="123" y="118"/>
                  </a:lnTo>
                  <a:lnTo>
                    <a:pt x="122" y="123"/>
                  </a:lnTo>
                  <a:lnTo>
                    <a:pt x="125" y="142"/>
                  </a:lnTo>
                  <a:lnTo>
                    <a:pt x="140" y="171"/>
                  </a:lnTo>
                  <a:lnTo>
                    <a:pt x="155" y="196"/>
                  </a:lnTo>
                  <a:lnTo>
                    <a:pt x="164" y="206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06" name="Freeform 413"/>
            <p:cNvSpPr>
              <a:spLocks/>
            </p:cNvSpPr>
            <p:nvPr/>
          </p:nvSpPr>
          <p:spPr bwMode="auto">
            <a:xfrm>
              <a:off x="6571587" y="3969493"/>
              <a:ext cx="287241" cy="342237"/>
            </a:xfrm>
            <a:custGeom>
              <a:avLst/>
              <a:gdLst>
                <a:gd name="T0" fmla="*/ 24 w 132"/>
                <a:gd name="T1" fmla="*/ 81 h 166"/>
                <a:gd name="T2" fmla="*/ 18 w 132"/>
                <a:gd name="T3" fmla="*/ 78 h 166"/>
                <a:gd name="T4" fmla="*/ 14 w 132"/>
                <a:gd name="T5" fmla="*/ 76 h 166"/>
                <a:gd name="T6" fmla="*/ 7 w 132"/>
                <a:gd name="T7" fmla="*/ 72 h 166"/>
                <a:gd name="T8" fmla="*/ 5 w 132"/>
                <a:gd name="T9" fmla="*/ 66 h 166"/>
                <a:gd name="T10" fmla="*/ 5 w 132"/>
                <a:gd name="T11" fmla="*/ 60 h 166"/>
                <a:gd name="T12" fmla="*/ 8 w 132"/>
                <a:gd name="T13" fmla="*/ 53 h 166"/>
                <a:gd name="T14" fmla="*/ 1 w 132"/>
                <a:gd name="T15" fmla="*/ 47 h 166"/>
                <a:gd name="T16" fmla="*/ 2 w 132"/>
                <a:gd name="T17" fmla="*/ 38 h 166"/>
                <a:gd name="T18" fmla="*/ 2 w 132"/>
                <a:gd name="T19" fmla="*/ 31 h 166"/>
                <a:gd name="T20" fmla="*/ 0 w 132"/>
                <a:gd name="T21" fmla="*/ 27 h 166"/>
                <a:gd name="T22" fmla="*/ 1 w 132"/>
                <a:gd name="T23" fmla="*/ 23 h 166"/>
                <a:gd name="T24" fmla="*/ 12 w 132"/>
                <a:gd name="T25" fmla="*/ 22 h 166"/>
                <a:gd name="T26" fmla="*/ 19 w 132"/>
                <a:gd name="T27" fmla="*/ 17 h 166"/>
                <a:gd name="T28" fmla="*/ 25 w 132"/>
                <a:gd name="T29" fmla="*/ 14 h 166"/>
                <a:gd name="T30" fmla="*/ 29 w 132"/>
                <a:gd name="T31" fmla="*/ 9 h 166"/>
                <a:gd name="T32" fmla="*/ 35 w 132"/>
                <a:gd name="T33" fmla="*/ 8 h 166"/>
                <a:gd name="T34" fmla="*/ 40 w 132"/>
                <a:gd name="T35" fmla="*/ 3 h 166"/>
                <a:gd name="T36" fmla="*/ 46 w 132"/>
                <a:gd name="T37" fmla="*/ 0 h 166"/>
                <a:gd name="T38" fmla="*/ 53 w 132"/>
                <a:gd name="T39" fmla="*/ 2 h 166"/>
                <a:gd name="T40" fmla="*/ 64 w 132"/>
                <a:gd name="T41" fmla="*/ 12 h 166"/>
                <a:gd name="T42" fmla="*/ 66 w 132"/>
                <a:gd name="T43" fmla="*/ 22 h 166"/>
                <a:gd name="T44" fmla="*/ 64 w 132"/>
                <a:gd name="T45" fmla="*/ 31 h 166"/>
                <a:gd name="T46" fmla="*/ 66 w 132"/>
                <a:gd name="T47" fmla="*/ 37 h 166"/>
                <a:gd name="T48" fmla="*/ 63 w 132"/>
                <a:gd name="T49" fmla="*/ 40 h 166"/>
                <a:gd name="T50" fmla="*/ 63 w 132"/>
                <a:gd name="T51" fmla="*/ 48 h 166"/>
                <a:gd name="T52" fmla="*/ 64 w 132"/>
                <a:gd name="T53" fmla="*/ 57 h 166"/>
                <a:gd name="T54" fmla="*/ 62 w 132"/>
                <a:gd name="T55" fmla="*/ 60 h 166"/>
                <a:gd name="T56" fmla="*/ 61 w 132"/>
                <a:gd name="T57" fmla="*/ 66 h 166"/>
                <a:gd name="T58" fmla="*/ 56 w 132"/>
                <a:gd name="T59" fmla="*/ 66 h 166"/>
                <a:gd name="T60" fmla="*/ 53 w 132"/>
                <a:gd name="T61" fmla="*/ 67 h 166"/>
                <a:gd name="T62" fmla="*/ 50 w 132"/>
                <a:gd name="T63" fmla="*/ 70 h 166"/>
                <a:gd name="T64" fmla="*/ 49 w 132"/>
                <a:gd name="T65" fmla="*/ 69 h 166"/>
                <a:gd name="T66" fmla="*/ 44 w 132"/>
                <a:gd name="T67" fmla="*/ 74 h 166"/>
                <a:gd name="T68" fmla="*/ 39 w 132"/>
                <a:gd name="T69" fmla="*/ 73 h 166"/>
                <a:gd name="T70" fmla="*/ 38 w 132"/>
                <a:gd name="T71" fmla="*/ 77 h 166"/>
                <a:gd name="T72" fmla="*/ 34 w 132"/>
                <a:gd name="T73" fmla="*/ 83 h 166"/>
                <a:gd name="T74" fmla="*/ 26 w 132"/>
                <a:gd name="T75" fmla="*/ 83 h 16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32" h="166">
                  <a:moveTo>
                    <a:pt x="52" y="164"/>
                  </a:moveTo>
                  <a:lnTo>
                    <a:pt x="48" y="161"/>
                  </a:lnTo>
                  <a:lnTo>
                    <a:pt x="43" y="158"/>
                  </a:lnTo>
                  <a:lnTo>
                    <a:pt x="36" y="155"/>
                  </a:lnTo>
                  <a:lnTo>
                    <a:pt x="31" y="150"/>
                  </a:lnTo>
                  <a:lnTo>
                    <a:pt x="27" y="150"/>
                  </a:lnTo>
                  <a:lnTo>
                    <a:pt x="18" y="152"/>
                  </a:lnTo>
                  <a:lnTo>
                    <a:pt x="14" y="143"/>
                  </a:lnTo>
                  <a:lnTo>
                    <a:pt x="8" y="135"/>
                  </a:lnTo>
                  <a:lnTo>
                    <a:pt x="9" y="130"/>
                  </a:lnTo>
                  <a:lnTo>
                    <a:pt x="12" y="124"/>
                  </a:lnTo>
                  <a:lnTo>
                    <a:pt x="10" y="118"/>
                  </a:lnTo>
                  <a:lnTo>
                    <a:pt x="12" y="113"/>
                  </a:lnTo>
                  <a:lnTo>
                    <a:pt x="15" y="105"/>
                  </a:lnTo>
                  <a:lnTo>
                    <a:pt x="16" y="101"/>
                  </a:lnTo>
                  <a:lnTo>
                    <a:pt x="1" y="92"/>
                  </a:lnTo>
                  <a:lnTo>
                    <a:pt x="2" y="86"/>
                  </a:lnTo>
                  <a:lnTo>
                    <a:pt x="4" y="76"/>
                  </a:lnTo>
                  <a:lnTo>
                    <a:pt x="1" y="69"/>
                  </a:lnTo>
                  <a:lnTo>
                    <a:pt x="4" y="62"/>
                  </a:lnTo>
                  <a:lnTo>
                    <a:pt x="4" y="59"/>
                  </a:lnTo>
                  <a:lnTo>
                    <a:pt x="0" y="53"/>
                  </a:lnTo>
                  <a:lnTo>
                    <a:pt x="0" y="50"/>
                  </a:lnTo>
                  <a:lnTo>
                    <a:pt x="1" y="46"/>
                  </a:lnTo>
                  <a:lnTo>
                    <a:pt x="9" y="45"/>
                  </a:lnTo>
                  <a:lnTo>
                    <a:pt x="24" y="44"/>
                  </a:lnTo>
                  <a:lnTo>
                    <a:pt x="30" y="41"/>
                  </a:lnTo>
                  <a:lnTo>
                    <a:pt x="37" y="34"/>
                  </a:lnTo>
                  <a:lnTo>
                    <a:pt x="38" y="32"/>
                  </a:lnTo>
                  <a:lnTo>
                    <a:pt x="50" y="27"/>
                  </a:lnTo>
                  <a:lnTo>
                    <a:pt x="56" y="22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9" y="15"/>
                  </a:lnTo>
                  <a:lnTo>
                    <a:pt x="74" y="14"/>
                  </a:lnTo>
                  <a:lnTo>
                    <a:pt x="79" y="5"/>
                  </a:lnTo>
                  <a:lnTo>
                    <a:pt x="84" y="2"/>
                  </a:lnTo>
                  <a:lnTo>
                    <a:pt x="91" y="0"/>
                  </a:lnTo>
                  <a:lnTo>
                    <a:pt x="98" y="1"/>
                  </a:lnTo>
                  <a:lnTo>
                    <a:pt x="105" y="3"/>
                  </a:lnTo>
                  <a:lnTo>
                    <a:pt x="112" y="9"/>
                  </a:lnTo>
                  <a:lnTo>
                    <a:pt x="127" y="23"/>
                  </a:lnTo>
                  <a:lnTo>
                    <a:pt x="132" y="37"/>
                  </a:lnTo>
                  <a:lnTo>
                    <a:pt x="132" y="43"/>
                  </a:lnTo>
                  <a:lnTo>
                    <a:pt x="130" y="52"/>
                  </a:lnTo>
                  <a:lnTo>
                    <a:pt x="128" y="61"/>
                  </a:lnTo>
                  <a:lnTo>
                    <a:pt x="127" y="65"/>
                  </a:lnTo>
                  <a:lnTo>
                    <a:pt x="132" y="74"/>
                  </a:lnTo>
                  <a:lnTo>
                    <a:pt x="132" y="76"/>
                  </a:lnTo>
                  <a:lnTo>
                    <a:pt x="126" y="80"/>
                  </a:lnTo>
                  <a:lnTo>
                    <a:pt x="123" y="86"/>
                  </a:lnTo>
                  <a:lnTo>
                    <a:pt x="126" y="94"/>
                  </a:lnTo>
                  <a:lnTo>
                    <a:pt x="126" y="105"/>
                  </a:lnTo>
                  <a:lnTo>
                    <a:pt x="128" y="112"/>
                  </a:lnTo>
                  <a:lnTo>
                    <a:pt x="127" y="117"/>
                  </a:lnTo>
                  <a:lnTo>
                    <a:pt x="123" y="118"/>
                  </a:lnTo>
                  <a:lnTo>
                    <a:pt x="121" y="122"/>
                  </a:lnTo>
                  <a:lnTo>
                    <a:pt x="121" y="130"/>
                  </a:lnTo>
                  <a:lnTo>
                    <a:pt x="118" y="134"/>
                  </a:lnTo>
                  <a:lnTo>
                    <a:pt x="112" y="131"/>
                  </a:lnTo>
                  <a:lnTo>
                    <a:pt x="110" y="135"/>
                  </a:lnTo>
                  <a:lnTo>
                    <a:pt x="106" y="132"/>
                  </a:lnTo>
                  <a:lnTo>
                    <a:pt x="105" y="132"/>
                  </a:lnTo>
                  <a:lnTo>
                    <a:pt x="100" y="138"/>
                  </a:lnTo>
                  <a:lnTo>
                    <a:pt x="99" y="137"/>
                  </a:lnTo>
                  <a:lnTo>
                    <a:pt x="97" y="137"/>
                  </a:lnTo>
                  <a:lnTo>
                    <a:pt x="94" y="140"/>
                  </a:lnTo>
                  <a:lnTo>
                    <a:pt x="88" y="147"/>
                  </a:lnTo>
                  <a:lnTo>
                    <a:pt x="84" y="148"/>
                  </a:lnTo>
                  <a:lnTo>
                    <a:pt x="78" y="144"/>
                  </a:lnTo>
                  <a:lnTo>
                    <a:pt x="75" y="146"/>
                  </a:lnTo>
                  <a:lnTo>
                    <a:pt x="75" y="152"/>
                  </a:lnTo>
                  <a:lnTo>
                    <a:pt x="72" y="160"/>
                  </a:lnTo>
                  <a:lnTo>
                    <a:pt x="67" y="165"/>
                  </a:lnTo>
                  <a:lnTo>
                    <a:pt x="60" y="166"/>
                  </a:lnTo>
                  <a:lnTo>
                    <a:pt x="52" y="164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07" name="Freeform 414"/>
            <p:cNvSpPr>
              <a:spLocks/>
            </p:cNvSpPr>
            <p:nvPr/>
          </p:nvSpPr>
          <p:spPr bwMode="auto">
            <a:xfrm>
              <a:off x="6319163" y="4022458"/>
              <a:ext cx="365580" cy="362608"/>
            </a:xfrm>
            <a:custGeom>
              <a:avLst/>
              <a:gdLst>
                <a:gd name="T0" fmla="*/ 15 w 168"/>
                <a:gd name="T1" fmla="*/ 88 h 178"/>
                <a:gd name="T2" fmla="*/ 12 w 168"/>
                <a:gd name="T3" fmla="*/ 84 h 178"/>
                <a:gd name="T4" fmla="*/ 13 w 168"/>
                <a:gd name="T5" fmla="*/ 77 h 178"/>
                <a:gd name="T6" fmla="*/ 10 w 168"/>
                <a:gd name="T7" fmla="*/ 71 h 178"/>
                <a:gd name="T8" fmla="*/ 13 w 168"/>
                <a:gd name="T9" fmla="*/ 68 h 178"/>
                <a:gd name="T10" fmla="*/ 12 w 168"/>
                <a:gd name="T11" fmla="*/ 64 h 178"/>
                <a:gd name="T12" fmla="*/ 14 w 168"/>
                <a:gd name="T13" fmla="*/ 60 h 178"/>
                <a:gd name="T14" fmla="*/ 15 w 168"/>
                <a:gd name="T15" fmla="*/ 50 h 178"/>
                <a:gd name="T16" fmla="*/ 9 w 168"/>
                <a:gd name="T17" fmla="*/ 51 h 178"/>
                <a:gd name="T18" fmla="*/ 8 w 168"/>
                <a:gd name="T19" fmla="*/ 50 h 178"/>
                <a:gd name="T20" fmla="*/ 5 w 168"/>
                <a:gd name="T21" fmla="*/ 49 h 178"/>
                <a:gd name="T22" fmla="*/ 1 w 168"/>
                <a:gd name="T23" fmla="*/ 48 h 178"/>
                <a:gd name="T24" fmla="*/ 2 w 168"/>
                <a:gd name="T25" fmla="*/ 37 h 178"/>
                <a:gd name="T26" fmla="*/ 6 w 168"/>
                <a:gd name="T27" fmla="*/ 29 h 178"/>
                <a:gd name="T28" fmla="*/ 9 w 168"/>
                <a:gd name="T29" fmla="*/ 25 h 178"/>
                <a:gd name="T30" fmla="*/ 12 w 168"/>
                <a:gd name="T31" fmla="*/ 22 h 178"/>
                <a:gd name="T32" fmla="*/ 19 w 168"/>
                <a:gd name="T33" fmla="*/ 20 h 178"/>
                <a:gd name="T34" fmla="*/ 26 w 168"/>
                <a:gd name="T35" fmla="*/ 22 h 178"/>
                <a:gd name="T36" fmla="*/ 31 w 168"/>
                <a:gd name="T37" fmla="*/ 16 h 178"/>
                <a:gd name="T38" fmla="*/ 31 w 168"/>
                <a:gd name="T39" fmla="*/ 12 h 178"/>
                <a:gd name="T40" fmla="*/ 35 w 168"/>
                <a:gd name="T41" fmla="*/ 10 h 178"/>
                <a:gd name="T42" fmla="*/ 35 w 168"/>
                <a:gd name="T43" fmla="*/ 4 h 178"/>
                <a:gd name="T44" fmla="*/ 41 w 168"/>
                <a:gd name="T45" fmla="*/ 4 h 178"/>
                <a:gd name="T46" fmla="*/ 47 w 168"/>
                <a:gd name="T47" fmla="*/ 6 h 178"/>
                <a:gd name="T48" fmla="*/ 50 w 168"/>
                <a:gd name="T49" fmla="*/ 10 h 178"/>
                <a:gd name="T50" fmla="*/ 59 w 168"/>
                <a:gd name="T51" fmla="*/ 11 h 178"/>
                <a:gd name="T52" fmla="*/ 58 w 168"/>
                <a:gd name="T53" fmla="*/ 14 h 178"/>
                <a:gd name="T54" fmla="*/ 60 w 168"/>
                <a:gd name="T55" fmla="*/ 19 h 178"/>
                <a:gd name="T56" fmla="*/ 60 w 168"/>
                <a:gd name="T57" fmla="*/ 26 h 178"/>
                <a:gd name="T58" fmla="*/ 59 w 168"/>
                <a:gd name="T59" fmla="*/ 34 h 178"/>
                <a:gd name="T60" fmla="*/ 66 w 168"/>
                <a:gd name="T61" fmla="*/ 40 h 178"/>
                <a:gd name="T62" fmla="*/ 63 w 168"/>
                <a:gd name="T63" fmla="*/ 47 h 178"/>
                <a:gd name="T64" fmla="*/ 63 w 168"/>
                <a:gd name="T65" fmla="*/ 53 h 178"/>
                <a:gd name="T66" fmla="*/ 65 w 168"/>
                <a:gd name="T67" fmla="*/ 59 h 178"/>
                <a:gd name="T68" fmla="*/ 72 w 168"/>
                <a:gd name="T69" fmla="*/ 63 h 178"/>
                <a:gd name="T70" fmla="*/ 76 w 168"/>
                <a:gd name="T71" fmla="*/ 65 h 178"/>
                <a:gd name="T72" fmla="*/ 82 w 168"/>
                <a:gd name="T73" fmla="*/ 68 h 178"/>
                <a:gd name="T74" fmla="*/ 80 w 168"/>
                <a:gd name="T75" fmla="*/ 71 h 178"/>
                <a:gd name="T76" fmla="*/ 73 w 168"/>
                <a:gd name="T77" fmla="*/ 73 h 178"/>
                <a:gd name="T78" fmla="*/ 65 w 168"/>
                <a:gd name="T79" fmla="*/ 69 h 178"/>
                <a:gd name="T80" fmla="*/ 62 w 168"/>
                <a:gd name="T81" fmla="*/ 67 h 178"/>
                <a:gd name="T82" fmla="*/ 57 w 168"/>
                <a:gd name="T83" fmla="*/ 69 h 178"/>
                <a:gd name="T84" fmla="*/ 50 w 168"/>
                <a:gd name="T85" fmla="*/ 64 h 178"/>
                <a:gd name="T86" fmla="*/ 45 w 168"/>
                <a:gd name="T87" fmla="*/ 67 h 178"/>
                <a:gd name="T88" fmla="*/ 43 w 168"/>
                <a:gd name="T89" fmla="*/ 74 h 178"/>
                <a:gd name="T90" fmla="*/ 39 w 168"/>
                <a:gd name="T91" fmla="*/ 74 h 178"/>
                <a:gd name="T92" fmla="*/ 38 w 168"/>
                <a:gd name="T93" fmla="*/ 77 h 178"/>
                <a:gd name="T94" fmla="*/ 27 w 168"/>
                <a:gd name="T95" fmla="*/ 86 h 178"/>
                <a:gd name="T96" fmla="*/ 21 w 168"/>
                <a:gd name="T97" fmla="*/ 86 h 178"/>
                <a:gd name="T98" fmla="*/ 18 w 168"/>
                <a:gd name="T99" fmla="*/ 89 h 17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68" h="178">
                  <a:moveTo>
                    <a:pt x="33" y="177"/>
                  </a:moveTo>
                  <a:lnTo>
                    <a:pt x="30" y="175"/>
                  </a:lnTo>
                  <a:lnTo>
                    <a:pt x="26" y="171"/>
                  </a:lnTo>
                  <a:lnTo>
                    <a:pt x="24" y="167"/>
                  </a:lnTo>
                  <a:lnTo>
                    <a:pt x="26" y="158"/>
                  </a:lnTo>
                  <a:lnTo>
                    <a:pt x="26" y="154"/>
                  </a:lnTo>
                  <a:lnTo>
                    <a:pt x="21" y="149"/>
                  </a:lnTo>
                  <a:lnTo>
                    <a:pt x="20" y="142"/>
                  </a:lnTo>
                  <a:lnTo>
                    <a:pt x="23" y="140"/>
                  </a:lnTo>
                  <a:lnTo>
                    <a:pt x="26" y="135"/>
                  </a:lnTo>
                  <a:lnTo>
                    <a:pt x="26" y="133"/>
                  </a:lnTo>
                  <a:lnTo>
                    <a:pt x="23" y="127"/>
                  </a:lnTo>
                  <a:lnTo>
                    <a:pt x="23" y="123"/>
                  </a:lnTo>
                  <a:lnTo>
                    <a:pt x="28" y="119"/>
                  </a:lnTo>
                  <a:lnTo>
                    <a:pt x="32" y="106"/>
                  </a:lnTo>
                  <a:lnTo>
                    <a:pt x="29" y="99"/>
                  </a:lnTo>
                  <a:lnTo>
                    <a:pt x="27" y="98"/>
                  </a:lnTo>
                  <a:lnTo>
                    <a:pt x="18" y="101"/>
                  </a:lnTo>
                  <a:lnTo>
                    <a:pt x="17" y="101"/>
                  </a:lnTo>
                  <a:lnTo>
                    <a:pt x="16" y="99"/>
                  </a:lnTo>
                  <a:lnTo>
                    <a:pt x="12" y="97"/>
                  </a:lnTo>
                  <a:lnTo>
                    <a:pt x="10" y="98"/>
                  </a:lnTo>
                  <a:lnTo>
                    <a:pt x="5" y="99"/>
                  </a:lnTo>
                  <a:lnTo>
                    <a:pt x="2" y="96"/>
                  </a:lnTo>
                  <a:lnTo>
                    <a:pt x="0" y="91"/>
                  </a:lnTo>
                  <a:lnTo>
                    <a:pt x="3" y="74"/>
                  </a:lnTo>
                  <a:lnTo>
                    <a:pt x="8" y="63"/>
                  </a:lnTo>
                  <a:lnTo>
                    <a:pt x="12" y="57"/>
                  </a:lnTo>
                  <a:lnTo>
                    <a:pt x="15" y="56"/>
                  </a:lnTo>
                  <a:lnTo>
                    <a:pt x="17" y="49"/>
                  </a:lnTo>
                  <a:lnTo>
                    <a:pt x="21" y="45"/>
                  </a:lnTo>
                  <a:lnTo>
                    <a:pt x="24" y="44"/>
                  </a:lnTo>
                  <a:lnTo>
                    <a:pt x="30" y="44"/>
                  </a:lnTo>
                  <a:lnTo>
                    <a:pt x="38" y="40"/>
                  </a:lnTo>
                  <a:lnTo>
                    <a:pt x="45" y="44"/>
                  </a:lnTo>
                  <a:lnTo>
                    <a:pt x="52" y="43"/>
                  </a:lnTo>
                  <a:lnTo>
                    <a:pt x="53" y="36"/>
                  </a:lnTo>
                  <a:lnTo>
                    <a:pt x="62" y="32"/>
                  </a:lnTo>
                  <a:lnTo>
                    <a:pt x="63" y="27"/>
                  </a:lnTo>
                  <a:lnTo>
                    <a:pt x="62" y="24"/>
                  </a:lnTo>
                  <a:lnTo>
                    <a:pt x="69" y="24"/>
                  </a:lnTo>
                  <a:lnTo>
                    <a:pt x="69" y="19"/>
                  </a:lnTo>
                  <a:lnTo>
                    <a:pt x="68" y="14"/>
                  </a:lnTo>
                  <a:lnTo>
                    <a:pt x="70" y="8"/>
                  </a:lnTo>
                  <a:lnTo>
                    <a:pt x="78" y="9"/>
                  </a:lnTo>
                  <a:lnTo>
                    <a:pt x="82" y="7"/>
                  </a:lnTo>
                  <a:lnTo>
                    <a:pt x="88" y="0"/>
                  </a:lnTo>
                  <a:lnTo>
                    <a:pt x="94" y="12"/>
                  </a:lnTo>
                  <a:lnTo>
                    <a:pt x="99" y="18"/>
                  </a:lnTo>
                  <a:lnTo>
                    <a:pt x="100" y="20"/>
                  </a:lnTo>
                  <a:lnTo>
                    <a:pt x="108" y="24"/>
                  </a:lnTo>
                  <a:lnTo>
                    <a:pt x="117" y="21"/>
                  </a:lnTo>
                  <a:lnTo>
                    <a:pt x="116" y="25"/>
                  </a:lnTo>
                  <a:lnTo>
                    <a:pt x="116" y="28"/>
                  </a:lnTo>
                  <a:lnTo>
                    <a:pt x="120" y="34"/>
                  </a:lnTo>
                  <a:lnTo>
                    <a:pt x="120" y="37"/>
                  </a:lnTo>
                  <a:lnTo>
                    <a:pt x="117" y="44"/>
                  </a:lnTo>
                  <a:lnTo>
                    <a:pt x="120" y="51"/>
                  </a:lnTo>
                  <a:lnTo>
                    <a:pt x="118" y="61"/>
                  </a:lnTo>
                  <a:lnTo>
                    <a:pt x="117" y="67"/>
                  </a:lnTo>
                  <a:lnTo>
                    <a:pt x="132" y="76"/>
                  </a:lnTo>
                  <a:lnTo>
                    <a:pt x="131" y="80"/>
                  </a:lnTo>
                  <a:lnTo>
                    <a:pt x="128" y="88"/>
                  </a:lnTo>
                  <a:lnTo>
                    <a:pt x="126" y="93"/>
                  </a:lnTo>
                  <a:lnTo>
                    <a:pt x="128" y="99"/>
                  </a:lnTo>
                  <a:lnTo>
                    <a:pt x="125" y="105"/>
                  </a:lnTo>
                  <a:lnTo>
                    <a:pt x="124" y="110"/>
                  </a:lnTo>
                  <a:lnTo>
                    <a:pt x="130" y="118"/>
                  </a:lnTo>
                  <a:lnTo>
                    <a:pt x="134" y="127"/>
                  </a:lnTo>
                  <a:lnTo>
                    <a:pt x="143" y="125"/>
                  </a:lnTo>
                  <a:lnTo>
                    <a:pt x="147" y="125"/>
                  </a:lnTo>
                  <a:lnTo>
                    <a:pt x="152" y="130"/>
                  </a:lnTo>
                  <a:lnTo>
                    <a:pt x="159" y="133"/>
                  </a:lnTo>
                  <a:lnTo>
                    <a:pt x="164" y="136"/>
                  </a:lnTo>
                  <a:lnTo>
                    <a:pt x="168" y="139"/>
                  </a:lnTo>
                  <a:lnTo>
                    <a:pt x="160" y="142"/>
                  </a:lnTo>
                  <a:lnTo>
                    <a:pt x="152" y="143"/>
                  </a:lnTo>
                  <a:lnTo>
                    <a:pt x="146" y="146"/>
                  </a:lnTo>
                  <a:lnTo>
                    <a:pt x="141" y="146"/>
                  </a:lnTo>
                  <a:lnTo>
                    <a:pt x="129" y="137"/>
                  </a:lnTo>
                  <a:lnTo>
                    <a:pt x="125" y="134"/>
                  </a:lnTo>
                  <a:lnTo>
                    <a:pt x="123" y="134"/>
                  </a:lnTo>
                  <a:lnTo>
                    <a:pt x="119" y="137"/>
                  </a:lnTo>
                  <a:lnTo>
                    <a:pt x="114" y="137"/>
                  </a:lnTo>
                  <a:lnTo>
                    <a:pt x="106" y="131"/>
                  </a:lnTo>
                  <a:lnTo>
                    <a:pt x="99" y="128"/>
                  </a:lnTo>
                  <a:lnTo>
                    <a:pt x="95" y="129"/>
                  </a:lnTo>
                  <a:lnTo>
                    <a:pt x="89" y="133"/>
                  </a:lnTo>
                  <a:lnTo>
                    <a:pt x="87" y="136"/>
                  </a:lnTo>
                  <a:lnTo>
                    <a:pt x="86" y="148"/>
                  </a:lnTo>
                  <a:lnTo>
                    <a:pt x="84" y="149"/>
                  </a:lnTo>
                  <a:lnTo>
                    <a:pt x="78" y="148"/>
                  </a:lnTo>
                  <a:lnTo>
                    <a:pt x="77" y="152"/>
                  </a:lnTo>
                  <a:lnTo>
                    <a:pt x="75" y="153"/>
                  </a:lnTo>
                  <a:lnTo>
                    <a:pt x="62" y="159"/>
                  </a:lnTo>
                  <a:lnTo>
                    <a:pt x="54" y="171"/>
                  </a:lnTo>
                  <a:lnTo>
                    <a:pt x="47" y="171"/>
                  </a:lnTo>
                  <a:lnTo>
                    <a:pt x="42" y="172"/>
                  </a:lnTo>
                  <a:lnTo>
                    <a:pt x="39" y="177"/>
                  </a:lnTo>
                  <a:lnTo>
                    <a:pt x="35" y="178"/>
                  </a:lnTo>
                  <a:lnTo>
                    <a:pt x="33" y="177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08" name="Freeform 415"/>
            <p:cNvSpPr>
              <a:spLocks/>
            </p:cNvSpPr>
            <p:nvPr/>
          </p:nvSpPr>
          <p:spPr bwMode="auto">
            <a:xfrm>
              <a:off x="6084147" y="3468359"/>
              <a:ext cx="657173" cy="643732"/>
            </a:xfrm>
            <a:custGeom>
              <a:avLst/>
              <a:gdLst>
                <a:gd name="T0" fmla="*/ 23 w 304"/>
                <a:gd name="T1" fmla="*/ 147 h 315"/>
                <a:gd name="T2" fmla="*/ 26 w 304"/>
                <a:gd name="T3" fmla="*/ 138 h 315"/>
                <a:gd name="T4" fmla="*/ 35 w 304"/>
                <a:gd name="T5" fmla="*/ 139 h 315"/>
                <a:gd name="T6" fmla="*/ 34 w 304"/>
                <a:gd name="T7" fmla="*/ 146 h 315"/>
                <a:gd name="T8" fmla="*/ 39 w 304"/>
                <a:gd name="T9" fmla="*/ 149 h 315"/>
                <a:gd name="T10" fmla="*/ 42 w 304"/>
                <a:gd name="T11" fmla="*/ 145 h 315"/>
                <a:gd name="T12" fmla="*/ 46 w 304"/>
                <a:gd name="T13" fmla="*/ 148 h 315"/>
                <a:gd name="T14" fmla="*/ 48 w 304"/>
                <a:gd name="T15" fmla="*/ 144 h 315"/>
                <a:gd name="T16" fmla="*/ 49 w 304"/>
                <a:gd name="T17" fmla="*/ 140 h 315"/>
                <a:gd name="T18" fmla="*/ 55 w 304"/>
                <a:gd name="T19" fmla="*/ 135 h 315"/>
                <a:gd name="T20" fmla="*/ 63 w 304"/>
                <a:gd name="T21" fmla="*/ 130 h 315"/>
                <a:gd name="T22" fmla="*/ 67 w 304"/>
                <a:gd name="T23" fmla="*/ 134 h 315"/>
                <a:gd name="T24" fmla="*/ 67 w 304"/>
                <a:gd name="T25" fmla="*/ 139 h 315"/>
                <a:gd name="T26" fmla="*/ 69 w 304"/>
                <a:gd name="T27" fmla="*/ 142 h 315"/>
                <a:gd name="T28" fmla="*/ 74 w 304"/>
                <a:gd name="T29" fmla="*/ 146 h 315"/>
                <a:gd name="T30" fmla="*/ 71 w 304"/>
                <a:gd name="T31" fmla="*/ 152 h 315"/>
                <a:gd name="T32" fmla="*/ 73 w 304"/>
                <a:gd name="T33" fmla="*/ 156 h 315"/>
                <a:gd name="T34" fmla="*/ 80 w 304"/>
                <a:gd name="T35" fmla="*/ 154 h 315"/>
                <a:gd name="T36" fmla="*/ 85 w 304"/>
                <a:gd name="T37" fmla="*/ 148 h 315"/>
                <a:gd name="T38" fmla="*/ 88 w 304"/>
                <a:gd name="T39" fmla="*/ 143 h 315"/>
                <a:gd name="T40" fmla="*/ 95 w 304"/>
                <a:gd name="T41" fmla="*/ 139 h 315"/>
                <a:gd name="T42" fmla="*/ 103 w 304"/>
                <a:gd name="T43" fmla="*/ 145 h 315"/>
                <a:gd name="T44" fmla="*/ 105 w 304"/>
                <a:gd name="T45" fmla="*/ 138 h 315"/>
                <a:gd name="T46" fmla="*/ 102 w 304"/>
                <a:gd name="T47" fmla="*/ 121 h 315"/>
                <a:gd name="T48" fmla="*/ 107 w 304"/>
                <a:gd name="T49" fmla="*/ 107 h 315"/>
                <a:gd name="T50" fmla="*/ 106 w 304"/>
                <a:gd name="T51" fmla="*/ 102 h 315"/>
                <a:gd name="T52" fmla="*/ 113 w 304"/>
                <a:gd name="T53" fmla="*/ 99 h 315"/>
                <a:gd name="T54" fmla="*/ 118 w 304"/>
                <a:gd name="T55" fmla="*/ 97 h 315"/>
                <a:gd name="T56" fmla="*/ 128 w 304"/>
                <a:gd name="T57" fmla="*/ 96 h 315"/>
                <a:gd name="T58" fmla="*/ 128 w 304"/>
                <a:gd name="T59" fmla="*/ 83 h 315"/>
                <a:gd name="T60" fmla="*/ 133 w 304"/>
                <a:gd name="T61" fmla="*/ 77 h 315"/>
                <a:gd name="T62" fmla="*/ 136 w 304"/>
                <a:gd name="T63" fmla="*/ 65 h 315"/>
                <a:gd name="T64" fmla="*/ 134 w 304"/>
                <a:gd name="T65" fmla="*/ 55 h 315"/>
                <a:gd name="T66" fmla="*/ 138 w 304"/>
                <a:gd name="T67" fmla="*/ 46 h 315"/>
                <a:gd name="T68" fmla="*/ 138 w 304"/>
                <a:gd name="T69" fmla="*/ 42 h 315"/>
                <a:gd name="T70" fmla="*/ 142 w 304"/>
                <a:gd name="T71" fmla="*/ 36 h 315"/>
                <a:gd name="T72" fmla="*/ 151 w 304"/>
                <a:gd name="T73" fmla="*/ 28 h 315"/>
                <a:gd name="T74" fmla="*/ 148 w 304"/>
                <a:gd name="T75" fmla="*/ 19 h 315"/>
                <a:gd name="T76" fmla="*/ 143 w 304"/>
                <a:gd name="T77" fmla="*/ 18 h 315"/>
                <a:gd name="T78" fmla="*/ 142 w 304"/>
                <a:gd name="T79" fmla="*/ 13 h 315"/>
                <a:gd name="T80" fmla="*/ 140 w 304"/>
                <a:gd name="T81" fmla="*/ 5 h 315"/>
                <a:gd name="T82" fmla="*/ 130 w 304"/>
                <a:gd name="T83" fmla="*/ 6 h 315"/>
                <a:gd name="T84" fmla="*/ 125 w 304"/>
                <a:gd name="T85" fmla="*/ 22 h 315"/>
                <a:gd name="T86" fmla="*/ 110 w 304"/>
                <a:gd name="T87" fmla="*/ 52 h 315"/>
                <a:gd name="T88" fmla="*/ 97 w 304"/>
                <a:gd name="T89" fmla="*/ 57 h 315"/>
                <a:gd name="T90" fmla="*/ 81 w 304"/>
                <a:gd name="T91" fmla="*/ 69 h 315"/>
                <a:gd name="T92" fmla="*/ 71 w 304"/>
                <a:gd name="T93" fmla="*/ 91 h 315"/>
                <a:gd name="T94" fmla="*/ 49 w 304"/>
                <a:gd name="T95" fmla="*/ 112 h 315"/>
                <a:gd name="T96" fmla="*/ 31 w 304"/>
                <a:gd name="T97" fmla="*/ 118 h 315"/>
                <a:gd name="T98" fmla="*/ 2 w 304"/>
                <a:gd name="T99" fmla="*/ 135 h 315"/>
                <a:gd name="T100" fmla="*/ 0 w 304"/>
                <a:gd name="T101" fmla="*/ 139 h 315"/>
                <a:gd name="T102" fmla="*/ 1 w 304"/>
                <a:gd name="T103" fmla="*/ 142 h 315"/>
                <a:gd name="T104" fmla="*/ 2 w 304"/>
                <a:gd name="T105" fmla="*/ 146 h 315"/>
                <a:gd name="T106" fmla="*/ 2 w 304"/>
                <a:gd name="T107" fmla="*/ 155 h 31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04" h="315">
                  <a:moveTo>
                    <a:pt x="4" y="309"/>
                  </a:moveTo>
                  <a:lnTo>
                    <a:pt x="33" y="301"/>
                  </a:lnTo>
                  <a:lnTo>
                    <a:pt x="46" y="293"/>
                  </a:lnTo>
                  <a:lnTo>
                    <a:pt x="51" y="285"/>
                  </a:lnTo>
                  <a:lnTo>
                    <a:pt x="52" y="278"/>
                  </a:lnTo>
                  <a:lnTo>
                    <a:pt x="53" y="275"/>
                  </a:lnTo>
                  <a:lnTo>
                    <a:pt x="59" y="274"/>
                  </a:lnTo>
                  <a:lnTo>
                    <a:pt x="65" y="275"/>
                  </a:lnTo>
                  <a:lnTo>
                    <a:pt x="70" y="278"/>
                  </a:lnTo>
                  <a:lnTo>
                    <a:pt x="71" y="280"/>
                  </a:lnTo>
                  <a:lnTo>
                    <a:pt x="70" y="289"/>
                  </a:lnTo>
                  <a:lnTo>
                    <a:pt x="69" y="292"/>
                  </a:lnTo>
                  <a:lnTo>
                    <a:pt x="70" y="296"/>
                  </a:lnTo>
                  <a:lnTo>
                    <a:pt x="77" y="302"/>
                  </a:lnTo>
                  <a:lnTo>
                    <a:pt x="79" y="298"/>
                  </a:lnTo>
                  <a:lnTo>
                    <a:pt x="81" y="296"/>
                  </a:lnTo>
                  <a:lnTo>
                    <a:pt x="83" y="291"/>
                  </a:lnTo>
                  <a:lnTo>
                    <a:pt x="84" y="289"/>
                  </a:lnTo>
                  <a:lnTo>
                    <a:pt x="91" y="289"/>
                  </a:lnTo>
                  <a:lnTo>
                    <a:pt x="93" y="292"/>
                  </a:lnTo>
                  <a:lnTo>
                    <a:pt x="93" y="296"/>
                  </a:lnTo>
                  <a:lnTo>
                    <a:pt x="93" y="297"/>
                  </a:lnTo>
                  <a:lnTo>
                    <a:pt x="96" y="291"/>
                  </a:lnTo>
                  <a:lnTo>
                    <a:pt x="97" y="287"/>
                  </a:lnTo>
                  <a:lnTo>
                    <a:pt x="97" y="284"/>
                  </a:lnTo>
                  <a:lnTo>
                    <a:pt x="100" y="281"/>
                  </a:lnTo>
                  <a:lnTo>
                    <a:pt x="99" y="279"/>
                  </a:lnTo>
                  <a:lnTo>
                    <a:pt x="100" y="277"/>
                  </a:lnTo>
                  <a:lnTo>
                    <a:pt x="101" y="275"/>
                  </a:lnTo>
                  <a:lnTo>
                    <a:pt x="111" y="269"/>
                  </a:lnTo>
                  <a:lnTo>
                    <a:pt x="113" y="266"/>
                  </a:lnTo>
                  <a:lnTo>
                    <a:pt x="118" y="260"/>
                  </a:lnTo>
                  <a:lnTo>
                    <a:pt x="126" y="260"/>
                  </a:lnTo>
                  <a:lnTo>
                    <a:pt x="133" y="263"/>
                  </a:lnTo>
                  <a:lnTo>
                    <a:pt x="133" y="266"/>
                  </a:lnTo>
                  <a:lnTo>
                    <a:pt x="135" y="268"/>
                  </a:lnTo>
                  <a:lnTo>
                    <a:pt x="135" y="272"/>
                  </a:lnTo>
                  <a:lnTo>
                    <a:pt x="133" y="274"/>
                  </a:lnTo>
                  <a:lnTo>
                    <a:pt x="135" y="277"/>
                  </a:lnTo>
                  <a:lnTo>
                    <a:pt x="137" y="279"/>
                  </a:lnTo>
                  <a:lnTo>
                    <a:pt x="138" y="280"/>
                  </a:lnTo>
                  <a:lnTo>
                    <a:pt x="139" y="284"/>
                  </a:lnTo>
                  <a:lnTo>
                    <a:pt x="142" y="286"/>
                  </a:lnTo>
                  <a:lnTo>
                    <a:pt x="147" y="289"/>
                  </a:lnTo>
                  <a:lnTo>
                    <a:pt x="148" y="292"/>
                  </a:lnTo>
                  <a:lnTo>
                    <a:pt x="147" y="299"/>
                  </a:lnTo>
                  <a:lnTo>
                    <a:pt x="145" y="302"/>
                  </a:lnTo>
                  <a:lnTo>
                    <a:pt x="143" y="304"/>
                  </a:lnTo>
                  <a:lnTo>
                    <a:pt x="143" y="305"/>
                  </a:lnTo>
                  <a:lnTo>
                    <a:pt x="147" y="309"/>
                  </a:lnTo>
                  <a:lnTo>
                    <a:pt x="147" y="311"/>
                  </a:lnTo>
                  <a:lnTo>
                    <a:pt x="154" y="315"/>
                  </a:lnTo>
                  <a:lnTo>
                    <a:pt x="161" y="314"/>
                  </a:lnTo>
                  <a:lnTo>
                    <a:pt x="162" y="307"/>
                  </a:lnTo>
                  <a:lnTo>
                    <a:pt x="171" y="303"/>
                  </a:lnTo>
                  <a:lnTo>
                    <a:pt x="172" y="298"/>
                  </a:lnTo>
                  <a:lnTo>
                    <a:pt x="171" y="295"/>
                  </a:lnTo>
                  <a:lnTo>
                    <a:pt x="178" y="295"/>
                  </a:lnTo>
                  <a:lnTo>
                    <a:pt x="178" y="290"/>
                  </a:lnTo>
                  <a:lnTo>
                    <a:pt x="177" y="285"/>
                  </a:lnTo>
                  <a:lnTo>
                    <a:pt x="179" y="279"/>
                  </a:lnTo>
                  <a:lnTo>
                    <a:pt x="187" y="280"/>
                  </a:lnTo>
                  <a:lnTo>
                    <a:pt x="191" y="278"/>
                  </a:lnTo>
                  <a:lnTo>
                    <a:pt x="197" y="271"/>
                  </a:lnTo>
                  <a:lnTo>
                    <a:pt x="203" y="283"/>
                  </a:lnTo>
                  <a:lnTo>
                    <a:pt x="208" y="289"/>
                  </a:lnTo>
                  <a:lnTo>
                    <a:pt x="209" y="291"/>
                  </a:lnTo>
                  <a:lnTo>
                    <a:pt x="211" y="284"/>
                  </a:lnTo>
                  <a:lnTo>
                    <a:pt x="211" y="275"/>
                  </a:lnTo>
                  <a:lnTo>
                    <a:pt x="211" y="265"/>
                  </a:lnTo>
                  <a:lnTo>
                    <a:pt x="213" y="248"/>
                  </a:lnTo>
                  <a:lnTo>
                    <a:pt x="205" y="241"/>
                  </a:lnTo>
                  <a:lnTo>
                    <a:pt x="207" y="235"/>
                  </a:lnTo>
                  <a:lnTo>
                    <a:pt x="215" y="218"/>
                  </a:lnTo>
                  <a:lnTo>
                    <a:pt x="216" y="213"/>
                  </a:lnTo>
                  <a:lnTo>
                    <a:pt x="216" y="210"/>
                  </a:lnTo>
                  <a:lnTo>
                    <a:pt x="214" y="205"/>
                  </a:lnTo>
                  <a:lnTo>
                    <a:pt x="213" y="204"/>
                  </a:lnTo>
                  <a:lnTo>
                    <a:pt x="214" y="201"/>
                  </a:lnTo>
                  <a:lnTo>
                    <a:pt x="217" y="199"/>
                  </a:lnTo>
                  <a:lnTo>
                    <a:pt x="228" y="198"/>
                  </a:lnTo>
                  <a:lnTo>
                    <a:pt x="233" y="198"/>
                  </a:lnTo>
                  <a:lnTo>
                    <a:pt x="237" y="199"/>
                  </a:lnTo>
                  <a:lnTo>
                    <a:pt x="238" y="193"/>
                  </a:lnTo>
                  <a:lnTo>
                    <a:pt x="240" y="190"/>
                  </a:lnTo>
                  <a:lnTo>
                    <a:pt x="249" y="193"/>
                  </a:lnTo>
                  <a:lnTo>
                    <a:pt x="257" y="192"/>
                  </a:lnTo>
                  <a:lnTo>
                    <a:pt x="258" y="188"/>
                  </a:lnTo>
                  <a:lnTo>
                    <a:pt x="255" y="171"/>
                  </a:lnTo>
                  <a:lnTo>
                    <a:pt x="257" y="166"/>
                  </a:lnTo>
                  <a:lnTo>
                    <a:pt x="262" y="164"/>
                  </a:lnTo>
                  <a:lnTo>
                    <a:pt x="264" y="158"/>
                  </a:lnTo>
                  <a:lnTo>
                    <a:pt x="267" y="153"/>
                  </a:lnTo>
                  <a:lnTo>
                    <a:pt x="277" y="136"/>
                  </a:lnTo>
                  <a:lnTo>
                    <a:pt x="277" y="134"/>
                  </a:lnTo>
                  <a:lnTo>
                    <a:pt x="274" y="130"/>
                  </a:lnTo>
                  <a:lnTo>
                    <a:pt x="269" y="126"/>
                  </a:lnTo>
                  <a:lnTo>
                    <a:pt x="268" y="122"/>
                  </a:lnTo>
                  <a:lnTo>
                    <a:pt x="269" y="110"/>
                  </a:lnTo>
                  <a:lnTo>
                    <a:pt x="271" y="105"/>
                  </a:lnTo>
                  <a:lnTo>
                    <a:pt x="276" y="95"/>
                  </a:lnTo>
                  <a:lnTo>
                    <a:pt x="277" y="91"/>
                  </a:lnTo>
                  <a:lnTo>
                    <a:pt x="276" y="89"/>
                  </a:lnTo>
                  <a:lnTo>
                    <a:pt x="275" y="85"/>
                  </a:lnTo>
                  <a:lnTo>
                    <a:pt x="277" y="83"/>
                  </a:lnTo>
                  <a:lnTo>
                    <a:pt x="279" y="73"/>
                  </a:lnTo>
                  <a:lnTo>
                    <a:pt x="280" y="71"/>
                  </a:lnTo>
                  <a:lnTo>
                    <a:pt x="285" y="71"/>
                  </a:lnTo>
                  <a:lnTo>
                    <a:pt x="289" y="68"/>
                  </a:lnTo>
                  <a:lnTo>
                    <a:pt x="295" y="66"/>
                  </a:lnTo>
                  <a:lnTo>
                    <a:pt x="303" y="56"/>
                  </a:lnTo>
                  <a:lnTo>
                    <a:pt x="304" y="51"/>
                  </a:lnTo>
                  <a:lnTo>
                    <a:pt x="300" y="47"/>
                  </a:lnTo>
                  <a:lnTo>
                    <a:pt x="297" y="38"/>
                  </a:lnTo>
                  <a:lnTo>
                    <a:pt x="292" y="38"/>
                  </a:lnTo>
                  <a:lnTo>
                    <a:pt x="289" y="37"/>
                  </a:lnTo>
                  <a:lnTo>
                    <a:pt x="287" y="36"/>
                  </a:lnTo>
                  <a:lnTo>
                    <a:pt x="285" y="33"/>
                  </a:lnTo>
                  <a:lnTo>
                    <a:pt x="283" y="30"/>
                  </a:lnTo>
                  <a:lnTo>
                    <a:pt x="285" y="25"/>
                  </a:lnTo>
                  <a:lnTo>
                    <a:pt x="287" y="18"/>
                  </a:lnTo>
                  <a:lnTo>
                    <a:pt x="286" y="13"/>
                  </a:lnTo>
                  <a:lnTo>
                    <a:pt x="281" y="9"/>
                  </a:lnTo>
                  <a:lnTo>
                    <a:pt x="274" y="7"/>
                  </a:lnTo>
                  <a:lnTo>
                    <a:pt x="265" y="0"/>
                  </a:lnTo>
                  <a:lnTo>
                    <a:pt x="261" y="11"/>
                  </a:lnTo>
                  <a:lnTo>
                    <a:pt x="257" y="25"/>
                  </a:lnTo>
                  <a:lnTo>
                    <a:pt x="252" y="36"/>
                  </a:lnTo>
                  <a:lnTo>
                    <a:pt x="251" y="44"/>
                  </a:lnTo>
                  <a:lnTo>
                    <a:pt x="243" y="75"/>
                  </a:lnTo>
                  <a:lnTo>
                    <a:pt x="234" y="91"/>
                  </a:lnTo>
                  <a:lnTo>
                    <a:pt x="221" y="104"/>
                  </a:lnTo>
                  <a:lnTo>
                    <a:pt x="210" y="109"/>
                  </a:lnTo>
                  <a:lnTo>
                    <a:pt x="203" y="111"/>
                  </a:lnTo>
                  <a:lnTo>
                    <a:pt x="196" y="113"/>
                  </a:lnTo>
                  <a:lnTo>
                    <a:pt x="191" y="115"/>
                  </a:lnTo>
                  <a:lnTo>
                    <a:pt x="178" y="125"/>
                  </a:lnTo>
                  <a:lnTo>
                    <a:pt x="163" y="138"/>
                  </a:lnTo>
                  <a:lnTo>
                    <a:pt x="157" y="154"/>
                  </a:lnTo>
                  <a:lnTo>
                    <a:pt x="153" y="166"/>
                  </a:lnTo>
                  <a:lnTo>
                    <a:pt x="143" y="182"/>
                  </a:lnTo>
                  <a:lnTo>
                    <a:pt x="132" y="196"/>
                  </a:lnTo>
                  <a:lnTo>
                    <a:pt x="118" y="210"/>
                  </a:lnTo>
                  <a:lnTo>
                    <a:pt x="99" y="224"/>
                  </a:lnTo>
                  <a:lnTo>
                    <a:pt x="87" y="232"/>
                  </a:lnTo>
                  <a:lnTo>
                    <a:pt x="75" y="236"/>
                  </a:lnTo>
                  <a:lnTo>
                    <a:pt x="63" y="236"/>
                  </a:lnTo>
                  <a:lnTo>
                    <a:pt x="43" y="250"/>
                  </a:lnTo>
                  <a:lnTo>
                    <a:pt x="24" y="260"/>
                  </a:lnTo>
                  <a:lnTo>
                    <a:pt x="4" y="269"/>
                  </a:lnTo>
                  <a:lnTo>
                    <a:pt x="0" y="271"/>
                  </a:lnTo>
                  <a:lnTo>
                    <a:pt x="0" y="275"/>
                  </a:lnTo>
                  <a:lnTo>
                    <a:pt x="1" y="277"/>
                  </a:lnTo>
                  <a:lnTo>
                    <a:pt x="3" y="279"/>
                  </a:lnTo>
                  <a:lnTo>
                    <a:pt x="4" y="281"/>
                  </a:lnTo>
                  <a:lnTo>
                    <a:pt x="3" y="283"/>
                  </a:lnTo>
                  <a:lnTo>
                    <a:pt x="3" y="286"/>
                  </a:lnTo>
                  <a:lnTo>
                    <a:pt x="3" y="290"/>
                  </a:lnTo>
                  <a:lnTo>
                    <a:pt x="4" y="292"/>
                  </a:lnTo>
                  <a:lnTo>
                    <a:pt x="6" y="299"/>
                  </a:lnTo>
                  <a:lnTo>
                    <a:pt x="5" y="305"/>
                  </a:lnTo>
                  <a:lnTo>
                    <a:pt x="4" y="309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09" name="Freeform 416"/>
            <p:cNvSpPr>
              <a:spLocks/>
            </p:cNvSpPr>
            <p:nvPr/>
          </p:nvSpPr>
          <p:spPr bwMode="auto">
            <a:xfrm>
              <a:off x="6258233" y="3566141"/>
              <a:ext cx="104451" cy="191490"/>
            </a:xfrm>
            <a:custGeom>
              <a:avLst/>
              <a:gdLst>
                <a:gd name="T0" fmla="*/ 21 w 48"/>
                <a:gd name="T1" fmla="*/ 32 h 93"/>
                <a:gd name="T2" fmla="*/ 19 w 48"/>
                <a:gd name="T3" fmla="*/ 34 h 93"/>
                <a:gd name="T4" fmla="*/ 17 w 48"/>
                <a:gd name="T5" fmla="*/ 38 h 93"/>
                <a:gd name="T6" fmla="*/ 15 w 48"/>
                <a:gd name="T7" fmla="*/ 41 h 93"/>
                <a:gd name="T8" fmla="*/ 10 w 48"/>
                <a:gd name="T9" fmla="*/ 44 h 93"/>
                <a:gd name="T10" fmla="*/ 8 w 48"/>
                <a:gd name="T11" fmla="*/ 46 h 93"/>
                <a:gd name="T12" fmla="*/ 4 w 48"/>
                <a:gd name="T13" fmla="*/ 47 h 93"/>
                <a:gd name="T14" fmla="*/ 2 w 48"/>
                <a:gd name="T15" fmla="*/ 46 h 93"/>
                <a:gd name="T16" fmla="*/ 1 w 48"/>
                <a:gd name="T17" fmla="*/ 44 h 93"/>
                <a:gd name="T18" fmla="*/ 1 w 48"/>
                <a:gd name="T19" fmla="*/ 41 h 93"/>
                <a:gd name="T20" fmla="*/ 2 w 48"/>
                <a:gd name="T21" fmla="*/ 38 h 93"/>
                <a:gd name="T22" fmla="*/ 3 w 48"/>
                <a:gd name="T23" fmla="*/ 35 h 93"/>
                <a:gd name="T24" fmla="*/ 5 w 48"/>
                <a:gd name="T25" fmla="*/ 34 h 93"/>
                <a:gd name="T26" fmla="*/ 7 w 48"/>
                <a:gd name="T27" fmla="*/ 32 h 93"/>
                <a:gd name="T28" fmla="*/ 7 w 48"/>
                <a:gd name="T29" fmla="*/ 30 h 93"/>
                <a:gd name="T30" fmla="*/ 7 w 48"/>
                <a:gd name="T31" fmla="*/ 29 h 93"/>
                <a:gd name="T32" fmla="*/ 5 w 48"/>
                <a:gd name="T33" fmla="*/ 29 h 93"/>
                <a:gd name="T34" fmla="*/ 2 w 48"/>
                <a:gd name="T35" fmla="*/ 31 h 93"/>
                <a:gd name="T36" fmla="*/ 2 w 48"/>
                <a:gd name="T37" fmla="*/ 32 h 93"/>
                <a:gd name="T38" fmla="*/ 1 w 48"/>
                <a:gd name="T39" fmla="*/ 32 h 93"/>
                <a:gd name="T40" fmla="*/ 1 w 48"/>
                <a:gd name="T41" fmla="*/ 29 h 93"/>
                <a:gd name="T42" fmla="*/ 1 w 48"/>
                <a:gd name="T43" fmla="*/ 26 h 93"/>
                <a:gd name="T44" fmla="*/ 2 w 48"/>
                <a:gd name="T45" fmla="*/ 23 h 93"/>
                <a:gd name="T46" fmla="*/ 5 w 48"/>
                <a:gd name="T47" fmla="*/ 17 h 93"/>
                <a:gd name="T48" fmla="*/ 8 w 48"/>
                <a:gd name="T49" fmla="*/ 13 h 93"/>
                <a:gd name="T50" fmla="*/ 11 w 48"/>
                <a:gd name="T51" fmla="*/ 9 h 93"/>
                <a:gd name="T52" fmla="*/ 14 w 48"/>
                <a:gd name="T53" fmla="*/ 4 h 93"/>
                <a:gd name="T54" fmla="*/ 16 w 48"/>
                <a:gd name="T55" fmla="*/ 2 h 93"/>
                <a:gd name="T56" fmla="*/ 18 w 48"/>
                <a:gd name="T57" fmla="*/ 1 h 93"/>
                <a:gd name="T58" fmla="*/ 19 w 48"/>
                <a:gd name="T59" fmla="*/ 0 h 93"/>
                <a:gd name="T60" fmla="*/ 20 w 48"/>
                <a:gd name="T61" fmla="*/ 0 h 93"/>
                <a:gd name="T62" fmla="*/ 21 w 48"/>
                <a:gd name="T63" fmla="*/ 1 h 93"/>
                <a:gd name="T64" fmla="*/ 22 w 48"/>
                <a:gd name="T65" fmla="*/ 3 h 93"/>
                <a:gd name="T66" fmla="*/ 22 w 48"/>
                <a:gd name="T67" fmla="*/ 5 h 93"/>
                <a:gd name="T68" fmla="*/ 20 w 48"/>
                <a:gd name="T69" fmla="*/ 10 h 93"/>
                <a:gd name="T70" fmla="*/ 19 w 48"/>
                <a:gd name="T71" fmla="*/ 16 h 93"/>
                <a:gd name="T72" fmla="*/ 19 w 48"/>
                <a:gd name="T73" fmla="*/ 17 h 93"/>
                <a:gd name="T74" fmla="*/ 20 w 48"/>
                <a:gd name="T75" fmla="*/ 19 h 93"/>
                <a:gd name="T76" fmla="*/ 23 w 48"/>
                <a:gd name="T77" fmla="*/ 20 h 93"/>
                <a:gd name="T78" fmla="*/ 24 w 48"/>
                <a:gd name="T79" fmla="*/ 23 h 93"/>
                <a:gd name="T80" fmla="*/ 22 w 48"/>
                <a:gd name="T81" fmla="*/ 30 h 9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48" h="93">
                  <a:moveTo>
                    <a:pt x="44" y="60"/>
                  </a:moveTo>
                  <a:lnTo>
                    <a:pt x="42" y="63"/>
                  </a:lnTo>
                  <a:lnTo>
                    <a:pt x="39" y="66"/>
                  </a:lnTo>
                  <a:lnTo>
                    <a:pt x="38" y="68"/>
                  </a:lnTo>
                  <a:lnTo>
                    <a:pt x="36" y="72"/>
                  </a:lnTo>
                  <a:lnTo>
                    <a:pt x="34" y="75"/>
                  </a:lnTo>
                  <a:lnTo>
                    <a:pt x="32" y="79"/>
                  </a:lnTo>
                  <a:lnTo>
                    <a:pt x="30" y="81"/>
                  </a:lnTo>
                  <a:lnTo>
                    <a:pt x="25" y="86"/>
                  </a:lnTo>
                  <a:lnTo>
                    <a:pt x="20" y="88"/>
                  </a:lnTo>
                  <a:lnTo>
                    <a:pt x="18" y="89"/>
                  </a:lnTo>
                  <a:lnTo>
                    <a:pt x="15" y="92"/>
                  </a:lnTo>
                  <a:lnTo>
                    <a:pt x="10" y="92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4" y="92"/>
                  </a:lnTo>
                  <a:lnTo>
                    <a:pt x="2" y="89"/>
                  </a:lnTo>
                  <a:lnTo>
                    <a:pt x="1" y="87"/>
                  </a:lnTo>
                  <a:lnTo>
                    <a:pt x="0" y="83"/>
                  </a:lnTo>
                  <a:lnTo>
                    <a:pt x="1" y="81"/>
                  </a:lnTo>
                  <a:lnTo>
                    <a:pt x="2" y="79"/>
                  </a:lnTo>
                  <a:lnTo>
                    <a:pt x="3" y="75"/>
                  </a:lnTo>
                  <a:lnTo>
                    <a:pt x="4" y="72"/>
                  </a:lnTo>
                  <a:lnTo>
                    <a:pt x="6" y="70"/>
                  </a:lnTo>
                  <a:lnTo>
                    <a:pt x="8" y="69"/>
                  </a:lnTo>
                  <a:lnTo>
                    <a:pt x="9" y="67"/>
                  </a:lnTo>
                  <a:lnTo>
                    <a:pt x="12" y="66"/>
                  </a:lnTo>
                  <a:lnTo>
                    <a:pt x="14" y="63"/>
                  </a:lnTo>
                  <a:lnTo>
                    <a:pt x="14" y="61"/>
                  </a:lnTo>
                  <a:lnTo>
                    <a:pt x="14" y="60"/>
                  </a:lnTo>
                  <a:lnTo>
                    <a:pt x="14" y="58"/>
                  </a:lnTo>
                  <a:lnTo>
                    <a:pt x="13" y="58"/>
                  </a:lnTo>
                  <a:lnTo>
                    <a:pt x="12" y="58"/>
                  </a:lnTo>
                  <a:lnTo>
                    <a:pt x="9" y="58"/>
                  </a:lnTo>
                  <a:lnTo>
                    <a:pt x="8" y="60"/>
                  </a:lnTo>
                  <a:lnTo>
                    <a:pt x="4" y="61"/>
                  </a:lnTo>
                  <a:lnTo>
                    <a:pt x="4" y="63"/>
                  </a:lnTo>
                  <a:lnTo>
                    <a:pt x="3" y="64"/>
                  </a:lnTo>
                  <a:lnTo>
                    <a:pt x="2" y="64"/>
                  </a:lnTo>
                  <a:lnTo>
                    <a:pt x="2" y="63"/>
                  </a:lnTo>
                  <a:lnTo>
                    <a:pt x="1" y="61"/>
                  </a:lnTo>
                  <a:lnTo>
                    <a:pt x="1" y="58"/>
                  </a:lnTo>
                  <a:lnTo>
                    <a:pt x="1" y="55"/>
                  </a:lnTo>
                  <a:lnTo>
                    <a:pt x="2" y="52"/>
                  </a:lnTo>
                  <a:lnTo>
                    <a:pt x="2" y="49"/>
                  </a:lnTo>
                  <a:lnTo>
                    <a:pt x="4" y="45"/>
                  </a:lnTo>
                  <a:lnTo>
                    <a:pt x="7" y="40"/>
                  </a:lnTo>
                  <a:lnTo>
                    <a:pt x="9" y="34"/>
                  </a:lnTo>
                  <a:lnTo>
                    <a:pt x="13" y="28"/>
                  </a:lnTo>
                  <a:lnTo>
                    <a:pt x="16" y="25"/>
                  </a:lnTo>
                  <a:lnTo>
                    <a:pt x="19" y="21"/>
                  </a:lnTo>
                  <a:lnTo>
                    <a:pt x="21" y="18"/>
                  </a:lnTo>
                  <a:lnTo>
                    <a:pt x="25" y="13"/>
                  </a:lnTo>
                  <a:lnTo>
                    <a:pt x="28" y="8"/>
                  </a:lnTo>
                  <a:lnTo>
                    <a:pt x="30" y="7"/>
                  </a:lnTo>
                  <a:lnTo>
                    <a:pt x="31" y="4"/>
                  </a:lnTo>
                  <a:lnTo>
                    <a:pt x="33" y="3"/>
                  </a:lnTo>
                  <a:lnTo>
                    <a:pt x="36" y="2"/>
                  </a:lnTo>
                  <a:lnTo>
                    <a:pt x="37" y="1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40" y="0"/>
                  </a:lnTo>
                  <a:lnTo>
                    <a:pt x="40" y="1"/>
                  </a:lnTo>
                  <a:lnTo>
                    <a:pt x="42" y="1"/>
                  </a:lnTo>
                  <a:lnTo>
                    <a:pt x="43" y="3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3" y="15"/>
                  </a:lnTo>
                  <a:lnTo>
                    <a:pt x="40" y="20"/>
                  </a:lnTo>
                  <a:lnTo>
                    <a:pt x="39" y="24"/>
                  </a:lnTo>
                  <a:lnTo>
                    <a:pt x="38" y="31"/>
                  </a:lnTo>
                  <a:lnTo>
                    <a:pt x="38" y="32"/>
                  </a:lnTo>
                  <a:lnTo>
                    <a:pt x="38" y="34"/>
                  </a:lnTo>
                  <a:lnTo>
                    <a:pt x="38" y="36"/>
                  </a:lnTo>
                  <a:lnTo>
                    <a:pt x="40" y="37"/>
                  </a:lnTo>
                  <a:lnTo>
                    <a:pt x="43" y="39"/>
                  </a:lnTo>
                  <a:lnTo>
                    <a:pt x="45" y="40"/>
                  </a:lnTo>
                  <a:lnTo>
                    <a:pt x="48" y="43"/>
                  </a:lnTo>
                  <a:lnTo>
                    <a:pt x="48" y="46"/>
                  </a:lnTo>
                  <a:lnTo>
                    <a:pt x="45" y="51"/>
                  </a:lnTo>
                  <a:lnTo>
                    <a:pt x="44" y="60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10" name="Freeform 417"/>
            <p:cNvSpPr>
              <a:spLocks/>
            </p:cNvSpPr>
            <p:nvPr/>
          </p:nvSpPr>
          <p:spPr bwMode="auto">
            <a:xfrm>
              <a:off x="5805610" y="4022458"/>
              <a:ext cx="291593" cy="244455"/>
            </a:xfrm>
            <a:custGeom>
              <a:avLst/>
              <a:gdLst>
                <a:gd name="T0" fmla="*/ 1 w 133"/>
                <a:gd name="T1" fmla="*/ 59 h 121"/>
                <a:gd name="T2" fmla="*/ 0 w 133"/>
                <a:gd name="T3" fmla="*/ 56 h 121"/>
                <a:gd name="T4" fmla="*/ 1 w 133"/>
                <a:gd name="T5" fmla="*/ 48 h 121"/>
                <a:gd name="T6" fmla="*/ 3 w 133"/>
                <a:gd name="T7" fmla="*/ 42 h 121"/>
                <a:gd name="T8" fmla="*/ 4 w 133"/>
                <a:gd name="T9" fmla="*/ 37 h 121"/>
                <a:gd name="T10" fmla="*/ 4 w 133"/>
                <a:gd name="T11" fmla="*/ 33 h 121"/>
                <a:gd name="T12" fmla="*/ 7 w 133"/>
                <a:gd name="T13" fmla="*/ 27 h 121"/>
                <a:gd name="T14" fmla="*/ 6 w 133"/>
                <a:gd name="T15" fmla="*/ 21 h 121"/>
                <a:gd name="T16" fmla="*/ 8 w 133"/>
                <a:gd name="T17" fmla="*/ 18 h 121"/>
                <a:gd name="T18" fmla="*/ 9 w 133"/>
                <a:gd name="T19" fmla="*/ 13 h 121"/>
                <a:gd name="T20" fmla="*/ 12 w 133"/>
                <a:gd name="T21" fmla="*/ 6 h 121"/>
                <a:gd name="T22" fmla="*/ 15 w 133"/>
                <a:gd name="T23" fmla="*/ 3 h 121"/>
                <a:gd name="T24" fmla="*/ 19 w 133"/>
                <a:gd name="T25" fmla="*/ 1 h 121"/>
                <a:gd name="T26" fmla="*/ 22 w 133"/>
                <a:gd name="T27" fmla="*/ 1 h 121"/>
                <a:gd name="T28" fmla="*/ 22 w 133"/>
                <a:gd name="T29" fmla="*/ 6 h 121"/>
                <a:gd name="T30" fmla="*/ 22 w 133"/>
                <a:gd name="T31" fmla="*/ 10 h 121"/>
                <a:gd name="T32" fmla="*/ 33 w 133"/>
                <a:gd name="T33" fmla="*/ 15 h 121"/>
                <a:gd name="T34" fmla="*/ 44 w 133"/>
                <a:gd name="T35" fmla="*/ 14 h 121"/>
                <a:gd name="T36" fmla="*/ 46 w 133"/>
                <a:gd name="T37" fmla="*/ 4 h 121"/>
                <a:gd name="T38" fmla="*/ 55 w 133"/>
                <a:gd name="T39" fmla="*/ 1 h 121"/>
                <a:gd name="T40" fmla="*/ 64 w 133"/>
                <a:gd name="T41" fmla="*/ 2 h 121"/>
                <a:gd name="T42" fmla="*/ 65 w 133"/>
                <a:gd name="T43" fmla="*/ 4 h 121"/>
                <a:gd name="T44" fmla="*/ 65 w 133"/>
                <a:gd name="T45" fmla="*/ 6 h 121"/>
                <a:gd name="T46" fmla="*/ 65 w 133"/>
                <a:gd name="T47" fmla="*/ 9 h 121"/>
                <a:gd name="T48" fmla="*/ 67 w 133"/>
                <a:gd name="T49" fmla="*/ 14 h 121"/>
                <a:gd name="T50" fmla="*/ 66 w 133"/>
                <a:gd name="T51" fmla="*/ 19 h 121"/>
                <a:gd name="T52" fmla="*/ 66 w 133"/>
                <a:gd name="T53" fmla="*/ 23 h 121"/>
                <a:gd name="T54" fmla="*/ 65 w 133"/>
                <a:gd name="T55" fmla="*/ 28 h 121"/>
                <a:gd name="T56" fmla="*/ 64 w 133"/>
                <a:gd name="T57" fmla="*/ 34 h 121"/>
                <a:gd name="T58" fmla="*/ 61 w 133"/>
                <a:gd name="T59" fmla="*/ 37 h 121"/>
                <a:gd name="T60" fmla="*/ 61 w 133"/>
                <a:gd name="T61" fmla="*/ 41 h 121"/>
                <a:gd name="T62" fmla="*/ 58 w 133"/>
                <a:gd name="T63" fmla="*/ 46 h 121"/>
                <a:gd name="T64" fmla="*/ 57 w 133"/>
                <a:gd name="T65" fmla="*/ 49 h 121"/>
                <a:gd name="T66" fmla="*/ 54 w 133"/>
                <a:gd name="T67" fmla="*/ 52 h 121"/>
                <a:gd name="T68" fmla="*/ 52 w 133"/>
                <a:gd name="T69" fmla="*/ 52 h 121"/>
                <a:gd name="T70" fmla="*/ 51 w 133"/>
                <a:gd name="T71" fmla="*/ 49 h 121"/>
                <a:gd name="T72" fmla="*/ 48 w 133"/>
                <a:gd name="T73" fmla="*/ 49 h 121"/>
                <a:gd name="T74" fmla="*/ 45 w 133"/>
                <a:gd name="T75" fmla="*/ 49 h 121"/>
                <a:gd name="T76" fmla="*/ 43 w 133"/>
                <a:gd name="T77" fmla="*/ 46 h 121"/>
                <a:gd name="T78" fmla="*/ 39 w 133"/>
                <a:gd name="T79" fmla="*/ 47 h 121"/>
                <a:gd name="T80" fmla="*/ 37 w 133"/>
                <a:gd name="T81" fmla="*/ 45 h 121"/>
                <a:gd name="T82" fmla="*/ 33 w 133"/>
                <a:gd name="T83" fmla="*/ 45 h 121"/>
                <a:gd name="T84" fmla="*/ 29 w 133"/>
                <a:gd name="T85" fmla="*/ 43 h 121"/>
                <a:gd name="T86" fmla="*/ 26 w 133"/>
                <a:gd name="T87" fmla="*/ 46 h 121"/>
                <a:gd name="T88" fmla="*/ 22 w 133"/>
                <a:gd name="T89" fmla="*/ 49 h 121"/>
                <a:gd name="T90" fmla="*/ 21 w 133"/>
                <a:gd name="T91" fmla="*/ 53 h 121"/>
                <a:gd name="T92" fmla="*/ 18 w 133"/>
                <a:gd name="T93" fmla="*/ 58 h 121"/>
                <a:gd name="T94" fmla="*/ 16 w 133"/>
                <a:gd name="T95" fmla="*/ 58 h 121"/>
                <a:gd name="T96" fmla="*/ 15 w 133"/>
                <a:gd name="T97" fmla="*/ 55 h 121"/>
                <a:gd name="T98" fmla="*/ 10 w 133"/>
                <a:gd name="T99" fmla="*/ 52 h 121"/>
                <a:gd name="T100" fmla="*/ 7 w 133"/>
                <a:gd name="T101" fmla="*/ 55 h 121"/>
                <a:gd name="T102" fmla="*/ 4 w 133"/>
                <a:gd name="T103" fmla="*/ 56 h 121"/>
                <a:gd name="T104" fmla="*/ 1 w 133"/>
                <a:gd name="T105" fmla="*/ 60 h 12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33" h="121">
                  <a:moveTo>
                    <a:pt x="2" y="121"/>
                  </a:moveTo>
                  <a:lnTo>
                    <a:pt x="1" y="118"/>
                  </a:lnTo>
                  <a:lnTo>
                    <a:pt x="1" y="116"/>
                  </a:lnTo>
                  <a:lnTo>
                    <a:pt x="0" y="112"/>
                  </a:lnTo>
                  <a:lnTo>
                    <a:pt x="1" y="104"/>
                  </a:lnTo>
                  <a:lnTo>
                    <a:pt x="1" y="97"/>
                  </a:lnTo>
                  <a:lnTo>
                    <a:pt x="4" y="90"/>
                  </a:lnTo>
                  <a:lnTo>
                    <a:pt x="5" y="84"/>
                  </a:lnTo>
                  <a:lnTo>
                    <a:pt x="7" y="78"/>
                  </a:lnTo>
                  <a:lnTo>
                    <a:pt x="8" y="75"/>
                  </a:lnTo>
                  <a:lnTo>
                    <a:pt x="8" y="69"/>
                  </a:lnTo>
                  <a:lnTo>
                    <a:pt x="8" y="67"/>
                  </a:lnTo>
                  <a:lnTo>
                    <a:pt x="8" y="64"/>
                  </a:lnTo>
                  <a:lnTo>
                    <a:pt x="13" y="55"/>
                  </a:lnTo>
                  <a:lnTo>
                    <a:pt x="13" y="52"/>
                  </a:lnTo>
                  <a:lnTo>
                    <a:pt x="11" y="43"/>
                  </a:lnTo>
                  <a:lnTo>
                    <a:pt x="11" y="40"/>
                  </a:lnTo>
                  <a:lnTo>
                    <a:pt x="16" y="36"/>
                  </a:lnTo>
                  <a:lnTo>
                    <a:pt x="17" y="33"/>
                  </a:lnTo>
                  <a:lnTo>
                    <a:pt x="18" y="27"/>
                  </a:lnTo>
                  <a:lnTo>
                    <a:pt x="20" y="20"/>
                  </a:lnTo>
                  <a:lnTo>
                    <a:pt x="24" y="13"/>
                  </a:lnTo>
                  <a:lnTo>
                    <a:pt x="26" y="8"/>
                  </a:lnTo>
                  <a:lnTo>
                    <a:pt x="29" y="6"/>
                  </a:lnTo>
                  <a:lnTo>
                    <a:pt x="32" y="4"/>
                  </a:lnTo>
                  <a:lnTo>
                    <a:pt x="37" y="2"/>
                  </a:lnTo>
                  <a:lnTo>
                    <a:pt x="40" y="3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44" y="13"/>
                  </a:lnTo>
                  <a:lnTo>
                    <a:pt x="42" y="16"/>
                  </a:lnTo>
                  <a:lnTo>
                    <a:pt x="43" y="20"/>
                  </a:lnTo>
                  <a:lnTo>
                    <a:pt x="52" y="26"/>
                  </a:lnTo>
                  <a:lnTo>
                    <a:pt x="66" y="30"/>
                  </a:lnTo>
                  <a:lnTo>
                    <a:pt x="80" y="33"/>
                  </a:lnTo>
                  <a:lnTo>
                    <a:pt x="88" y="28"/>
                  </a:lnTo>
                  <a:lnTo>
                    <a:pt x="94" y="20"/>
                  </a:lnTo>
                  <a:lnTo>
                    <a:pt x="92" y="9"/>
                  </a:lnTo>
                  <a:lnTo>
                    <a:pt x="95" y="8"/>
                  </a:lnTo>
                  <a:lnTo>
                    <a:pt x="110" y="2"/>
                  </a:lnTo>
                  <a:lnTo>
                    <a:pt x="127" y="0"/>
                  </a:lnTo>
                  <a:lnTo>
                    <a:pt x="127" y="4"/>
                  </a:lnTo>
                  <a:lnTo>
                    <a:pt x="128" y="6"/>
                  </a:lnTo>
                  <a:lnTo>
                    <a:pt x="130" y="8"/>
                  </a:lnTo>
                  <a:lnTo>
                    <a:pt x="131" y="10"/>
                  </a:lnTo>
                  <a:lnTo>
                    <a:pt x="130" y="12"/>
                  </a:lnTo>
                  <a:lnTo>
                    <a:pt x="130" y="15"/>
                  </a:lnTo>
                  <a:lnTo>
                    <a:pt x="130" y="19"/>
                  </a:lnTo>
                  <a:lnTo>
                    <a:pt x="131" y="21"/>
                  </a:lnTo>
                  <a:lnTo>
                    <a:pt x="133" y="28"/>
                  </a:lnTo>
                  <a:lnTo>
                    <a:pt x="132" y="34"/>
                  </a:lnTo>
                  <a:lnTo>
                    <a:pt x="131" y="38"/>
                  </a:lnTo>
                  <a:lnTo>
                    <a:pt x="131" y="40"/>
                  </a:lnTo>
                  <a:lnTo>
                    <a:pt x="132" y="46"/>
                  </a:lnTo>
                  <a:lnTo>
                    <a:pt x="130" y="54"/>
                  </a:lnTo>
                  <a:lnTo>
                    <a:pt x="130" y="56"/>
                  </a:lnTo>
                  <a:lnTo>
                    <a:pt x="130" y="63"/>
                  </a:lnTo>
                  <a:lnTo>
                    <a:pt x="127" y="69"/>
                  </a:lnTo>
                  <a:lnTo>
                    <a:pt x="124" y="72"/>
                  </a:lnTo>
                  <a:lnTo>
                    <a:pt x="122" y="74"/>
                  </a:lnTo>
                  <a:lnTo>
                    <a:pt x="121" y="79"/>
                  </a:lnTo>
                  <a:lnTo>
                    <a:pt x="122" y="82"/>
                  </a:lnTo>
                  <a:lnTo>
                    <a:pt x="118" y="87"/>
                  </a:lnTo>
                  <a:lnTo>
                    <a:pt x="115" y="92"/>
                  </a:lnTo>
                  <a:lnTo>
                    <a:pt x="114" y="96"/>
                  </a:lnTo>
                  <a:lnTo>
                    <a:pt x="114" y="98"/>
                  </a:lnTo>
                  <a:lnTo>
                    <a:pt x="110" y="103"/>
                  </a:lnTo>
                  <a:lnTo>
                    <a:pt x="107" y="105"/>
                  </a:lnTo>
                  <a:lnTo>
                    <a:pt x="106" y="106"/>
                  </a:lnTo>
                  <a:lnTo>
                    <a:pt x="104" y="105"/>
                  </a:lnTo>
                  <a:lnTo>
                    <a:pt x="103" y="104"/>
                  </a:lnTo>
                  <a:lnTo>
                    <a:pt x="101" y="99"/>
                  </a:lnTo>
                  <a:lnTo>
                    <a:pt x="98" y="98"/>
                  </a:lnTo>
                  <a:lnTo>
                    <a:pt x="96" y="98"/>
                  </a:lnTo>
                  <a:lnTo>
                    <a:pt x="92" y="99"/>
                  </a:lnTo>
                  <a:lnTo>
                    <a:pt x="90" y="98"/>
                  </a:lnTo>
                  <a:lnTo>
                    <a:pt x="88" y="94"/>
                  </a:lnTo>
                  <a:lnTo>
                    <a:pt x="85" y="92"/>
                  </a:lnTo>
                  <a:lnTo>
                    <a:pt x="82" y="92"/>
                  </a:lnTo>
                  <a:lnTo>
                    <a:pt x="77" y="94"/>
                  </a:lnTo>
                  <a:lnTo>
                    <a:pt x="74" y="94"/>
                  </a:lnTo>
                  <a:lnTo>
                    <a:pt x="73" y="90"/>
                  </a:lnTo>
                  <a:lnTo>
                    <a:pt x="70" y="88"/>
                  </a:lnTo>
                  <a:lnTo>
                    <a:pt x="66" y="91"/>
                  </a:lnTo>
                  <a:lnTo>
                    <a:pt x="61" y="88"/>
                  </a:lnTo>
                  <a:lnTo>
                    <a:pt x="58" y="87"/>
                  </a:lnTo>
                  <a:lnTo>
                    <a:pt x="54" y="90"/>
                  </a:lnTo>
                  <a:lnTo>
                    <a:pt x="52" y="93"/>
                  </a:lnTo>
                  <a:lnTo>
                    <a:pt x="47" y="96"/>
                  </a:lnTo>
                  <a:lnTo>
                    <a:pt x="44" y="98"/>
                  </a:lnTo>
                  <a:lnTo>
                    <a:pt x="43" y="101"/>
                  </a:lnTo>
                  <a:lnTo>
                    <a:pt x="41" y="107"/>
                  </a:lnTo>
                  <a:lnTo>
                    <a:pt x="38" y="112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1" y="117"/>
                  </a:lnTo>
                  <a:lnTo>
                    <a:pt x="30" y="116"/>
                  </a:lnTo>
                  <a:lnTo>
                    <a:pt x="29" y="110"/>
                  </a:lnTo>
                  <a:lnTo>
                    <a:pt x="23" y="106"/>
                  </a:lnTo>
                  <a:lnTo>
                    <a:pt x="19" y="105"/>
                  </a:lnTo>
                  <a:lnTo>
                    <a:pt x="18" y="105"/>
                  </a:lnTo>
                  <a:lnTo>
                    <a:pt x="13" y="110"/>
                  </a:lnTo>
                  <a:lnTo>
                    <a:pt x="10" y="111"/>
                  </a:lnTo>
                  <a:lnTo>
                    <a:pt x="7" y="112"/>
                  </a:lnTo>
                  <a:lnTo>
                    <a:pt x="6" y="115"/>
                  </a:lnTo>
                  <a:lnTo>
                    <a:pt x="2" y="121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11" name="Freeform 418"/>
            <p:cNvSpPr>
              <a:spLocks/>
            </p:cNvSpPr>
            <p:nvPr/>
          </p:nvSpPr>
          <p:spPr bwMode="auto">
            <a:xfrm>
              <a:off x="5409565" y="4234319"/>
              <a:ext cx="378636" cy="342237"/>
            </a:xfrm>
            <a:custGeom>
              <a:avLst/>
              <a:gdLst>
                <a:gd name="T0" fmla="*/ 18 w 175"/>
                <a:gd name="T1" fmla="*/ 83 h 168"/>
                <a:gd name="T2" fmla="*/ 13 w 175"/>
                <a:gd name="T3" fmla="*/ 83 h 168"/>
                <a:gd name="T4" fmla="*/ 9 w 175"/>
                <a:gd name="T5" fmla="*/ 83 h 168"/>
                <a:gd name="T6" fmla="*/ 4 w 175"/>
                <a:gd name="T7" fmla="*/ 80 h 168"/>
                <a:gd name="T8" fmla="*/ 1 w 175"/>
                <a:gd name="T9" fmla="*/ 74 h 168"/>
                <a:gd name="T10" fmla="*/ 0 w 175"/>
                <a:gd name="T11" fmla="*/ 66 h 168"/>
                <a:gd name="T12" fmla="*/ 0 w 175"/>
                <a:gd name="T13" fmla="*/ 62 h 168"/>
                <a:gd name="T14" fmla="*/ 4 w 175"/>
                <a:gd name="T15" fmla="*/ 67 h 168"/>
                <a:gd name="T16" fmla="*/ 10 w 175"/>
                <a:gd name="T17" fmla="*/ 64 h 168"/>
                <a:gd name="T18" fmla="*/ 11 w 175"/>
                <a:gd name="T19" fmla="*/ 67 h 168"/>
                <a:gd name="T20" fmla="*/ 15 w 175"/>
                <a:gd name="T21" fmla="*/ 64 h 168"/>
                <a:gd name="T22" fmla="*/ 14 w 175"/>
                <a:gd name="T23" fmla="*/ 62 h 168"/>
                <a:gd name="T24" fmla="*/ 21 w 175"/>
                <a:gd name="T25" fmla="*/ 62 h 168"/>
                <a:gd name="T26" fmla="*/ 24 w 175"/>
                <a:gd name="T27" fmla="*/ 57 h 168"/>
                <a:gd name="T28" fmla="*/ 33 w 175"/>
                <a:gd name="T29" fmla="*/ 54 h 168"/>
                <a:gd name="T30" fmla="*/ 36 w 175"/>
                <a:gd name="T31" fmla="*/ 46 h 168"/>
                <a:gd name="T32" fmla="*/ 38 w 175"/>
                <a:gd name="T33" fmla="*/ 49 h 168"/>
                <a:gd name="T34" fmla="*/ 42 w 175"/>
                <a:gd name="T35" fmla="*/ 54 h 168"/>
                <a:gd name="T36" fmla="*/ 40 w 175"/>
                <a:gd name="T37" fmla="*/ 42 h 168"/>
                <a:gd name="T38" fmla="*/ 34 w 175"/>
                <a:gd name="T39" fmla="*/ 28 h 168"/>
                <a:gd name="T40" fmla="*/ 45 w 175"/>
                <a:gd name="T41" fmla="*/ 12 h 168"/>
                <a:gd name="T42" fmla="*/ 57 w 175"/>
                <a:gd name="T43" fmla="*/ 0 h 168"/>
                <a:gd name="T44" fmla="*/ 59 w 175"/>
                <a:gd name="T45" fmla="*/ 7 h 168"/>
                <a:gd name="T46" fmla="*/ 61 w 175"/>
                <a:gd name="T47" fmla="*/ 10 h 168"/>
                <a:gd name="T48" fmla="*/ 64 w 175"/>
                <a:gd name="T49" fmla="*/ 12 h 168"/>
                <a:gd name="T50" fmla="*/ 67 w 175"/>
                <a:gd name="T51" fmla="*/ 15 h 168"/>
                <a:gd name="T52" fmla="*/ 71 w 175"/>
                <a:gd name="T53" fmla="*/ 15 h 168"/>
                <a:gd name="T54" fmla="*/ 76 w 175"/>
                <a:gd name="T55" fmla="*/ 18 h 168"/>
                <a:gd name="T56" fmla="*/ 78 w 175"/>
                <a:gd name="T57" fmla="*/ 21 h 168"/>
                <a:gd name="T58" fmla="*/ 81 w 175"/>
                <a:gd name="T59" fmla="*/ 21 h 168"/>
                <a:gd name="T60" fmla="*/ 84 w 175"/>
                <a:gd name="T61" fmla="*/ 21 h 168"/>
                <a:gd name="T62" fmla="*/ 85 w 175"/>
                <a:gd name="T63" fmla="*/ 22 h 168"/>
                <a:gd name="T64" fmla="*/ 85 w 175"/>
                <a:gd name="T65" fmla="*/ 24 h 168"/>
                <a:gd name="T66" fmla="*/ 82 w 175"/>
                <a:gd name="T67" fmla="*/ 25 h 168"/>
                <a:gd name="T68" fmla="*/ 81 w 175"/>
                <a:gd name="T69" fmla="*/ 34 h 168"/>
                <a:gd name="T70" fmla="*/ 83 w 175"/>
                <a:gd name="T71" fmla="*/ 35 h 168"/>
                <a:gd name="T72" fmla="*/ 85 w 175"/>
                <a:gd name="T73" fmla="*/ 36 h 168"/>
                <a:gd name="T74" fmla="*/ 87 w 175"/>
                <a:gd name="T75" fmla="*/ 40 h 168"/>
                <a:gd name="T76" fmla="*/ 86 w 175"/>
                <a:gd name="T77" fmla="*/ 44 h 168"/>
                <a:gd name="T78" fmla="*/ 84 w 175"/>
                <a:gd name="T79" fmla="*/ 47 h 168"/>
                <a:gd name="T80" fmla="*/ 79 w 175"/>
                <a:gd name="T81" fmla="*/ 48 h 168"/>
                <a:gd name="T82" fmla="*/ 77 w 175"/>
                <a:gd name="T83" fmla="*/ 47 h 168"/>
                <a:gd name="T84" fmla="*/ 73 w 175"/>
                <a:gd name="T85" fmla="*/ 48 h 168"/>
                <a:gd name="T86" fmla="*/ 68 w 175"/>
                <a:gd name="T87" fmla="*/ 50 h 168"/>
                <a:gd name="T88" fmla="*/ 63 w 175"/>
                <a:gd name="T89" fmla="*/ 47 h 168"/>
                <a:gd name="T90" fmla="*/ 58 w 175"/>
                <a:gd name="T91" fmla="*/ 48 h 168"/>
                <a:gd name="T92" fmla="*/ 57 w 175"/>
                <a:gd name="T93" fmla="*/ 52 h 168"/>
                <a:gd name="T94" fmla="*/ 54 w 175"/>
                <a:gd name="T95" fmla="*/ 59 h 168"/>
                <a:gd name="T96" fmla="*/ 49 w 175"/>
                <a:gd name="T97" fmla="*/ 55 h 168"/>
                <a:gd name="T98" fmla="*/ 47 w 175"/>
                <a:gd name="T99" fmla="*/ 58 h 168"/>
                <a:gd name="T100" fmla="*/ 48 w 175"/>
                <a:gd name="T101" fmla="*/ 65 h 168"/>
                <a:gd name="T102" fmla="*/ 46 w 175"/>
                <a:gd name="T103" fmla="*/ 67 h 168"/>
                <a:gd name="T104" fmla="*/ 44 w 175"/>
                <a:gd name="T105" fmla="*/ 68 h 168"/>
                <a:gd name="T106" fmla="*/ 41 w 175"/>
                <a:gd name="T107" fmla="*/ 70 h 168"/>
                <a:gd name="T108" fmla="*/ 37 w 175"/>
                <a:gd name="T109" fmla="*/ 71 h 168"/>
                <a:gd name="T110" fmla="*/ 36 w 175"/>
                <a:gd name="T111" fmla="*/ 71 h 168"/>
                <a:gd name="T112" fmla="*/ 33 w 175"/>
                <a:gd name="T113" fmla="*/ 73 h 168"/>
                <a:gd name="T114" fmla="*/ 31 w 175"/>
                <a:gd name="T115" fmla="*/ 77 h 168"/>
                <a:gd name="T116" fmla="*/ 30 w 175"/>
                <a:gd name="T117" fmla="*/ 80 h 168"/>
                <a:gd name="T118" fmla="*/ 24 w 175"/>
                <a:gd name="T119" fmla="*/ 79 h 168"/>
                <a:gd name="T120" fmla="*/ 20 w 175"/>
                <a:gd name="T121" fmla="*/ 80 h 168"/>
                <a:gd name="T122" fmla="*/ 19 w 175"/>
                <a:gd name="T123" fmla="*/ 82 h 16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75" h="168">
                  <a:moveTo>
                    <a:pt x="38" y="163"/>
                  </a:moveTo>
                  <a:lnTo>
                    <a:pt x="36" y="165"/>
                  </a:lnTo>
                  <a:lnTo>
                    <a:pt x="31" y="168"/>
                  </a:lnTo>
                  <a:lnTo>
                    <a:pt x="27" y="166"/>
                  </a:lnTo>
                  <a:lnTo>
                    <a:pt x="22" y="165"/>
                  </a:lnTo>
                  <a:lnTo>
                    <a:pt x="19" y="165"/>
                  </a:lnTo>
                  <a:lnTo>
                    <a:pt x="13" y="163"/>
                  </a:lnTo>
                  <a:lnTo>
                    <a:pt x="9" y="160"/>
                  </a:lnTo>
                  <a:lnTo>
                    <a:pt x="7" y="156"/>
                  </a:lnTo>
                  <a:lnTo>
                    <a:pt x="2" y="147"/>
                  </a:lnTo>
                  <a:lnTo>
                    <a:pt x="1" y="140"/>
                  </a:lnTo>
                  <a:lnTo>
                    <a:pt x="0" y="132"/>
                  </a:lnTo>
                  <a:lnTo>
                    <a:pt x="0" y="123"/>
                  </a:lnTo>
                  <a:lnTo>
                    <a:pt x="1" y="123"/>
                  </a:lnTo>
                  <a:lnTo>
                    <a:pt x="3" y="130"/>
                  </a:lnTo>
                  <a:lnTo>
                    <a:pt x="9" y="133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18" y="133"/>
                  </a:lnTo>
                  <a:lnTo>
                    <a:pt x="22" y="133"/>
                  </a:lnTo>
                  <a:lnTo>
                    <a:pt x="31" y="130"/>
                  </a:lnTo>
                  <a:lnTo>
                    <a:pt x="30" y="128"/>
                  </a:lnTo>
                  <a:lnTo>
                    <a:pt x="27" y="126"/>
                  </a:lnTo>
                  <a:lnTo>
                    <a:pt x="28" y="123"/>
                  </a:lnTo>
                  <a:lnTo>
                    <a:pt x="37" y="122"/>
                  </a:lnTo>
                  <a:lnTo>
                    <a:pt x="43" y="123"/>
                  </a:lnTo>
                  <a:lnTo>
                    <a:pt x="45" y="120"/>
                  </a:lnTo>
                  <a:lnTo>
                    <a:pt x="49" y="113"/>
                  </a:lnTo>
                  <a:lnTo>
                    <a:pt x="63" y="109"/>
                  </a:lnTo>
                  <a:lnTo>
                    <a:pt x="67" y="107"/>
                  </a:lnTo>
                  <a:lnTo>
                    <a:pt x="67" y="101"/>
                  </a:lnTo>
                  <a:lnTo>
                    <a:pt x="72" y="92"/>
                  </a:lnTo>
                  <a:lnTo>
                    <a:pt x="75" y="92"/>
                  </a:lnTo>
                  <a:lnTo>
                    <a:pt x="76" y="97"/>
                  </a:lnTo>
                  <a:lnTo>
                    <a:pt x="80" y="108"/>
                  </a:lnTo>
                  <a:lnTo>
                    <a:pt x="84" y="107"/>
                  </a:lnTo>
                  <a:lnTo>
                    <a:pt x="86" y="96"/>
                  </a:lnTo>
                  <a:lnTo>
                    <a:pt x="80" y="83"/>
                  </a:lnTo>
                  <a:lnTo>
                    <a:pt x="73" y="73"/>
                  </a:lnTo>
                  <a:lnTo>
                    <a:pt x="68" y="56"/>
                  </a:lnTo>
                  <a:lnTo>
                    <a:pt x="80" y="33"/>
                  </a:lnTo>
                  <a:lnTo>
                    <a:pt x="91" y="24"/>
                  </a:lnTo>
                  <a:lnTo>
                    <a:pt x="103" y="9"/>
                  </a:lnTo>
                  <a:lnTo>
                    <a:pt x="114" y="0"/>
                  </a:lnTo>
                  <a:lnTo>
                    <a:pt x="116" y="7"/>
                  </a:lnTo>
                  <a:lnTo>
                    <a:pt x="118" y="13"/>
                  </a:lnTo>
                  <a:lnTo>
                    <a:pt x="121" y="17"/>
                  </a:lnTo>
                  <a:lnTo>
                    <a:pt x="122" y="20"/>
                  </a:lnTo>
                  <a:lnTo>
                    <a:pt x="124" y="23"/>
                  </a:lnTo>
                  <a:lnTo>
                    <a:pt x="129" y="24"/>
                  </a:lnTo>
                  <a:lnTo>
                    <a:pt x="130" y="29"/>
                  </a:lnTo>
                  <a:lnTo>
                    <a:pt x="134" y="29"/>
                  </a:lnTo>
                  <a:lnTo>
                    <a:pt x="138" y="29"/>
                  </a:lnTo>
                  <a:lnTo>
                    <a:pt x="142" y="29"/>
                  </a:lnTo>
                  <a:lnTo>
                    <a:pt x="148" y="31"/>
                  </a:lnTo>
                  <a:lnTo>
                    <a:pt x="152" y="35"/>
                  </a:lnTo>
                  <a:lnTo>
                    <a:pt x="154" y="38"/>
                  </a:lnTo>
                  <a:lnTo>
                    <a:pt x="157" y="42"/>
                  </a:lnTo>
                  <a:lnTo>
                    <a:pt x="159" y="42"/>
                  </a:lnTo>
                  <a:lnTo>
                    <a:pt x="163" y="42"/>
                  </a:lnTo>
                  <a:lnTo>
                    <a:pt x="166" y="42"/>
                  </a:lnTo>
                  <a:lnTo>
                    <a:pt x="169" y="42"/>
                  </a:lnTo>
                  <a:lnTo>
                    <a:pt x="170" y="42"/>
                  </a:lnTo>
                  <a:lnTo>
                    <a:pt x="171" y="44"/>
                  </a:lnTo>
                  <a:lnTo>
                    <a:pt x="171" y="47"/>
                  </a:lnTo>
                  <a:lnTo>
                    <a:pt x="171" y="48"/>
                  </a:lnTo>
                  <a:lnTo>
                    <a:pt x="166" y="49"/>
                  </a:lnTo>
                  <a:lnTo>
                    <a:pt x="165" y="50"/>
                  </a:lnTo>
                  <a:lnTo>
                    <a:pt x="164" y="53"/>
                  </a:lnTo>
                  <a:lnTo>
                    <a:pt x="163" y="67"/>
                  </a:lnTo>
                  <a:lnTo>
                    <a:pt x="164" y="68"/>
                  </a:lnTo>
                  <a:lnTo>
                    <a:pt x="166" y="69"/>
                  </a:lnTo>
                  <a:lnTo>
                    <a:pt x="169" y="71"/>
                  </a:lnTo>
                  <a:lnTo>
                    <a:pt x="171" y="72"/>
                  </a:lnTo>
                  <a:lnTo>
                    <a:pt x="172" y="73"/>
                  </a:lnTo>
                  <a:lnTo>
                    <a:pt x="174" y="79"/>
                  </a:lnTo>
                  <a:lnTo>
                    <a:pt x="175" y="85"/>
                  </a:lnTo>
                  <a:lnTo>
                    <a:pt x="172" y="87"/>
                  </a:lnTo>
                  <a:lnTo>
                    <a:pt x="170" y="92"/>
                  </a:lnTo>
                  <a:lnTo>
                    <a:pt x="168" y="93"/>
                  </a:lnTo>
                  <a:lnTo>
                    <a:pt x="160" y="95"/>
                  </a:lnTo>
                  <a:lnTo>
                    <a:pt x="158" y="96"/>
                  </a:lnTo>
                  <a:lnTo>
                    <a:pt x="156" y="95"/>
                  </a:lnTo>
                  <a:lnTo>
                    <a:pt x="154" y="93"/>
                  </a:lnTo>
                  <a:lnTo>
                    <a:pt x="152" y="92"/>
                  </a:lnTo>
                  <a:lnTo>
                    <a:pt x="146" y="95"/>
                  </a:lnTo>
                  <a:lnTo>
                    <a:pt x="140" y="96"/>
                  </a:lnTo>
                  <a:lnTo>
                    <a:pt x="136" y="99"/>
                  </a:lnTo>
                  <a:lnTo>
                    <a:pt x="130" y="96"/>
                  </a:lnTo>
                  <a:lnTo>
                    <a:pt x="126" y="93"/>
                  </a:lnTo>
                  <a:lnTo>
                    <a:pt x="121" y="93"/>
                  </a:lnTo>
                  <a:lnTo>
                    <a:pt x="117" y="96"/>
                  </a:lnTo>
                  <a:lnTo>
                    <a:pt x="115" y="101"/>
                  </a:lnTo>
                  <a:lnTo>
                    <a:pt x="114" y="104"/>
                  </a:lnTo>
                  <a:lnTo>
                    <a:pt x="111" y="118"/>
                  </a:lnTo>
                  <a:lnTo>
                    <a:pt x="108" y="117"/>
                  </a:lnTo>
                  <a:lnTo>
                    <a:pt x="103" y="113"/>
                  </a:lnTo>
                  <a:lnTo>
                    <a:pt x="99" y="110"/>
                  </a:lnTo>
                  <a:lnTo>
                    <a:pt x="96" y="111"/>
                  </a:lnTo>
                  <a:lnTo>
                    <a:pt x="94" y="116"/>
                  </a:lnTo>
                  <a:lnTo>
                    <a:pt x="97" y="123"/>
                  </a:lnTo>
                  <a:lnTo>
                    <a:pt x="97" y="130"/>
                  </a:lnTo>
                  <a:lnTo>
                    <a:pt x="97" y="133"/>
                  </a:lnTo>
                  <a:lnTo>
                    <a:pt x="92" y="133"/>
                  </a:lnTo>
                  <a:lnTo>
                    <a:pt x="88" y="133"/>
                  </a:lnTo>
                  <a:lnTo>
                    <a:pt x="88" y="135"/>
                  </a:lnTo>
                  <a:lnTo>
                    <a:pt x="85" y="139"/>
                  </a:lnTo>
                  <a:lnTo>
                    <a:pt x="82" y="140"/>
                  </a:lnTo>
                  <a:lnTo>
                    <a:pt x="78" y="141"/>
                  </a:lnTo>
                  <a:lnTo>
                    <a:pt x="75" y="141"/>
                  </a:lnTo>
                  <a:lnTo>
                    <a:pt x="74" y="144"/>
                  </a:lnTo>
                  <a:lnTo>
                    <a:pt x="72" y="142"/>
                  </a:lnTo>
                  <a:lnTo>
                    <a:pt x="69" y="141"/>
                  </a:lnTo>
                  <a:lnTo>
                    <a:pt x="67" y="146"/>
                  </a:lnTo>
                  <a:lnTo>
                    <a:pt x="66" y="147"/>
                  </a:lnTo>
                  <a:lnTo>
                    <a:pt x="63" y="153"/>
                  </a:lnTo>
                  <a:lnTo>
                    <a:pt x="61" y="157"/>
                  </a:lnTo>
                  <a:lnTo>
                    <a:pt x="61" y="159"/>
                  </a:lnTo>
                  <a:lnTo>
                    <a:pt x="55" y="158"/>
                  </a:lnTo>
                  <a:lnTo>
                    <a:pt x="49" y="158"/>
                  </a:lnTo>
                  <a:lnTo>
                    <a:pt x="43" y="159"/>
                  </a:lnTo>
                  <a:lnTo>
                    <a:pt x="40" y="160"/>
                  </a:lnTo>
                  <a:lnTo>
                    <a:pt x="39" y="163"/>
                  </a:lnTo>
                  <a:lnTo>
                    <a:pt x="38" y="163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12" name="Freeform 419"/>
            <p:cNvSpPr>
              <a:spLocks/>
            </p:cNvSpPr>
            <p:nvPr/>
          </p:nvSpPr>
          <p:spPr bwMode="auto">
            <a:xfrm>
              <a:off x="5984048" y="3998013"/>
              <a:ext cx="417806" cy="647806"/>
            </a:xfrm>
            <a:custGeom>
              <a:avLst/>
              <a:gdLst>
                <a:gd name="T0" fmla="*/ 22 w 193"/>
                <a:gd name="T1" fmla="*/ 157 h 317"/>
                <a:gd name="T2" fmla="*/ 13 w 193"/>
                <a:gd name="T3" fmla="*/ 158 h 317"/>
                <a:gd name="T4" fmla="*/ 9 w 193"/>
                <a:gd name="T5" fmla="*/ 154 h 317"/>
                <a:gd name="T6" fmla="*/ 13 w 193"/>
                <a:gd name="T7" fmla="*/ 151 h 317"/>
                <a:gd name="T8" fmla="*/ 15 w 193"/>
                <a:gd name="T9" fmla="*/ 143 h 317"/>
                <a:gd name="T10" fmla="*/ 18 w 193"/>
                <a:gd name="T11" fmla="*/ 137 h 317"/>
                <a:gd name="T12" fmla="*/ 13 w 193"/>
                <a:gd name="T13" fmla="*/ 134 h 317"/>
                <a:gd name="T14" fmla="*/ 13 w 193"/>
                <a:gd name="T15" fmla="*/ 125 h 317"/>
                <a:gd name="T16" fmla="*/ 9 w 193"/>
                <a:gd name="T17" fmla="*/ 116 h 317"/>
                <a:gd name="T18" fmla="*/ 1 w 193"/>
                <a:gd name="T19" fmla="*/ 109 h 317"/>
                <a:gd name="T20" fmla="*/ 3 w 193"/>
                <a:gd name="T21" fmla="*/ 103 h 317"/>
                <a:gd name="T22" fmla="*/ 8 w 193"/>
                <a:gd name="T23" fmla="*/ 101 h 317"/>
                <a:gd name="T24" fmla="*/ 12 w 193"/>
                <a:gd name="T25" fmla="*/ 95 h 317"/>
                <a:gd name="T26" fmla="*/ 15 w 193"/>
                <a:gd name="T27" fmla="*/ 88 h 317"/>
                <a:gd name="T28" fmla="*/ 12 w 193"/>
                <a:gd name="T29" fmla="*/ 83 h 317"/>
                <a:gd name="T30" fmla="*/ 14 w 193"/>
                <a:gd name="T31" fmla="*/ 75 h 317"/>
                <a:gd name="T32" fmla="*/ 18 w 193"/>
                <a:gd name="T33" fmla="*/ 67 h 317"/>
                <a:gd name="T34" fmla="*/ 12 w 193"/>
                <a:gd name="T35" fmla="*/ 59 h 317"/>
                <a:gd name="T36" fmla="*/ 16 w 193"/>
                <a:gd name="T37" fmla="*/ 54 h 317"/>
                <a:gd name="T38" fmla="*/ 19 w 193"/>
                <a:gd name="T39" fmla="*/ 45 h 317"/>
                <a:gd name="T40" fmla="*/ 24 w 193"/>
                <a:gd name="T41" fmla="*/ 37 h 317"/>
                <a:gd name="T42" fmla="*/ 24 w 193"/>
                <a:gd name="T43" fmla="*/ 26 h 317"/>
                <a:gd name="T44" fmla="*/ 48 w 193"/>
                <a:gd name="T45" fmla="*/ 13 h 317"/>
                <a:gd name="T46" fmla="*/ 55 w 193"/>
                <a:gd name="T47" fmla="*/ 8 h 317"/>
                <a:gd name="T48" fmla="*/ 57 w 193"/>
                <a:gd name="T49" fmla="*/ 16 h 317"/>
                <a:gd name="T50" fmla="*/ 63 w 193"/>
                <a:gd name="T51" fmla="*/ 18 h 317"/>
                <a:gd name="T52" fmla="*/ 69 w 193"/>
                <a:gd name="T53" fmla="*/ 16 h 317"/>
                <a:gd name="T54" fmla="*/ 71 w 193"/>
                <a:gd name="T55" fmla="*/ 14 h 317"/>
                <a:gd name="T56" fmla="*/ 72 w 193"/>
                <a:gd name="T57" fmla="*/ 9 h 317"/>
                <a:gd name="T58" fmla="*/ 81 w 193"/>
                <a:gd name="T59" fmla="*/ 0 h 317"/>
                <a:gd name="T60" fmla="*/ 90 w 193"/>
                <a:gd name="T61" fmla="*/ 4 h 317"/>
                <a:gd name="T62" fmla="*/ 91 w 193"/>
                <a:gd name="T63" fmla="*/ 10 h 317"/>
                <a:gd name="T64" fmla="*/ 96 w 193"/>
                <a:gd name="T65" fmla="*/ 15 h 317"/>
                <a:gd name="T66" fmla="*/ 94 w 193"/>
                <a:gd name="T67" fmla="*/ 22 h 317"/>
                <a:gd name="T68" fmla="*/ 92 w 193"/>
                <a:gd name="T69" fmla="*/ 28 h 317"/>
                <a:gd name="T70" fmla="*/ 84 w 193"/>
                <a:gd name="T71" fmla="*/ 34 h 317"/>
                <a:gd name="T72" fmla="*/ 77 w 193"/>
                <a:gd name="T73" fmla="*/ 51 h 317"/>
                <a:gd name="T74" fmla="*/ 83 w 193"/>
                <a:gd name="T75" fmla="*/ 54 h 317"/>
                <a:gd name="T76" fmla="*/ 90 w 193"/>
                <a:gd name="T77" fmla="*/ 55 h 317"/>
                <a:gd name="T78" fmla="*/ 88 w 193"/>
                <a:gd name="T79" fmla="*/ 67 h 317"/>
                <a:gd name="T80" fmla="*/ 88 w 193"/>
                <a:gd name="T81" fmla="*/ 76 h 317"/>
                <a:gd name="T82" fmla="*/ 90 w 193"/>
                <a:gd name="T83" fmla="*/ 85 h 317"/>
                <a:gd name="T84" fmla="*/ 93 w 193"/>
                <a:gd name="T85" fmla="*/ 94 h 317"/>
                <a:gd name="T86" fmla="*/ 91 w 193"/>
                <a:gd name="T87" fmla="*/ 102 h 317"/>
                <a:gd name="T88" fmla="*/ 83 w 193"/>
                <a:gd name="T89" fmla="*/ 100 h 317"/>
                <a:gd name="T90" fmla="*/ 72 w 193"/>
                <a:gd name="T91" fmla="*/ 96 h 317"/>
                <a:gd name="T92" fmla="*/ 66 w 193"/>
                <a:gd name="T93" fmla="*/ 99 h 317"/>
                <a:gd name="T94" fmla="*/ 60 w 193"/>
                <a:gd name="T95" fmla="*/ 116 h 317"/>
                <a:gd name="T96" fmla="*/ 64 w 193"/>
                <a:gd name="T97" fmla="*/ 122 h 317"/>
                <a:gd name="T98" fmla="*/ 60 w 193"/>
                <a:gd name="T99" fmla="*/ 134 h 317"/>
                <a:gd name="T100" fmla="*/ 58 w 193"/>
                <a:gd name="T101" fmla="*/ 141 h 317"/>
                <a:gd name="T102" fmla="*/ 52 w 193"/>
                <a:gd name="T103" fmla="*/ 149 h 317"/>
                <a:gd name="T104" fmla="*/ 42 w 193"/>
                <a:gd name="T105" fmla="*/ 157 h 317"/>
                <a:gd name="T106" fmla="*/ 34 w 193"/>
                <a:gd name="T107" fmla="*/ 158 h 31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93" h="317">
                  <a:moveTo>
                    <a:pt x="68" y="315"/>
                  </a:moveTo>
                  <a:lnTo>
                    <a:pt x="56" y="315"/>
                  </a:lnTo>
                  <a:lnTo>
                    <a:pt x="50" y="314"/>
                  </a:lnTo>
                  <a:lnTo>
                    <a:pt x="45" y="313"/>
                  </a:lnTo>
                  <a:lnTo>
                    <a:pt x="38" y="314"/>
                  </a:lnTo>
                  <a:lnTo>
                    <a:pt x="32" y="316"/>
                  </a:lnTo>
                  <a:lnTo>
                    <a:pt x="28" y="317"/>
                  </a:lnTo>
                  <a:lnTo>
                    <a:pt x="27" y="315"/>
                  </a:lnTo>
                  <a:lnTo>
                    <a:pt x="24" y="313"/>
                  </a:lnTo>
                  <a:lnTo>
                    <a:pt x="22" y="310"/>
                  </a:lnTo>
                  <a:lnTo>
                    <a:pt x="20" y="310"/>
                  </a:lnTo>
                  <a:lnTo>
                    <a:pt x="19" y="308"/>
                  </a:lnTo>
                  <a:lnTo>
                    <a:pt x="20" y="308"/>
                  </a:lnTo>
                  <a:lnTo>
                    <a:pt x="24" y="305"/>
                  </a:lnTo>
                  <a:lnTo>
                    <a:pt x="25" y="304"/>
                  </a:lnTo>
                  <a:lnTo>
                    <a:pt x="27" y="301"/>
                  </a:lnTo>
                  <a:lnTo>
                    <a:pt x="28" y="296"/>
                  </a:lnTo>
                  <a:lnTo>
                    <a:pt x="30" y="292"/>
                  </a:lnTo>
                  <a:lnTo>
                    <a:pt x="31" y="289"/>
                  </a:lnTo>
                  <a:lnTo>
                    <a:pt x="31" y="286"/>
                  </a:lnTo>
                  <a:lnTo>
                    <a:pt x="32" y="283"/>
                  </a:lnTo>
                  <a:lnTo>
                    <a:pt x="34" y="280"/>
                  </a:lnTo>
                  <a:lnTo>
                    <a:pt x="36" y="277"/>
                  </a:lnTo>
                  <a:lnTo>
                    <a:pt x="37" y="273"/>
                  </a:lnTo>
                  <a:lnTo>
                    <a:pt x="36" y="272"/>
                  </a:lnTo>
                  <a:lnTo>
                    <a:pt x="32" y="271"/>
                  </a:lnTo>
                  <a:lnTo>
                    <a:pt x="28" y="269"/>
                  </a:lnTo>
                  <a:lnTo>
                    <a:pt x="26" y="267"/>
                  </a:lnTo>
                  <a:lnTo>
                    <a:pt x="22" y="259"/>
                  </a:lnTo>
                  <a:lnTo>
                    <a:pt x="22" y="255"/>
                  </a:lnTo>
                  <a:lnTo>
                    <a:pt x="25" y="253"/>
                  </a:lnTo>
                  <a:lnTo>
                    <a:pt x="26" y="250"/>
                  </a:lnTo>
                  <a:lnTo>
                    <a:pt x="25" y="245"/>
                  </a:lnTo>
                  <a:lnTo>
                    <a:pt x="24" y="242"/>
                  </a:lnTo>
                  <a:lnTo>
                    <a:pt x="18" y="236"/>
                  </a:lnTo>
                  <a:lnTo>
                    <a:pt x="18" y="231"/>
                  </a:lnTo>
                  <a:lnTo>
                    <a:pt x="13" y="229"/>
                  </a:lnTo>
                  <a:lnTo>
                    <a:pt x="7" y="224"/>
                  </a:lnTo>
                  <a:lnTo>
                    <a:pt x="4" y="219"/>
                  </a:lnTo>
                  <a:lnTo>
                    <a:pt x="2" y="218"/>
                  </a:lnTo>
                  <a:lnTo>
                    <a:pt x="0" y="217"/>
                  </a:lnTo>
                  <a:lnTo>
                    <a:pt x="1" y="213"/>
                  </a:lnTo>
                  <a:lnTo>
                    <a:pt x="3" y="210"/>
                  </a:lnTo>
                  <a:lnTo>
                    <a:pt x="6" y="205"/>
                  </a:lnTo>
                  <a:lnTo>
                    <a:pt x="7" y="204"/>
                  </a:lnTo>
                  <a:lnTo>
                    <a:pt x="12" y="204"/>
                  </a:lnTo>
                  <a:lnTo>
                    <a:pt x="15" y="204"/>
                  </a:lnTo>
                  <a:lnTo>
                    <a:pt x="16" y="201"/>
                  </a:lnTo>
                  <a:lnTo>
                    <a:pt x="18" y="199"/>
                  </a:lnTo>
                  <a:lnTo>
                    <a:pt x="19" y="196"/>
                  </a:lnTo>
                  <a:lnTo>
                    <a:pt x="22" y="194"/>
                  </a:lnTo>
                  <a:lnTo>
                    <a:pt x="24" y="190"/>
                  </a:lnTo>
                  <a:lnTo>
                    <a:pt x="26" y="187"/>
                  </a:lnTo>
                  <a:lnTo>
                    <a:pt x="27" y="183"/>
                  </a:lnTo>
                  <a:lnTo>
                    <a:pt x="30" y="180"/>
                  </a:lnTo>
                  <a:lnTo>
                    <a:pt x="31" y="176"/>
                  </a:lnTo>
                  <a:lnTo>
                    <a:pt x="30" y="174"/>
                  </a:lnTo>
                  <a:lnTo>
                    <a:pt x="26" y="171"/>
                  </a:lnTo>
                  <a:lnTo>
                    <a:pt x="25" y="169"/>
                  </a:lnTo>
                  <a:lnTo>
                    <a:pt x="25" y="166"/>
                  </a:lnTo>
                  <a:lnTo>
                    <a:pt x="26" y="163"/>
                  </a:lnTo>
                  <a:lnTo>
                    <a:pt x="30" y="158"/>
                  </a:lnTo>
                  <a:lnTo>
                    <a:pt x="31" y="154"/>
                  </a:lnTo>
                  <a:lnTo>
                    <a:pt x="28" y="150"/>
                  </a:lnTo>
                  <a:lnTo>
                    <a:pt x="28" y="147"/>
                  </a:lnTo>
                  <a:lnTo>
                    <a:pt x="31" y="142"/>
                  </a:lnTo>
                  <a:lnTo>
                    <a:pt x="34" y="138"/>
                  </a:lnTo>
                  <a:lnTo>
                    <a:pt x="36" y="134"/>
                  </a:lnTo>
                  <a:lnTo>
                    <a:pt x="36" y="132"/>
                  </a:lnTo>
                  <a:lnTo>
                    <a:pt x="34" y="128"/>
                  </a:lnTo>
                  <a:lnTo>
                    <a:pt x="31" y="124"/>
                  </a:lnTo>
                  <a:lnTo>
                    <a:pt x="24" y="117"/>
                  </a:lnTo>
                  <a:lnTo>
                    <a:pt x="25" y="116"/>
                  </a:lnTo>
                  <a:lnTo>
                    <a:pt x="28" y="114"/>
                  </a:lnTo>
                  <a:lnTo>
                    <a:pt x="32" y="109"/>
                  </a:lnTo>
                  <a:lnTo>
                    <a:pt x="32" y="107"/>
                  </a:lnTo>
                  <a:lnTo>
                    <a:pt x="33" y="103"/>
                  </a:lnTo>
                  <a:lnTo>
                    <a:pt x="36" y="98"/>
                  </a:lnTo>
                  <a:lnTo>
                    <a:pt x="40" y="93"/>
                  </a:lnTo>
                  <a:lnTo>
                    <a:pt x="39" y="90"/>
                  </a:lnTo>
                  <a:lnTo>
                    <a:pt x="40" y="85"/>
                  </a:lnTo>
                  <a:lnTo>
                    <a:pt x="42" y="83"/>
                  </a:lnTo>
                  <a:lnTo>
                    <a:pt x="45" y="80"/>
                  </a:lnTo>
                  <a:lnTo>
                    <a:pt x="48" y="74"/>
                  </a:lnTo>
                  <a:lnTo>
                    <a:pt x="48" y="67"/>
                  </a:lnTo>
                  <a:lnTo>
                    <a:pt x="48" y="65"/>
                  </a:lnTo>
                  <a:lnTo>
                    <a:pt x="50" y="57"/>
                  </a:lnTo>
                  <a:lnTo>
                    <a:pt x="49" y="51"/>
                  </a:lnTo>
                  <a:lnTo>
                    <a:pt x="49" y="49"/>
                  </a:lnTo>
                  <a:lnTo>
                    <a:pt x="78" y="41"/>
                  </a:lnTo>
                  <a:lnTo>
                    <a:pt x="91" y="33"/>
                  </a:lnTo>
                  <a:lnTo>
                    <a:pt x="96" y="25"/>
                  </a:lnTo>
                  <a:lnTo>
                    <a:pt x="97" y="18"/>
                  </a:lnTo>
                  <a:lnTo>
                    <a:pt x="98" y="15"/>
                  </a:lnTo>
                  <a:lnTo>
                    <a:pt x="104" y="14"/>
                  </a:lnTo>
                  <a:lnTo>
                    <a:pt x="110" y="15"/>
                  </a:lnTo>
                  <a:lnTo>
                    <a:pt x="115" y="18"/>
                  </a:lnTo>
                  <a:lnTo>
                    <a:pt x="116" y="20"/>
                  </a:lnTo>
                  <a:lnTo>
                    <a:pt x="115" y="29"/>
                  </a:lnTo>
                  <a:lnTo>
                    <a:pt x="114" y="32"/>
                  </a:lnTo>
                  <a:lnTo>
                    <a:pt x="115" y="36"/>
                  </a:lnTo>
                  <a:lnTo>
                    <a:pt x="122" y="42"/>
                  </a:lnTo>
                  <a:lnTo>
                    <a:pt x="124" y="38"/>
                  </a:lnTo>
                  <a:lnTo>
                    <a:pt x="126" y="36"/>
                  </a:lnTo>
                  <a:lnTo>
                    <a:pt x="128" y="31"/>
                  </a:lnTo>
                  <a:lnTo>
                    <a:pt x="129" y="29"/>
                  </a:lnTo>
                  <a:lnTo>
                    <a:pt x="136" y="29"/>
                  </a:lnTo>
                  <a:lnTo>
                    <a:pt x="138" y="32"/>
                  </a:lnTo>
                  <a:lnTo>
                    <a:pt x="138" y="36"/>
                  </a:lnTo>
                  <a:lnTo>
                    <a:pt x="138" y="37"/>
                  </a:lnTo>
                  <a:lnTo>
                    <a:pt x="141" y="31"/>
                  </a:lnTo>
                  <a:lnTo>
                    <a:pt x="142" y="27"/>
                  </a:lnTo>
                  <a:lnTo>
                    <a:pt x="142" y="24"/>
                  </a:lnTo>
                  <a:lnTo>
                    <a:pt x="145" y="21"/>
                  </a:lnTo>
                  <a:lnTo>
                    <a:pt x="144" y="19"/>
                  </a:lnTo>
                  <a:lnTo>
                    <a:pt x="145" y="17"/>
                  </a:lnTo>
                  <a:lnTo>
                    <a:pt x="146" y="15"/>
                  </a:lnTo>
                  <a:lnTo>
                    <a:pt x="156" y="9"/>
                  </a:lnTo>
                  <a:lnTo>
                    <a:pt x="158" y="6"/>
                  </a:lnTo>
                  <a:lnTo>
                    <a:pt x="163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78" y="6"/>
                  </a:lnTo>
                  <a:lnTo>
                    <a:pt x="180" y="8"/>
                  </a:lnTo>
                  <a:lnTo>
                    <a:pt x="180" y="12"/>
                  </a:lnTo>
                  <a:lnTo>
                    <a:pt x="178" y="14"/>
                  </a:lnTo>
                  <a:lnTo>
                    <a:pt x="180" y="17"/>
                  </a:lnTo>
                  <a:lnTo>
                    <a:pt x="182" y="19"/>
                  </a:lnTo>
                  <a:lnTo>
                    <a:pt x="183" y="20"/>
                  </a:lnTo>
                  <a:lnTo>
                    <a:pt x="184" y="24"/>
                  </a:lnTo>
                  <a:lnTo>
                    <a:pt x="187" y="26"/>
                  </a:lnTo>
                  <a:lnTo>
                    <a:pt x="192" y="29"/>
                  </a:lnTo>
                  <a:lnTo>
                    <a:pt x="193" y="32"/>
                  </a:lnTo>
                  <a:lnTo>
                    <a:pt x="192" y="39"/>
                  </a:lnTo>
                  <a:lnTo>
                    <a:pt x="190" y="42"/>
                  </a:lnTo>
                  <a:lnTo>
                    <a:pt x="188" y="44"/>
                  </a:lnTo>
                  <a:lnTo>
                    <a:pt x="188" y="45"/>
                  </a:lnTo>
                  <a:lnTo>
                    <a:pt x="192" y="49"/>
                  </a:lnTo>
                  <a:lnTo>
                    <a:pt x="192" y="51"/>
                  </a:lnTo>
                  <a:lnTo>
                    <a:pt x="184" y="55"/>
                  </a:lnTo>
                  <a:lnTo>
                    <a:pt x="178" y="55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69" y="67"/>
                  </a:lnTo>
                  <a:lnTo>
                    <a:pt x="166" y="68"/>
                  </a:lnTo>
                  <a:lnTo>
                    <a:pt x="162" y="74"/>
                  </a:lnTo>
                  <a:lnTo>
                    <a:pt x="157" y="85"/>
                  </a:lnTo>
                  <a:lnTo>
                    <a:pt x="154" y="102"/>
                  </a:lnTo>
                  <a:lnTo>
                    <a:pt x="156" y="107"/>
                  </a:lnTo>
                  <a:lnTo>
                    <a:pt x="159" y="110"/>
                  </a:lnTo>
                  <a:lnTo>
                    <a:pt x="164" y="109"/>
                  </a:lnTo>
                  <a:lnTo>
                    <a:pt x="166" y="108"/>
                  </a:lnTo>
                  <a:lnTo>
                    <a:pt x="170" y="110"/>
                  </a:lnTo>
                  <a:lnTo>
                    <a:pt x="171" y="112"/>
                  </a:lnTo>
                  <a:lnTo>
                    <a:pt x="172" y="112"/>
                  </a:lnTo>
                  <a:lnTo>
                    <a:pt x="181" y="109"/>
                  </a:lnTo>
                  <a:lnTo>
                    <a:pt x="183" y="110"/>
                  </a:lnTo>
                  <a:lnTo>
                    <a:pt x="186" y="117"/>
                  </a:lnTo>
                  <a:lnTo>
                    <a:pt x="182" y="130"/>
                  </a:lnTo>
                  <a:lnTo>
                    <a:pt x="177" y="134"/>
                  </a:lnTo>
                  <a:lnTo>
                    <a:pt x="177" y="138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77" y="151"/>
                  </a:lnTo>
                  <a:lnTo>
                    <a:pt x="174" y="153"/>
                  </a:lnTo>
                  <a:lnTo>
                    <a:pt x="175" y="160"/>
                  </a:lnTo>
                  <a:lnTo>
                    <a:pt x="180" y="165"/>
                  </a:lnTo>
                  <a:lnTo>
                    <a:pt x="180" y="169"/>
                  </a:lnTo>
                  <a:lnTo>
                    <a:pt x="178" y="178"/>
                  </a:lnTo>
                  <a:lnTo>
                    <a:pt x="180" y="182"/>
                  </a:lnTo>
                  <a:lnTo>
                    <a:pt x="184" y="186"/>
                  </a:lnTo>
                  <a:lnTo>
                    <a:pt x="187" y="188"/>
                  </a:lnTo>
                  <a:lnTo>
                    <a:pt x="188" y="192"/>
                  </a:lnTo>
                  <a:lnTo>
                    <a:pt x="189" y="198"/>
                  </a:lnTo>
                  <a:lnTo>
                    <a:pt x="187" y="202"/>
                  </a:lnTo>
                  <a:lnTo>
                    <a:pt x="182" y="204"/>
                  </a:lnTo>
                  <a:lnTo>
                    <a:pt x="180" y="208"/>
                  </a:lnTo>
                  <a:lnTo>
                    <a:pt x="171" y="206"/>
                  </a:lnTo>
                  <a:lnTo>
                    <a:pt x="170" y="202"/>
                  </a:lnTo>
                  <a:lnTo>
                    <a:pt x="166" y="200"/>
                  </a:lnTo>
                  <a:lnTo>
                    <a:pt x="159" y="202"/>
                  </a:lnTo>
                  <a:lnTo>
                    <a:pt x="154" y="196"/>
                  </a:lnTo>
                  <a:lnTo>
                    <a:pt x="153" y="193"/>
                  </a:lnTo>
                  <a:lnTo>
                    <a:pt x="145" y="192"/>
                  </a:lnTo>
                  <a:lnTo>
                    <a:pt x="141" y="196"/>
                  </a:lnTo>
                  <a:lnTo>
                    <a:pt x="140" y="199"/>
                  </a:lnTo>
                  <a:lnTo>
                    <a:pt x="135" y="200"/>
                  </a:lnTo>
                  <a:lnTo>
                    <a:pt x="132" y="198"/>
                  </a:lnTo>
                  <a:lnTo>
                    <a:pt x="122" y="216"/>
                  </a:lnTo>
                  <a:lnTo>
                    <a:pt x="124" y="224"/>
                  </a:lnTo>
                  <a:lnTo>
                    <a:pt x="122" y="228"/>
                  </a:lnTo>
                  <a:lnTo>
                    <a:pt x="120" y="231"/>
                  </a:lnTo>
                  <a:lnTo>
                    <a:pt x="121" y="233"/>
                  </a:lnTo>
                  <a:lnTo>
                    <a:pt x="124" y="236"/>
                  </a:lnTo>
                  <a:lnTo>
                    <a:pt x="127" y="239"/>
                  </a:lnTo>
                  <a:lnTo>
                    <a:pt x="129" y="243"/>
                  </a:lnTo>
                  <a:lnTo>
                    <a:pt x="126" y="249"/>
                  </a:lnTo>
                  <a:lnTo>
                    <a:pt x="123" y="254"/>
                  </a:lnTo>
                  <a:lnTo>
                    <a:pt x="121" y="261"/>
                  </a:lnTo>
                  <a:lnTo>
                    <a:pt x="121" y="267"/>
                  </a:lnTo>
                  <a:lnTo>
                    <a:pt x="121" y="271"/>
                  </a:lnTo>
                  <a:lnTo>
                    <a:pt x="118" y="274"/>
                  </a:lnTo>
                  <a:lnTo>
                    <a:pt x="117" y="278"/>
                  </a:lnTo>
                  <a:lnTo>
                    <a:pt x="116" y="281"/>
                  </a:lnTo>
                  <a:lnTo>
                    <a:pt x="116" y="286"/>
                  </a:lnTo>
                  <a:lnTo>
                    <a:pt x="114" y="292"/>
                  </a:lnTo>
                  <a:lnTo>
                    <a:pt x="110" y="295"/>
                  </a:lnTo>
                  <a:lnTo>
                    <a:pt x="104" y="298"/>
                  </a:lnTo>
                  <a:lnTo>
                    <a:pt x="96" y="302"/>
                  </a:lnTo>
                  <a:lnTo>
                    <a:pt x="92" y="305"/>
                  </a:lnTo>
                  <a:lnTo>
                    <a:pt x="87" y="311"/>
                  </a:lnTo>
                  <a:lnTo>
                    <a:pt x="85" y="314"/>
                  </a:lnTo>
                  <a:lnTo>
                    <a:pt x="75" y="315"/>
                  </a:lnTo>
                  <a:lnTo>
                    <a:pt x="74" y="314"/>
                  </a:lnTo>
                  <a:lnTo>
                    <a:pt x="70" y="314"/>
                  </a:lnTo>
                  <a:lnTo>
                    <a:pt x="68" y="315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13" name="Freeform 420"/>
            <p:cNvSpPr>
              <a:spLocks/>
            </p:cNvSpPr>
            <p:nvPr/>
          </p:nvSpPr>
          <p:spPr bwMode="auto">
            <a:xfrm>
              <a:off x="5653285" y="4201725"/>
              <a:ext cx="409101" cy="456317"/>
            </a:xfrm>
            <a:custGeom>
              <a:avLst/>
              <a:gdLst>
                <a:gd name="T0" fmla="*/ 20 w 190"/>
                <a:gd name="T1" fmla="*/ 112 h 224"/>
                <a:gd name="T2" fmla="*/ 16 w 190"/>
                <a:gd name="T3" fmla="*/ 105 h 224"/>
                <a:gd name="T4" fmla="*/ 9 w 190"/>
                <a:gd name="T5" fmla="*/ 107 h 224"/>
                <a:gd name="T6" fmla="*/ 6 w 190"/>
                <a:gd name="T7" fmla="*/ 100 h 224"/>
                <a:gd name="T8" fmla="*/ 9 w 190"/>
                <a:gd name="T9" fmla="*/ 91 h 224"/>
                <a:gd name="T10" fmla="*/ 6 w 190"/>
                <a:gd name="T11" fmla="*/ 82 h 224"/>
                <a:gd name="T12" fmla="*/ 4 w 190"/>
                <a:gd name="T13" fmla="*/ 77 h 224"/>
                <a:gd name="T14" fmla="*/ 2 w 190"/>
                <a:gd name="T15" fmla="*/ 71 h 224"/>
                <a:gd name="T16" fmla="*/ 1 w 190"/>
                <a:gd name="T17" fmla="*/ 61 h 224"/>
                <a:gd name="T18" fmla="*/ 7 w 190"/>
                <a:gd name="T19" fmla="*/ 55 h 224"/>
                <a:gd name="T20" fmla="*/ 17 w 190"/>
                <a:gd name="T21" fmla="*/ 56 h 224"/>
                <a:gd name="T22" fmla="*/ 23 w 190"/>
                <a:gd name="T23" fmla="*/ 57 h 224"/>
                <a:gd name="T24" fmla="*/ 30 w 190"/>
                <a:gd name="T25" fmla="*/ 52 h 224"/>
                <a:gd name="T26" fmla="*/ 30 w 190"/>
                <a:gd name="T27" fmla="*/ 45 h 224"/>
                <a:gd name="T28" fmla="*/ 26 w 190"/>
                <a:gd name="T29" fmla="*/ 42 h 224"/>
                <a:gd name="T30" fmla="*/ 30 w 190"/>
                <a:gd name="T31" fmla="*/ 33 h 224"/>
                <a:gd name="T32" fmla="*/ 30 w 190"/>
                <a:gd name="T33" fmla="*/ 29 h 224"/>
                <a:gd name="T34" fmla="*/ 38 w 190"/>
                <a:gd name="T35" fmla="*/ 21 h 224"/>
                <a:gd name="T36" fmla="*/ 39 w 190"/>
                <a:gd name="T37" fmla="*/ 13 h 224"/>
                <a:gd name="T38" fmla="*/ 45 w 190"/>
                <a:gd name="T39" fmla="*/ 9 h 224"/>
                <a:gd name="T40" fmla="*/ 50 w 190"/>
                <a:gd name="T41" fmla="*/ 15 h 224"/>
                <a:gd name="T42" fmla="*/ 55 w 190"/>
                <a:gd name="T43" fmla="*/ 10 h 224"/>
                <a:gd name="T44" fmla="*/ 61 w 190"/>
                <a:gd name="T45" fmla="*/ 3 h 224"/>
                <a:gd name="T46" fmla="*/ 68 w 190"/>
                <a:gd name="T47" fmla="*/ 2 h 224"/>
                <a:gd name="T48" fmla="*/ 73 w 190"/>
                <a:gd name="T49" fmla="*/ 4 h 224"/>
                <a:gd name="T50" fmla="*/ 80 w 190"/>
                <a:gd name="T51" fmla="*/ 6 h 224"/>
                <a:gd name="T52" fmla="*/ 85 w 190"/>
                <a:gd name="T53" fmla="*/ 6 h 224"/>
                <a:gd name="T54" fmla="*/ 91 w 190"/>
                <a:gd name="T55" fmla="*/ 13 h 224"/>
                <a:gd name="T56" fmla="*/ 93 w 190"/>
                <a:gd name="T57" fmla="*/ 20 h 224"/>
                <a:gd name="T58" fmla="*/ 91 w 190"/>
                <a:gd name="T59" fmla="*/ 28 h 224"/>
                <a:gd name="T60" fmla="*/ 88 w 190"/>
                <a:gd name="T61" fmla="*/ 36 h 224"/>
                <a:gd name="T62" fmla="*/ 91 w 190"/>
                <a:gd name="T63" fmla="*/ 41 h 224"/>
                <a:gd name="T64" fmla="*/ 87 w 190"/>
                <a:gd name="T65" fmla="*/ 48 h 224"/>
                <a:gd name="T66" fmla="*/ 83 w 190"/>
                <a:gd name="T67" fmla="*/ 53 h 224"/>
                <a:gd name="T68" fmla="*/ 77 w 190"/>
                <a:gd name="T69" fmla="*/ 56 h 224"/>
                <a:gd name="T70" fmla="*/ 78 w 190"/>
                <a:gd name="T71" fmla="*/ 61 h 224"/>
                <a:gd name="T72" fmla="*/ 85 w 190"/>
                <a:gd name="T73" fmla="*/ 69 h 224"/>
                <a:gd name="T74" fmla="*/ 88 w 190"/>
                <a:gd name="T75" fmla="*/ 78 h 224"/>
                <a:gd name="T76" fmla="*/ 90 w 190"/>
                <a:gd name="T77" fmla="*/ 86 h 224"/>
                <a:gd name="T78" fmla="*/ 94 w 190"/>
                <a:gd name="T79" fmla="*/ 90 h 224"/>
                <a:gd name="T80" fmla="*/ 91 w 190"/>
                <a:gd name="T81" fmla="*/ 96 h 224"/>
                <a:gd name="T82" fmla="*/ 88 w 190"/>
                <a:gd name="T83" fmla="*/ 103 h 224"/>
                <a:gd name="T84" fmla="*/ 84 w 190"/>
                <a:gd name="T85" fmla="*/ 106 h 224"/>
                <a:gd name="T86" fmla="*/ 79 w 190"/>
                <a:gd name="T87" fmla="*/ 111 h 224"/>
                <a:gd name="T88" fmla="*/ 75 w 190"/>
                <a:gd name="T89" fmla="*/ 106 h 224"/>
                <a:gd name="T90" fmla="*/ 70 w 190"/>
                <a:gd name="T91" fmla="*/ 104 h 224"/>
                <a:gd name="T92" fmla="*/ 64 w 190"/>
                <a:gd name="T93" fmla="*/ 104 h 224"/>
                <a:gd name="T94" fmla="*/ 58 w 190"/>
                <a:gd name="T95" fmla="*/ 99 h 224"/>
                <a:gd name="T96" fmla="*/ 53 w 190"/>
                <a:gd name="T97" fmla="*/ 93 h 224"/>
                <a:gd name="T98" fmla="*/ 47 w 190"/>
                <a:gd name="T99" fmla="*/ 91 h 224"/>
                <a:gd name="T100" fmla="*/ 40 w 190"/>
                <a:gd name="T101" fmla="*/ 93 h 224"/>
                <a:gd name="T102" fmla="*/ 35 w 190"/>
                <a:gd name="T103" fmla="*/ 96 h 224"/>
                <a:gd name="T104" fmla="*/ 29 w 190"/>
                <a:gd name="T105" fmla="*/ 100 h 224"/>
                <a:gd name="T106" fmla="*/ 25 w 190"/>
                <a:gd name="T107" fmla="*/ 109 h 2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90" h="224">
                  <a:moveTo>
                    <a:pt x="49" y="219"/>
                  </a:moveTo>
                  <a:lnTo>
                    <a:pt x="47" y="221"/>
                  </a:lnTo>
                  <a:lnTo>
                    <a:pt x="43" y="224"/>
                  </a:lnTo>
                  <a:lnTo>
                    <a:pt x="41" y="224"/>
                  </a:lnTo>
                  <a:lnTo>
                    <a:pt x="39" y="222"/>
                  </a:lnTo>
                  <a:lnTo>
                    <a:pt x="36" y="218"/>
                  </a:lnTo>
                  <a:lnTo>
                    <a:pt x="35" y="215"/>
                  </a:lnTo>
                  <a:lnTo>
                    <a:pt x="33" y="210"/>
                  </a:lnTo>
                  <a:lnTo>
                    <a:pt x="31" y="210"/>
                  </a:lnTo>
                  <a:lnTo>
                    <a:pt x="27" y="212"/>
                  </a:lnTo>
                  <a:lnTo>
                    <a:pt x="23" y="213"/>
                  </a:lnTo>
                  <a:lnTo>
                    <a:pt x="18" y="213"/>
                  </a:lnTo>
                  <a:lnTo>
                    <a:pt x="13" y="213"/>
                  </a:lnTo>
                  <a:lnTo>
                    <a:pt x="13" y="212"/>
                  </a:lnTo>
                  <a:lnTo>
                    <a:pt x="11" y="209"/>
                  </a:lnTo>
                  <a:lnTo>
                    <a:pt x="12" y="200"/>
                  </a:lnTo>
                  <a:lnTo>
                    <a:pt x="15" y="194"/>
                  </a:lnTo>
                  <a:lnTo>
                    <a:pt x="18" y="189"/>
                  </a:lnTo>
                  <a:lnTo>
                    <a:pt x="19" y="186"/>
                  </a:lnTo>
                  <a:lnTo>
                    <a:pt x="18" y="182"/>
                  </a:lnTo>
                  <a:lnTo>
                    <a:pt x="18" y="177"/>
                  </a:lnTo>
                  <a:lnTo>
                    <a:pt x="17" y="171"/>
                  </a:lnTo>
                  <a:lnTo>
                    <a:pt x="15" y="167"/>
                  </a:lnTo>
                  <a:lnTo>
                    <a:pt x="12" y="164"/>
                  </a:lnTo>
                  <a:lnTo>
                    <a:pt x="13" y="162"/>
                  </a:lnTo>
                  <a:lnTo>
                    <a:pt x="15" y="157"/>
                  </a:lnTo>
                  <a:lnTo>
                    <a:pt x="10" y="156"/>
                  </a:lnTo>
                  <a:lnTo>
                    <a:pt x="9" y="153"/>
                  </a:lnTo>
                  <a:lnTo>
                    <a:pt x="7" y="147"/>
                  </a:lnTo>
                  <a:lnTo>
                    <a:pt x="9" y="144"/>
                  </a:lnTo>
                  <a:lnTo>
                    <a:pt x="7" y="141"/>
                  </a:lnTo>
                  <a:lnTo>
                    <a:pt x="5" y="141"/>
                  </a:lnTo>
                  <a:lnTo>
                    <a:pt x="4" y="140"/>
                  </a:lnTo>
                  <a:lnTo>
                    <a:pt x="1" y="138"/>
                  </a:lnTo>
                  <a:lnTo>
                    <a:pt x="0" y="135"/>
                  </a:lnTo>
                  <a:lnTo>
                    <a:pt x="3" y="121"/>
                  </a:lnTo>
                  <a:lnTo>
                    <a:pt x="4" y="118"/>
                  </a:lnTo>
                  <a:lnTo>
                    <a:pt x="6" y="113"/>
                  </a:lnTo>
                  <a:lnTo>
                    <a:pt x="10" y="110"/>
                  </a:lnTo>
                  <a:lnTo>
                    <a:pt x="15" y="110"/>
                  </a:lnTo>
                  <a:lnTo>
                    <a:pt x="19" y="113"/>
                  </a:lnTo>
                  <a:lnTo>
                    <a:pt x="25" y="116"/>
                  </a:lnTo>
                  <a:lnTo>
                    <a:pt x="29" y="113"/>
                  </a:lnTo>
                  <a:lnTo>
                    <a:pt x="35" y="112"/>
                  </a:lnTo>
                  <a:lnTo>
                    <a:pt x="41" y="109"/>
                  </a:lnTo>
                  <a:lnTo>
                    <a:pt x="43" y="110"/>
                  </a:lnTo>
                  <a:lnTo>
                    <a:pt x="45" y="112"/>
                  </a:lnTo>
                  <a:lnTo>
                    <a:pt x="47" y="113"/>
                  </a:lnTo>
                  <a:lnTo>
                    <a:pt x="49" y="112"/>
                  </a:lnTo>
                  <a:lnTo>
                    <a:pt x="57" y="110"/>
                  </a:lnTo>
                  <a:lnTo>
                    <a:pt x="59" y="109"/>
                  </a:lnTo>
                  <a:lnTo>
                    <a:pt x="61" y="104"/>
                  </a:lnTo>
                  <a:lnTo>
                    <a:pt x="64" y="102"/>
                  </a:lnTo>
                  <a:lnTo>
                    <a:pt x="63" y="96"/>
                  </a:lnTo>
                  <a:lnTo>
                    <a:pt x="61" y="90"/>
                  </a:lnTo>
                  <a:lnTo>
                    <a:pt x="60" y="89"/>
                  </a:lnTo>
                  <a:lnTo>
                    <a:pt x="58" y="88"/>
                  </a:lnTo>
                  <a:lnTo>
                    <a:pt x="55" y="86"/>
                  </a:lnTo>
                  <a:lnTo>
                    <a:pt x="53" y="85"/>
                  </a:lnTo>
                  <a:lnTo>
                    <a:pt x="52" y="84"/>
                  </a:lnTo>
                  <a:lnTo>
                    <a:pt x="53" y="70"/>
                  </a:lnTo>
                  <a:lnTo>
                    <a:pt x="54" y="67"/>
                  </a:lnTo>
                  <a:lnTo>
                    <a:pt x="55" y="66"/>
                  </a:lnTo>
                  <a:lnTo>
                    <a:pt x="60" y="65"/>
                  </a:lnTo>
                  <a:lnTo>
                    <a:pt x="60" y="64"/>
                  </a:lnTo>
                  <a:lnTo>
                    <a:pt x="60" y="61"/>
                  </a:lnTo>
                  <a:lnTo>
                    <a:pt x="59" y="59"/>
                  </a:lnTo>
                  <a:lnTo>
                    <a:pt x="60" y="58"/>
                  </a:lnTo>
                  <a:lnTo>
                    <a:pt x="65" y="55"/>
                  </a:lnTo>
                  <a:lnTo>
                    <a:pt x="70" y="53"/>
                  </a:lnTo>
                  <a:lnTo>
                    <a:pt x="73" y="47"/>
                  </a:lnTo>
                  <a:lnTo>
                    <a:pt x="76" y="41"/>
                  </a:lnTo>
                  <a:lnTo>
                    <a:pt x="75" y="37"/>
                  </a:lnTo>
                  <a:lnTo>
                    <a:pt x="73" y="34"/>
                  </a:lnTo>
                  <a:lnTo>
                    <a:pt x="77" y="28"/>
                  </a:lnTo>
                  <a:lnTo>
                    <a:pt x="78" y="25"/>
                  </a:lnTo>
                  <a:lnTo>
                    <a:pt x="81" y="24"/>
                  </a:lnTo>
                  <a:lnTo>
                    <a:pt x="84" y="23"/>
                  </a:lnTo>
                  <a:lnTo>
                    <a:pt x="89" y="18"/>
                  </a:lnTo>
                  <a:lnTo>
                    <a:pt x="90" y="18"/>
                  </a:lnTo>
                  <a:lnTo>
                    <a:pt x="94" y="19"/>
                  </a:lnTo>
                  <a:lnTo>
                    <a:pt x="100" y="23"/>
                  </a:lnTo>
                  <a:lnTo>
                    <a:pt x="101" y="29"/>
                  </a:lnTo>
                  <a:lnTo>
                    <a:pt x="102" y="30"/>
                  </a:lnTo>
                  <a:lnTo>
                    <a:pt x="103" y="29"/>
                  </a:lnTo>
                  <a:lnTo>
                    <a:pt x="107" y="29"/>
                  </a:lnTo>
                  <a:lnTo>
                    <a:pt x="109" y="25"/>
                  </a:lnTo>
                  <a:lnTo>
                    <a:pt x="112" y="20"/>
                  </a:lnTo>
                  <a:lnTo>
                    <a:pt x="114" y="14"/>
                  </a:lnTo>
                  <a:lnTo>
                    <a:pt x="115" y="11"/>
                  </a:lnTo>
                  <a:lnTo>
                    <a:pt x="118" y="9"/>
                  </a:lnTo>
                  <a:lnTo>
                    <a:pt x="123" y="6"/>
                  </a:lnTo>
                  <a:lnTo>
                    <a:pt x="125" y="3"/>
                  </a:lnTo>
                  <a:lnTo>
                    <a:pt x="129" y="0"/>
                  </a:lnTo>
                  <a:lnTo>
                    <a:pt x="132" y="1"/>
                  </a:lnTo>
                  <a:lnTo>
                    <a:pt x="137" y="4"/>
                  </a:lnTo>
                  <a:lnTo>
                    <a:pt x="141" y="1"/>
                  </a:lnTo>
                  <a:lnTo>
                    <a:pt x="144" y="3"/>
                  </a:lnTo>
                  <a:lnTo>
                    <a:pt x="145" y="7"/>
                  </a:lnTo>
                  <a:lnTo>
                    <a:pt x="148" y="7"/>
                  </a:lnTo>
                  <a:lnTo>
                    <a:pt x="153" y="5"/>
                  </a:lnTo>
                  <a:lnTo>
                    <a:pt x="156" y="5"/>
                  </a:lnTo>
                  <a:lnTo>
                    <a:pt x="159" y="7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7" y="11"/>
                  </a:lnTo>
                  <a:lnTo>
                    <a:pt x="169" y="11"/>
                  </a:lnTo>
                  <a:lnTo>
                    <a:pt x="172" y="12"/>
                  </a:lnTo>
                  <a:lnTo>
                    <a:pt x="174" y="17"/>
                  </a:lnTo>
                  <a:lnTo>
                    <a:pt x="175" y="18"/>
                  </a:lnTo>
                  <a:lnTo>
                    <a:pt x="177" y="19"/>
                  </a:lnTo>
                  <a:lnTo>
                    <a:pt x="184" y="26"/>
                  </a:lnTo>
                  <a:lnTo>
                    <a:pt x="187" y="30"/>
                  </a:lnTo>
                  <a:lnTo>
                    <a:pt x="189" y="34"/>
                  </a:lnTo>
                  <a:lnTo>
                    <a:pt x="189" y="36"/>
                  </a:lnTo>
                  <a:lnTo>
                    <a:pt x="187" y="40"/>
                  </a:lnTo>
                  <a:lnTo>
                    <a:pt x="184" y="44"/>
                  </a:lnTo>
                  <a:lnTo>
                    <a:pt x="181" y="49"/>
                  </a:lnTo>
                  <a:lnTo>
                    <a:pt x="181" y="52"/>
                  </a:lnTo>
                  <a:lnTo>
                    <a:pt x="184" y="56"/>
                  </a:lnTo>
                  <a:lnTo>
                    <a:pt x="183" y="60"/>
                  </a:lnTo>
                  <a:lnTo>
                    <a:pt x="179" y="65"/>
                  </a:lnTo>
                  <a:lnTo>
                    <a:pt x="178" y="68"/>
                  </a:lnTo>
                  <a:lnTo>
                    <a:pt x="178" y="71"/>
                  </a:lnTo>
                  <a:lnTo>
                    <a:pt x="179" y="73"/>
                  </a:lnTo>
                  <a:lnTo>
                    <a:pt x="183" y="76"/>
                  </a:lnTo>
                  <a:lnTo>
                    <a:pt x="184" y="78"/>
                  </a:lnTo>
                  <a:lnTo>
                    <a:pt x="183" y="82"/>
                  </a:lnTo>
                  <a:lnTo>
                    <a:pt x="180" y="85"/>
                  </a:lnTo>
                  <a:lnTo>
                    <a:pt x="179" y="89"/>
                  </a:lnTo>
                  <a:lnTo>
                    <a:pt x="177" y="92"/>
                  </a:lnTo>
                  <a:lnTo>
                    <a:pt x="175" y="96"/>
                  </a:lnTo>
                  <a:lnTo>
                    <a:pt x="172" y="98"/>
                  </a:lnTo>
                  <a:lnTo>
                    <a:pt x="171" y="101"/>
                  </a:lnTo>
                  <a:lnTo>
                    <a:pt x="169" y="103"/>
                  </a:lnTo>
                  <a:lnTo>
                    <a:pt x="168" y="106"/>
                  </a:lnTo>
                  <a:lnTo>
                    <a:pt x="165" y="106"/>
                  </a:lnTo>
                  <a:lnTo>
                    <a:pt x="160" y="106"/>
                  </a:lnTo>
                  <a:lnTo>
                    <a:pt x="159" y="107"/>
                  </a:lnTo>
                  <a:lnTo>
                    <a:pt x="156" y="112"/>
                  </a:lnTo>
                  <a:lnTo>
                    <a:pt x="154" y="115"/>
                  </a:lnTo>
                  <a:lnTo>
                    <a:pt x="153" y="119"/>
                  </a:lnTo>
                  <a:lnTo>
                    <a:pt x="155" y="120"/>
                  </a:lnTo>
                  <a:lnTo>
                    <a:pt x="157" y="121"/>
                  </a:lnTo>
                  <a:lnTo>
                    <a:pt x="160" y="126"/>
                  </a:lnTo>
                  <a:lnTo>
                    <a:pt x="166" y="131"/>
                  </a:lnTo>
                  <a:lnTo>
                    <a:pt x="171" y="133"/>
                  </a:lnTo>
                  <a:lnTo>
                    <a:pt x="171" y="138"/>
                  </a:lnTo>
                  <a:lnTo>
                    <a:pt x="177" y="144"/>
                  </a:lnTo>
                  <a:lnTo>
                    <a:pt x="178" y="147"/>
                  </a:lnTo>
                  <a:lnTo>
                    <a:pt x="179" y="152"/>
                  </a:lnTo>
                  <a:lnTo>
                    <a:pt x="178" y="155"/>
                  </a:lnTo>
                  <a:lnTo>
                    <a:pt x="175" y="157"/>
                  </a:lnTo>
                  <a:lnTo>
                    <a:pt x="175" y="161"/>
                  </a:lnTo>
                  <a:lnTo>
                    <a:pt x="179" y="169"/>
                  </a:lnTo>
                  <a:lnTo>
                    <a:pt x="181" y="171"/>
                  </a:lnTo>
                  <a:lnTo>
                    <a:pt x="185" y="173"/>
                  </a:lnTo>
                  <a:lnTo>
                    <a:pt x="189" y="174"/>
                  </a:lnTo>
                  <a:lnTo>
                    <a:pt x="190" y="175"/>
                  </a:lnTo>
                  <a:lnTo>
                    <a:pt x="189" y="179"/>
                  </a:lnTo>
                  <a:lnTo>
                    <a:pt x="187" y="182"/>
                  </a:lnTo>
                  <a:lnTo>
                    <a:pt x="185" y="185"/>
                  </a:lnTo>
                  <a:lnTo>
                    <a:pt x="184" y="188"/>
                  </a:lnTo>
                  <a:lnTo>
                    <a:pt x="184" y="191"/>
                  </a:lnTo>
                  <a:lnTo>
                    <a:pt x="183" y="194"/>
                  </a:lnTo>
                  <a:lnTo>
                    <a:pt x="181" y="198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7" y="207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69" y="211"/>
                  </a:lnTo>
                  <a:lnTo>
                    <a:pt x="167" y="215"/>
                  </a:lnTo>
                  <a:lnTo>
                    <a:pt x="165" y="218"/>
                  </a:lnTo>
                  <a:lnTo>
                    <a:pt x="162" y="221"/>
                  </a:lnTo>
                  <a:lnTo>
                    <a:pt x="159" y="221"/>
                  </a:lnTo>
                  <a:lnTo>
                    <a:pt x="155" y="219"/>
                  </a:lnTo>
                  <a:lnTo>
                    <a:pt x="153" y="217"/>
                  </a:lnTo>
                  <a:lnTo>
                    <a:pt x="153" y="215"/>
                  </a:lnTo>
                  <a:lnTo>
                    <a:pt x="151" y="212"/>
                  </a:lnTo>
                  <a:lnTo>
                    <a:pt x="150" y="209"/>
                  </a:lnTo>
                  <a:lnTo>
                    <a:pt x="149" y="207"/>
                  </a:lnTo>
                  <a:lnTo>
                    <a:pt x="145" y="207"/>
                  </a:lnTo>
                  <a:lnTo>
                    <a:pt x="142" y="207"/>
                  </a:lnTo>
                  <a:lnTo>
                    <a:pt x="139" y="207"/>
                  </a:lnTo>
                  <a:lnTo>
                    <a:pt x="137" y="211"/>
                  </a:lnTo>
                  <a:lnTo>
                    <a:pt x="132" y="209"/>
                  </a:lnTo>
                  <a:lnTo>
                    <a:pt x="129" y="207"/>
                  </a:lnTo>
                  <a:lnTo>
                    <a:pt x="124" y="207"/>
                  </a:lnTo>
                  <a:lnTo>
                    <a:pt x="120" y="205"/>
                  </a:lnTo>
                  <a:lnTo>
                    <a:pt x="117" y="203"/>
                  </a:lnTo>
                  <a:lnTo>
                    <a:pt x="117" y="198"/>
                  </a:lnTo>
                  <a:lnTo>
                    <a:pt x="113" y="195"/>
                  </a:lnTo>
                  <a:lnTo>
                    <a:pt x="111" y="192"/>
                  </a:lnTo>
                  <a:lnTo>
                    <a:pt x="108" y="187"/>
                  </a:lnTo>
                  <a:lnTo>
                    <a:pt x="107" y="185"/>
                  </a:lnTo>
                  <a:lnTo>
                    <a:pt x="103" y="185"/>
                  </a:lnTo>
                  <a:lnTo>
                    <a:pt x="101" y="185"/>
                  </a:lnTo>
                  <a:lnTo>
                    <a:pt x="95" y="182"/>
                  </a:lnTo>
                  <a:lnTo>
                    <a:pt x="94" y="182"/>
                  </a:lnTo>
                  <a:lnTo>
                    <a:pt x="89" y="183"/>
                  </a:lnTo>
                  <a:lnTo>
                    <a:pt x="87" y="185"/>
                  </a:lnTo>
                  <a:lnTo>
                    <a:pt x="83" y="186"/>
                  </a:lnTo>
                  <a:lnTo>
                    <a:pt x="81" y="186"/>
                  </a:lnTo>
                  <a:lnTo>
                    <a:pt x="78" y="191"/>
                  </a:lnTo>
                  <a:lnTo>
                    <a:pt x="76" y="192"/>
                  </a:lnTo>
                  <a:lnTo>
                    <a:pt x="73" y="192"/>
                  </a:lnTo>
                  <a:lnTo>
                    <a:pt x="71" y="191"/>
                  </a:lnTo>
                  <a:lnTo>
                    <a:pt x="67" y="191"/>
                  </a:lnTo>
                  <a:lnTo>
                    <a:pt x="65" y="193"/>
                  </a:lnTo>
                  <a:lnTo>
                    <a:pt x="63" y="197"/>
                  </a:lnTo>
                  <a:lnTo>
                    <a:pt x="59" y="200"/>
                  </a:lnTo>
                  <a:lnTo>
                    <a:pt x="55" y="205"/>
                  </a:lnTo>
                  <a:lnTo>
                    <a:pt x="54" y="210"/>
                  </a:lnTo>
                  <a:lnTo>
                    <a:pt x="52" y="213"/>
                  </a:lnTo>
                  <a:lnTo>
                    <a:pt x="51" y="217"/>
                  </a:lnTo>
                  <a:lnTo>
                    <a:pt x="49" y="219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14" name="Freeform 421"/>
            <p:cNvSpPr>
              <a:spLocks/>
            </p:cNvSpPr>
            <p:nvPr/>
          </p:nvSpPr>
          <p:spPr bwMode="auto">
            <a:xfrm>
              <a:off x="5413918" y="4772120"/>
              <a:ext cx="200199" cy="305569"/>
            </a:xfrm>
            <a:custGeom>
              <a:avLst/>
              <a:gdLst>
                <a:gd name="T0" fmla="*/ 16 w 91"/>
                <a:gd name="T1" fmla="*/ 73 h 148"/>
                <a:gd name="T2" fmla="*/ 12 w 91"/>
                <a:gd name="T3" fmla="*/ 74 h 148"/>
                <a:gd name="T4" fmla="*/ 9 w 91"/>
                <a:gd name="T5" fmla="*/ 72 h 148"/>
                <a:gd name="T6" fmla="*/ 6 w 91"/>
                <a:gd name="T7" fmla="*/ 75 h 148"/>
                <a:gd name="T8" fmla="*/ 3 w 91"/>
                <a:gd name="T9" fmla="*/ 71 h 148"/>
                <a:gd name="T10" fmla="*/ 4 w 91"/>
                <a:gd name="T11" fmla="*/ 68 h 148"/>
                <a:gd name="T12" fmla="*/ 4 w 91"/>
                <a:gd name="T13" fmla="*/ 65 h 148"/>
                <a:gd name="T14" fmla="*/ 3 w 91"/>
                <a:gd name="T15" fmla="*/ 61 h 148"/>
                <a:gd name="T16" fmla="*/ 1 w 91"/>
                <a:gd name="T17" fmla="*/ 57 h 148"/>
                <a:gd name="T18" fmla="*/ 2 w 91"/>
                <a:gd name="T19" fmla="*/ 52 h 148"/>
                <a:gd name="T20" fmla="*/ 4 w 91"/>
                <a:gd name="T21" fmla="*/ 48 h 148"/>
                <a:gd name="T22" fmla="*/ 6 w 91"/>
                <a:gd name="T23" fmla="*/ 45 h 148"/>
                <a:gd name="T24" fmla="*/ 10 w 91"/>
                <a:gd name="T25" fmla="*/ 44 h 148"/>
                <a:gd name="T26" fmla="*/ 9 w 91"/>
                <a:gd name="T27" fmla="*/ 40 h 148"/>
                <a:gd name="T28" fmla="*/ 7 w 91"/>
                <a:gd name="T29" fmla="*/ 35 h 148"/>
                <a:gd name="T30" fmla="*/ 8 w 91"/>
                <a:gd name="T31" fmla="*/ 29 h 148"/>
                <a:gd name="T32" fmla="*/ 8 w 91"/>
                <a:gd name="T33" fmla="*/ 23 h 148"/>
                <a:gd name="T34" fmla="*/ 9 w 91"/>
                <a:gd name="T35" fmla="*/ 18 h 148"/>
                <a:gd name="T36" fmla="*/ 9 w 91"/>
                <a:gd name="T37" fmla="*/ 14 h 148"/>
                <a:gd name="T38" fmla="*/ 8 w 91"/>
                <a:gd name="T39" fmla="*/ 8 h 148"/>
                <a:gd name="T40" fmla="*/ 10 w 91"/>
                <a:gd name="T41" fmla="*/ 3 h 148"/>
                <a:gd name="T42" fmla="*/ 10 w 91"/>
                <a:gd name="T43" fmla="*/ 0 h 148"/>
                <a:gd name="T44" fmla="*/ 17 w 91"/>
                <a:gd name="T45" fmla="*/ 5 h 148"/>
                <a:gd name="T46" fmla="*/ 20 w 91"/>
                <a:gd name="T47" fmla="*/ 5 h 148"/>
                <a:gd name="T48" fmla="*/ 25 w 91"/>
                <a:gd name="T49" fmla="*/ 7 h 148"/>
                <a:gd name="T50" fmla="*/ 29 w 91"/>
                <a:gd name="T51" fmla="*/ 5 h 148"/>
                <a:gd name="T52" fmla="*/ 32 w 91"/>
                <a:gd name="T53" fmla="*/ 6 h 148"/>
                <a:gd name="T54" fmla="*/ 35 w 91"/>
                <a:gd name="T55" fmla="*/ 4 h 148"/>
                <a:gd name="T56" fmla="*/ 36 w 91"/>
                <a:gd name="T57" fmla="*/ 4 h 148"/>
                <a:gd name="T58" fmla="*/ 39 w 91"/>
                <a:gd name="T59" fmla="*/ 5 h 148"/>
                <a:gd name="T60" fmla="*/ 37 w 91"/>
                <a:gd name="T61" fmla="*/ 10 h 148"/>
                <a:gd name="T62" fmla="*/ 36 w 91"/>
                <a:gd name="T63" fmla="*/ 15 h 148"/>
                <a:gd name="T64" fmla="*/ 39 w 91"/>
                <a:gd name="T65" fmla="*/ 19 h 148"/>
                <a:gd name="T66" fmla="*/ 42 w 91"/>
                <a:gd name="T67" fmla="*/ 20 h 148"/>
                <a:gd name="T68" fmla="*/ 46 w 91"/>
                <a:gd name="T69" fmla="*/ 23 h 148"/>
                <a:gd name="T70" fmla="*/ 45 w 91"/>
                <a:gd name="T71" fmla="*/ 29 h 148"/>
                <a:gd name="T72" fmla="*/ 42 w 91"/>
                <a:gd name="T73" fmla="*/ 29 h 148"/>
                <a:gd name="T74" fmla="*/ 37 w 91"/>
                <a:gd name="T75" fmla="*/ 31 h 148"/>
                <a:gd name="T76" fmla="*/ 38 w 91"/>
                <a:gd name="T77" fmla="*/ 35 h 148"/>
                <a:gd name="T78" fmla="*/ 37 w 91"/>
                <a:gd name="T79" fmla="*/ 41 h 148"/>
                <a:gd name="T80" fmla="*/ 37 w 91"/>
                <a:gd name="T81" fmla="*/ 47 h 148"/>
                <a:gd name="T82" fmla="*/ 37 w 91"/>
                <a:gd name="T83" fmla="*/ 53 h 148"/>
                <a:gd name="T84" fmla="*/ 37 w 91"/>
                <a:gd name="T85" fmla="*/ 60 h 148"/>
                <a:gd name="T86" fmla="*/ 36 w 91"/>
                <a:gd name="T87" fmla="*/ 65 h 148"/>
                <a:gd name="T88" fmla="*/ 30 w 91"/>
                <a:gd name="T89" fmla="*/ 67 h 148"/>
                <a:gd name="T90" fmla="*/ 25 w 91"/>
                <a:gd name="T91" fmla="*/ 70 h 148"/>
                <a:gd name="T92" fmla="*/ 24 w 91"/>
                <a:gd name="T93" fmla="*/ 73 h 148"/>
                <a:gd name="T94" fmla="*/ 20 w 91"/>
                <a:gd name="T95" fmla="*/ 75 h 148"/>
                <a:gd name="T96" fmla="*/ 18 w 91"/>
                <a:gd name="T97" fmla="*/ 74 h 14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91" h="148">
                  <a:moveTo>
                    <a:pt x="36" y="146"/>
                  </a:moveTo>
                  <a:lnTo>
                    <a:pt x="32" y="145"/>
                  </a:lnTo>
                  <a:lnTo>
                    <a:pt x="28" y="146"/>
                  </a:lnTo>
                  <a:lnTo>
                    <a:pt x="24" y="147"/>
                  </a:lnTo>
                  <a:lnTo>
                    <a:pt x="22" y="145"/>
                  </a:lnTo>
                  <a:lnTo>
                    <a:pt x="18" y="143"/>
                  </a:lnTo>
                  <a:lnTo>
                    <a:pt x="14" y="146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6" y="141"/>
                  </a:lnTo>
                  <a:lnTo>
                    <a:pt x="7" y="137"/>
                  </a:lnTo>
                  <a:lnTo>
                    <a:pt x="8" y="135"/>
                  </a:lnTo>
                  <a:lnTo>
                    <a:pt x="8" y="133"/>
                  </a:lnTo>
                  <a:lnTo>
                    <a:pt x="8" y="128"/>
                  </a:lnTo>
                  <a:lnTo>
                    <a:pt x="6" y="125"/>
                  </a:lnTo>
                  <a:lnTo>
                    <a:pt x="6" y="121"/>
                  </a:lnTo>
                  <a:lnTo>
                    <a:pt x="5" y="119"/>
                  </a:lnTo>
                  <a:lnTo>
                    <a:pt x="1" y="113"/>
                  </a:lnTo>
                  <a:lnTo>
                    <a:pt x="0" y="110"/>
                  </a:lnTo>
                  <a:lnTo>
                    <a:pt x="4" y="103"/>
                  </a:lnTo>
                  <a:lnTo>
                    <a:pt x="5" y="99"/>
                  </a:lnTo>
                  <a:lnTo>
                    <a:pt x="8" y="95"/>
                  </a:lnTo>
                  <a:lnTo>
                    <a:pt x="11" y="92"/>
                  </a:lnTo>
                  <a:lnTo>
                    <a:pt x="11" y="88"/>
                  </a:lnTo>
                  <a:lnTo>
                    <a:pt x="17" y="87"/>
                  </a:lnTo>
                  <a:lnTo>
                    <a:pt x="19" y="86"/>
                  </a:lnTo>
                  <a:lnTo>
                    <a:pt x="19" y="81"/>
                  </a:lnTo>
                  <a:lnTo>
                    <a:pt x="18" y="79"/>
                  </a:lnTo>
                  <a:lnTo>
                    <a:pt x="16" y="74"/>
                  </a:lnTo>
                  <a:lnTo>
                    <a:pt x="14" y="69"/>
                  </a:lnTo>
                  <a:lnTo>
                    <a:pt x="14" y="63"/>
                  </a:lnTo>
                  <a:lnTo>
                    <a:pt x="16" y="57"/>
                  </a:lnTo>
                  <a:lnTo>
                    <a:pt x="16" y="50"/>
                  </a:lnTo>
                  <a:lnTo>
                    <a:pt x="16" y="45"/>
                  </a:lnTo>
                  <a:lnTo>
                    <a:pt x="17" y="43"/>
                  </a:lnTo>
                  <a:lnTo>
                    <a:pt x="17" y="36"/>
                  </a:lnTo>
                  <a:lnTo>
                    <a:pt x="16" y="31"/>
                  </a:lnTo>
                  <a:lnTo>
                    <a:pt x="17" y="27"/>
                  </a:lnTo>
                  <a:lnTo>
                    <a:pt x="16" y="22"/>
                  </a:lnTo>
                  <a:lnTo>
                    <a:pt x="16" y="16"/>
                  </a:lnTo>
                  <a:lnTo>
                    <a:pt x="18" y="10"/>
                  </a:lnTo>
                  <a:lnTo>
                    <a:pt x="19" y="6"/>
                  </a:lnTo>
                  <a:lnTo>
                    <a:pt x="19" y="1"/>
                  </a:lnTo>
                  <a:lnTo>
                    <a:pt x="20" y="0"/>
                  </a:lnTo>
                  <a:lnTo>
                    <a:pt x="25" y="2"/>
                  </a:lnTo>
                  <a:lnTo>
                    <a:pt x="34" y="9"/>
                  </a:lnTo>
                  <a:lnTo>
                    <a:pt x="36" y="8"/>
                  </a:lnTo>
                  <a:lnTo>
                    <a:pt x="40" y="10"/>
                  </a:lnTo>
                  <a:lnTo>
                    <a:pt x="44" y="13"/>
                  </a:lnTo>
                  <a:lnTo>
                    <a:pt x="49" y="14"/>
                  </a:lnTo>
                  <a:lnTo>
                    <a:pt x="54" y="10"/>
                  </a:lnTo>
                  <a:lnTo>
                    <a:pt x="58" y="9"/>
                  </a:lnTo>
                  <a:lnTo>
                    <a:pt x="61" y="9"/>
                  </a:lnTo>
                  <a:lnTo>
                    <a:pt x="64" y="12"/>
                  </a:lnTo>
                  <a:lnTo>
                    <a:pt x="67" y="10"/>
                  </a:lnTo>
                  <a:lnTo>
                    <a:pt x="70" y="8"/>
                  </a:lnTo>
                  <a:lnTo>
                    <a:pt x="70" y="4"/>
                  </a:lnTo>
                  <a:lnTo>
                    <a:pt x="71" y="8"/>
                  </a:lnTo>
                  <a:lnTo>
                    <a:pt x="73" y="9"/>
                  </a:lnTo>
                  <a:lnTo>
                    <a:pt x="77" y="10"/>
                  </a:lnTo>
                  <a:lnTo>
                    <a:pt x="76" y="15"/>
                  </a:lnTo>
                  <a:lnTo>
                    <a:pt x="74" y="19"/>
                  </a:lnTo>
                  <a:lnTo>
                    <a:pt x="72" y="25"/>
                  </a:lnTo>
                  <a:lnTo>
                    <a:pt x="71" y="30"/>
                  </a:lnTo>
                  <a:lnTo>
                    <a:pt x="74" y="34"/>
                  </a:lnTo>
                  <a:lnTo>
                    <a:pt x="77" y="38"/>
                  </a:lnTo>
                  <a:lnTo>
                    <a:pt x="80" y="39"/>
                  </a:lnTo>
                  <a:lnTo>
                    <a:pt x="84" y="39"/>
                  </a:lnTo>
                  <a:lnTo>
                    <a:pt x="88" y="43"/>
                  </a:lnTo>
                  <a:lnTo>
                    <a:pt x="91" y="46"/>
                  </a:lnTo>
                  <a:lnTo>
                    <a:pt x="90" y="51"/>
                  </a:lnTo>
                  <a:lnTo>
                    <a:pt x="89" y="57"/>
                  </a:lnTo>
                  <a:lnTo>
                    <a:pt x="86" y="58"/>
                  </a:lnTo>
                  <a:lnTo>
                    <a:pt x="83" y="57"/>
                  </a:lnTo>
                  <a:lnTo>
                    <a:pt x="78" y="56"/>
                  </a:lnTo>
                  <a:lnTo>
                    <a:pt x="74" y="61"/>
                  </a:lnTo>
                  <a:lnTo>
                    <a:pt x="73" y="66"/>
                  </a:lnTo>
                  <a:lnTo>
                    <a:pt x="76" y="70"/>
                  </a:lnTo>
                  <a:lnTo>
                    <a:pt x="78" y="76"/>
                  </a:lnTo>
                  <a:lnTo>
                    <a:pt x="74" y="80"/>
                  </a:lnTo>
                  <a:lnTo>
                    <a:pt x="76" y="86"/>
                  </a:lnTo>
                  <a:lnTo>
                    <a:pt x="74" y="93"/>
                  </a:lnTo>
                  <a:lnTo>
                    <a:pt x="74" y="99"/>
                  </a:lnTo>
                  <a:lnTo>
                    <a:pt x="73" y="105"/>
                  </a:lnTo>
                  <a:lnTo>
                    <a:pt x="73" y="112"/>
                  </a:lnTo>
                  <a:lnTo>
                    <a:pt x="74" y="119"/>
                  </a:lnTo>
                  <a:lnTo>
                    <a:pt x="73" y="127"/>
                  </a:lnTo>
                  <a:lnTo>
                    <a:pt x="71" y="129"/>
                  </a:lnTo>
                  <a:lnTo>
                    <a:pt x="65" y="130"/>
                  </a:lnTo>
                  <a:lnTo>
                    <a:pt x="60" y="133"/>
                  </a:lnTo>
                  <a:lnTo>
                    <a:pt x="56" y="136"/>
                  </a:lnTo>
                  <a:lnTo>
                    <a:pt x="50" y="139"/>
                  </a:lnTo>
                  <a:lnTo>
                    <a:pt x="48" y="142"/>
                  </a:lnTo>
                  <a:lnTo>
                    <a:pt x="48" y="145"/>
                  </a:lnTo>
                  <a:lnTo>
                    <a:pt x="41" y="145"/>
                  </a:lnTo>
                  <a:lnTo>
                    <a:pt x="40" y="148"/>
                  </a:lnTo>
                  <a:lnTo>
                    <a:pt x="37" y="147"/>
                  </a:lnTo>
                  <a:lnTo>
                    <a:pt x="36" y="146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15" name="Freeform 422"/>
            <p:cNvSpPr>
              <a:spLocks/>
            </p:cNvSpPr>
            <p:nvPr/>
          </p:nvSpPr>
          <p:spPr bwMode="auto">
            <a:xfrm>
              <a:off x="5757736" y="4572482"/>
              <a:ext cx="374284" cy="297420"/>
            </a:xfrm>
            <a:custGeom>
              <a:avLst/>
              <a:gdLst>
                <a:gd name="T0" fmla="*/ 54 w 172"/>
                <a:gd name="T1" fmla="*/ 66 h 146"/>
                <a:gd name="T2" fmla="*/ 25 w 172"/>
                <a:gd name="T3" fmla="*/ 73 h 146"/>
                <a:gd name="T4" fmla="*/ 29 w 172"/>
                <a:gd name="T5" fmla="*/ 64 h 146"/>
                <a:gd name="T6" fmla="*/ 42 w 172"/>
                <a:gd name="T7" fmla="*/ 61 h 146"/>
                <a:gd name="T8" fmla="*/ 48 w 172"/>
                <a:gd name="T9" fmla="*/ 57 h 146"/>
                <a:gd name="T10" fmla="*/ 39 w 172"/>
                <a:gd name="T11" fmla="*/ 53 h 146"/>
                <a:gd name="T12" fmla="*/ 36 w 172"/>
                <a:gd name="T13" fmla="*/ 57 h 146"/>
                <a:gd name="T14" fmla="*/ 24 w 172"/>
                <a:gd name="T15" fmla="*/ 54 h 146"/>
                <a:gd name="T16" fmla="*/ 22 w 172"/>
                <a:gd name="T17" fmla="*/ 46 h 146"/>
                <a:gd name="T18" fmla="*/ 20 w 172"/>
                <a:gd name="T19" fmla="*/ 48 h 146"/>
                <a:gd name="T20" fmla="*/ 22 w 172"/>
                <a:gd name="T21" fmla="*/ 58 h 146"/>
                <a:gd name="T22" fmla="*/ 23 w 172"/>
                <a:gd name="T23" fmla="*/ 62 h 146"/>
                <a:gd name="T24" fmla="*/ 13 w 172"/>
                <a:gd name="T25" fmla="*/ 58 h 146"/>
                <a:gd name="T26" fmla="*/ 13 w 172"/>
                <a:gd name="T27" fmla="*/ 54 h 146"/>
                <a:gd name="T28" fmla="*/ 10 w 172"/>
                <a:gd name="T29" fmla="*/ 45 h 146"/>
                <a:gd name="T30" fmla="*/ 11 w 172"/>
                <a:gd name="T31" fmla="*/ 39 h 146"/>
                <a:gd name="T32" fmla="*/ 14 w 172"/>
                <a:gd name="T33" fmla="*/ 32 h 146"/>
                <a:gd name="T34" fmla="*/ 11 w 172"/>
                <a:gd name="T35" fmla="*/ 32 h 146"/>
                <a:gd name="T36" fmla="*/ 9 w 172"/>
                <a:gd name="T37" fmla="*/ 30 h 146"/>
                <a:gd name="T38" fmla="*/ 7 w 172"/>
                <a:gd name="T39" fmla="*/ 27 h 146"/>
                <a:gd name="T40" fmla="*/ 5 w 172"/>
                <a:gd name="T41" fmla="*/ 25 h 146"/>
                <a:gd name="T42" fmla="*/ 2 w 172"/>
                <a:gd name="T43" fmla="*/ 21 h 146"/>
                <a:gd name="T44" fmla="*/ 1 w 172"/>
                <a:gd name="T45" fmla="*/ 18 h 146"/>
                <a:gd name="T46" fmla="*/ 3 w 172"/>
                <a:gd name="T47" fmla="*/ 14 h 146"/>
                <a:gd name="T48" fmla="*/ 5 w 172"/>
                <a:gd name="T49" fmla="*/ 9 h 146"/>
                <a:gd name="T50" fmla="*/ 8 w 172"/>
                <a:gd name="T51" fmla="*/ 6 h 146"/>
                <a:gd name="T52" fmla="*/ 11 w 172"/>
                <a:gd name="T53" fmla="*/ 5 h 146"/>
                <a:gd name="T54" fmla="*/ 14 w 172"/>
                <a:gd name="T55" fmla="*/ 5 h 146"/>
                <a:gd name="T56" fmla="*/ 16 w 172"/>
                <a:gd name="T57" fmla="*/ 2 h 146"/>
                <a:gd name="T58" fmla="*/ 19 w 172"/>
                <a:gd name="T59" fmla="*/ 2 h 146"/>
                <a:gd name="T60" fmla="*/ 23 w 172"/>
                <a:gd name="T61" fmla="*/ 0 h 146"/>
                <a:gd name="T62" fmla="*/ 26 w 172"/>
                <a:gd name="T63" fmla="*/ 2 h 146"/>
                <a:gd name="T64" fmla="*/ 29 w 172"/>
                <a:gd name="T65" fmla="*/ 2 h 146"/>
                <a:gd name="T66" fmla="*/ 31 w 172"/>
                <a:gd name="T67" fmla="*/ 5 h 146"/>
                <a:gd name="T68" fmla="*/ 34 w 172"/>
                <a:gd name="T69" fmla="*/ 8 h 146"/>
                <a:gd name="T70" fmla="*/ 36 w 172"/>
                <a:gd name="T71" fmla="*/ 12 h 146"/>
                <a:gd name="T72" fmla="*/ 40 w 172"/>
                <a:gd name="T73" fmla="*/ 13 h 146"/>
                <a:gd name="T74" fmla="*/ 44 w 172"/>
                <a:gd name="T75" fmla="*/ 15 h 146"/>
                <a:gd name="T76" fmla="*/ 47 w 172"/>
                <a:gd name="T77" fmla="*/ 13 h 146"/>
                <a:gd name="T78" fmla="*/ 50 w 172"/>
                <a:gd name="T79" fmla="*/ 13 h 146"/>
                <a:gd name="T80" fmla="*/ 51 w 172"/>
                <a:gd name="T81" fmla="*/ 15 h 146"/>
                <a:gd name="T82" fmla="*/ 52 w 172"/>
                <a:gd name="T83" fmla="*/ 18 h 146"/>
                <a:gd name="T84" fmla="*/ 55 w 172"/>
                <a:gd name="T85" fmla="*/ 20 h 146"/>
                <a:gd name="T86" fmla="*/ 58 w 172"/>
                <a:gd name="T87" fmla="*/ 18 h 146"/>
                <a:gd name="T88" fmla="*/ 60 w 172"/>
                <a:gd name="T89" fmla="*/ 15 h 146"/>
                <a:gd name="T90" fmla="*/ 62 w 172"/>
                <a:gd name="T91" fmla="*/ 15 h 146"/>
                <a:gd name="T92" fmla="*/ 64 w 172"/>
                <a:gd name="T93" fmla="*/ 17 h 146"/>
                <a:gd name="T94" fmla="*/ 66 w 172"/>
                <a:gd name="T95" fmla="*/ 19 h 146"/>
                <a:gd name="T96" fmla="*/ 71 w 172"/>
                <a:gd name="T97" fmla="*/ 17 h 146"/>
                <a:gd name="T98" fmla="*/ 77 w 172"/>
                <a:gd name="T99" fmla="*/ 17 h 146"/>
                <a:gd name="T100" fmla="*/ 86 w 172"/>
                <a:gd name="T101" fmla="*/ 18 h 146"/>
                <a:gd name="T102" fmla="*/ 84 w 172"/>
                <a:gd name="T103" fmla="*/ 21 h 146"/>
                <a:gd name="T104" fmla="*/ 83 w 172"/>
                <a:gd name="T105" fmla="*/ 24 h 146"/>
                <a:gd name="T106" fmla="*/ 81 w 172"/>
                <a:gd name="T107" fmla="*/ 28 h 146"/>
                <a:gd name="T108" fmla="*/ 78 w 172"/>
                <a:gd name="T109" fmla="*/ 32 h 146"/>
                <a:gd name="T110" fmla="*/ 74 w 172"/>
                <a:gd name="T111" fmla="*/ 35 h 146"/>
                <a:gd name="T112" fmla="*/ 71 w 172"/>
                <a:gd name="T113" fmla="*/ 42 h 146"/>
                <a:gd name="T114" fmla="*/ 68 w 172"/>
                <a:gd name="T115" fmla="*/ 46 h 146"/>
                <a:gd name="T116" fmla="*/ 65 w 172"/>
                <a:gd name="T117" fmla="*/ 49 h 146"/>
                <a:gd name="T118" fmla="*/ 60 w 172"/>
                <a:gd name="T119" fmla="*/ 53 h 146"/>
                <a:gd name="T120" fmla="*/ 59 w 172"/>
                <a:gd name="T121" fmla="*/ 58 h 146"/>
                <a:gd name="T122" fmla="*/ 59 w 172"/>
                <a:gd name="T123" fmla="*/ 66 h 14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72" h="146">
                  <a:moveTo>
                    <a:pt x="117" y="131"/>
                  </a:moveTo>
                  <a:lnTo>
                    <a:pt x="107" y="132"/>
                  </a:lnTo>
                  <a:lnTo>
                    <a:pt x="89" y="136"/>
                  </a:lnTo>
                  <a:lnTo>
                    <a:pt x="50" y="146"/>
                  </a:lnTo>
                  <a:lnTo>
                    <a:pt x="47" y="143"/>
                  </a:lnTo>
                  <a:lnTo>
                    <a:pt x="58" y="128"/>
                  </a:lnTo>
                  <a:lnTo>
                    <a:pt x="66" y="130"/>
                  </a:lnTo>
                  <a:lnTo>
                    <a:pt x="83" y="122"/>
                  </a:lnTo>
                  <a:lnTo>
                    <a:pt x="95" y="116"/>
                  </a:lnTo>
                  <a:lnTo>
                    <a:pt x="95" y="114"/>
                  </a:lnTo>
                  <a:lnTo>
                    <a:pt x="92" y="110"/>
                  </a:lnTo>
                  <a:lnTo>
                    <a:pt x="77" y="106"/>
                  </a:lnTo>
                  <a:lnTo>
                    <a:pt x="75" y="109"/>
                  </a:lnTo>
                  <a:lnTo>
                    <a:pt x="72" y="113"/>
                  </a:lnTo>
                  <a:lnTo>
                    <a:pt x="53" y="110"/>
                  </a:lnTo>
                  <a:lnTo>
                    <a:pt x="48" y="107"/>
                  </a:lnTo>
                  <a:lnTo>
                    <a:pt x="45" y="100"/>
                  </a:lnTo>
                  <a:lnTo>
                    <a:pt x="44" y="91"/>
                  </a:lnTo>
                  <a:lnTo>
                    <a:pt x="42" y="90"/>
                  </a:lnTo>
                  <a:lnTo>
                    <a:pt x="40" y="95"/>
                  </a:lnTo>
                  <a:lnTo>
                    <a:pt x="38" y="110"/>
                  </a:lnTo>
                  <a:lnTo>
                    <a:pt x="44" y="116"/>
                  </a:lnTo>
                  <a:lnTo>
                    <a:pt x="46" y="121"/>
                  </a:lnTo>
                  <a:lnTo>
                    <a:pt x="45" y="124"/>
                  </a:lnTo>
                  <a:lnTo>
                    <a:pt x="28" y="119"/>
                  </a:lnTo>
                  <a:lnTo>
                    <a:pt x="26" y="116"/>
                  </a:lnTo>
                  <a:lnTo>
                    <a:pt x="24" y="113"/>
                  </a:lnTo>
                  <a:lnTo>
                    <a:pt x="26" y="107"/>
                  </a:lnTo>
                  <a:lnTo>
                    <a:pt x="24" y="102"/>
                  </a:lnTo>
                  <a:lnTo>
                    <a:pt x="20" y="89"/>
                  </a:lnTo>
                  <a:lnTo>
                    <a:pt x="20" y="84"/>
                  </a:lnTo>
                  <a:lnTo>
                    <a:pt x="22" y="77"/>
                  </a:lnTo>
                  <a:lnTo>
                    <a:pt x="26" y="69"/>
                  </a:lnTo>
                  <a:lnTo>
                    <a:pt x="28" y="64"/>
                  </a:lnTo>
                  <a:lnTo>
                    <a:pt x="27" y="63"/>
                  </a:lnTo>
                  <a:lnTo>
                    <a:pt x="22" y="63"/>
                  </a:lnTo>
                  <a:lnTo>
                    <a:pt x="18" y="65"/>
                  </a:lnTo>
                  <a:lnTo>
                    <a:pt x="17" y="60"/>
                  </a:lnTo>
                  <a:lnTo>
                    <a:pt x="16" y="55"/>
                  </a:lnTo>
                  <a:lnTo>
                    <a:pt x="14" y="53"/>
                  </a:lnTo>
                  <a:lnTo>
                    <a:pt x="11" y="51"/>
                  </a:lnTo>
                  <a:lnTo>
                    <a:pt x="9" y="49"/>
                  </a:lnTo>
                  <a:lnTo>
                    <a:pt x="5" y="46"/>
                  </a:lnTo>
                  <a:lnTo>
                    <a:pt x="3" y="42"/>
                  </a:lnTo>
                  <a:lnTo>
                    <a:pt x="0" y="37"/>
                  </a:lnTo>
                  <a:lnTo>
                    <a:pt x="2" y="35"/>
                  </a:lnTo>
                  <a:lnTo>
                    <a:pt x="3" y="31"/>
                  </a:lnTo>
                  <a:lnTo>
                    <a:pt x="5" y="28"/>
                  </a:lnTo>
                  <a:lnTo>
                    <a:pt x="6" y="23"/>
                  </a:lnTo>
                  <a:lnTo>
                    <a:pt x="10" y="18"/>
                  </a:lnTo>
                  <a:lnTo>
                    <a:pt x="14" y="15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22" y="9"/>
                  </a:lnTo>
                  <a:lnTo>
                    <a:pt x="24" y="10"/>
                  </a:lnTo>
                  <a:lnTo>
                    <a:pt x="27" y="10"/>
                  </a:lnTo>
                  <a:lnTo>
                    <a:pt x="29" y="9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8" y="3"/>
                  </a:lnTo>
                  <a:lnTo>
                    <a:pt x="40" y="1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52" y="3"/>
                  </a:lnTo>
                  <a:lnTo>
                    <a:pt x="54" y="3"/>
                  </a:lnTo>
                  <a:lnTo>
                    <a:pt x="58" y="3"/>
                  </a:lnTo>
                  <a:lnTo>
                    <a:pt x="59" y="5"/>
                  </a:lnTo>
                  <a:lnTo>
                    <a:pt x="62" y="10"/>
                  </a:lnTo>
                  <a:lnTo>
                    <a:pt x="64" y="13"/>
                  </a:lnTo>
                  <a:lnTo>
                    <a:pt x="68" y="16"/>
                  </a:lnTo>
                  <a:lnTo>
                    <a:pt x="68" y="21"/>
                  </a:lnTo>
                  <a:lnTo>
                    <a:pt x="71" y="23"/>
                  </a:lnTo>
                  <a:lnTo>
                    <a:pt x="75" y="25"/>
                  </a:lnTo>
                  <a:lnTo>
                    <a:pt x="80" y="25"/>
                  </a:lnTo>
                  <a:lnTo>
                    <a:pt x="83" y="27"/>
                  </a:lnTo>
                  <a:lnTo>
                    <a:pt x="88" y="29"/>
                  </a:lnTo>
                  <a:lnTo>
                    <a:pt x="90" y="25"/>
                  </a:lnTo>
                  <a:lnTo>
                    <a:pt x="93" y="25"/>
                  </a:lnTo>
                  <a:lnTo>
                    <a:pt x="96" y="25"/>
                  </a:lnTo>
                  <a:lnTo>
                    <a:pt x="100" y="25"/>
                  </a:lnTo>
                  <a:lnTo>
                    <a:pt x="101" y="27"/>
                  </a:lnTo>
                  <a:lnTo>
                    <a:pt x="102" y="30"/>
                  </a:lnTo>
                  <a:lnTo>
                    <a:pt x="104" y="33"/>
                  </a:lnTo>
                  <a:lnTo>
                    <a:pt x="104" y="35"/>
                  </a:lnTo>
                  <a:lnTo>
                    <a:pt x="106" y="37"/>
                  </a:lnTo>
                  <a:lnTo>
                    <a:pt x="110" y="39"/>
                  </a:lnTo>
                  <a:lnTo>
                    <a:pt x="113" y="39"/>
                  </a:lnTo>
                  <a:lnTo>
                    <a:pt x="116" y="36"/>
                  </a:lnTo>
                  <a:lnTo>
                    <a:pt x="118" y="33"/>
                  </a:lnTo>
                  <a:lnTo>
                    <a:pt x="120" y="29"/>
                  </a:lnTo>
                  <a:lnTo>
                    <a:pt x="123" y="28"/>
                  </a:lnTo>
                  <a:lnTo>
                    <a:pt x="124" y="30"/>
                  </a:lnTo>
                  <a:lnTo>
                    <a:pt x="126" y="30"/>
                  </a:lnTo>
                  <a:lnTo>
                    <a:pt x="128" y="33"/>
                  </a:lnTo>
                  <a:lnTo>
                    <a:pt x="131" y="35"/>
                  </a:lnTo>
                  <a:lnTo>
                    <a:pt x="132" y="37"/>
                  </a:lnTo>
                  <a:lnTo>
                    <a:pt x="136" y="36"/>
                  </a:lnTo>
                  <a:lnTo>
                    <a:pt x="142" y="34"/>
                  </a:lnTo>
                  <a:lnTo>
                    <a:pt x="149" y="33"/>
                  </a:lnTo>
                  <a:lnTo>
                    <a:pt x="154" y="34"/>
                  </a:lnTo>
                  <a:lnTo>
                    <a:pt x="160" y="35"/>
                  </a:lnTo>
                  <a:lnTo>
                    <a:pt x="172" y="35"/>
                  </a:lnTo>
                  <a:lnTo>
                    <a:pt x="168" y="39"/>
                  </a:lnTo>
                  <a:lnTo>
                    <a:pt x="167" y="41"/>
                  </a:lnTo>
                  <a:lnTo>
                    <a:pt x="167" y="46"/>
                  </a:lnTo>
                  <a:lnTo>
                    <a:pt x="166" y="48"/>
                  </a:lnTo>
                  <a:lnTo>
                    <a:pt x="164" y="53"/>
                  </a:lnTo>
                  <a:lnTo>
                    <a:pt x="161" y="55"/>
                  </a:lnTo>
                  <a:lnTo>
                    <a:pt x="158" y="61"/>
                  </a:lnTo>
                  <a:lnTo>
                    <a:pt x="156" y="63"/>
                  </a:lnTo>
                  <a:lnTo>
                    <a:pt x="152" y="66"/>
                  </a:lnTo>
                  <a:lnTo>
                    <a:pt x="148" y="70"/>
                  </a:lnTo>
                  <a:lnTo>
                    <a:pt x="146" y="74"/>
                  </a:lnTo>
                  <a:lnTo>
                    <a:pt x="142" y="84"/>
                  </a:lnTo>
                  <a:lnTo>
                    <a:pt x="140" y="85"/>
                  </a:lnTo>
                  <a:lnTo>
                    <a:pt x="136" y="92"/>
                  </a:lnTo>
                  <a:lnTo>
                    <a:pt x="134" y="97"/>
                  </a:lnTo>
                  <a:lnTo>
                    <a:pt x="129" y="98"/>
                  </a:lnTo>
                  <a:lnTo>
                    <a:pt x="123" y="102"/>
                  </a:lnTo>
                  <a:lnTo>
                    <a:pt x="120" y="106"/>
                  </a:lnTo>
                  <a:lnTo>
                    <a:pt x="118" y="109"/>
                  </a:lnTo>
                  <a:lnTo>
                    <a:pt x="118" y="115"/>
                  </a:lnTo>
                  <a:lnTo>
                    <a:pt x="116" y="124"/>
                  </a:lnTo>
                  <a:lnTo>
                    <a:pt x="117" y="131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16" name="Freeform 423"/>
            <p:cNvSpPr>
              <a:spLocks/>
            </p:cNvSpPr>
            <p:nvPr/>
          </p:nvSpPr>
          <p:spPr bwMode="auto">
            <a:xfrm>
              <a:off x="5492256" y="4625447"/>
              <a:ext cx="343819" cy="517430"/>
            </a:xfrm>
            <a:custGeom>
              <a:avLst/>
              <a:gdLst>
                <a:gd name="T0" fmla="*/ 10 w 157"/>
                <a:gd name="T1" fmla="*/ 127 h 254"/>
                <a:gd name="T2" fmla="*/ 8 w 157"/>
                <a:gd name="T3" fmla="*/ 125 h 254"/>
                <a:gd name="T4" fmla="*/ 5 w 157"/>
                <a:gd name="T5" fmla="*/ 120 h 254"/>
                <a:gd name="T6" fmla="*/ 1 w 157"/>
                <a:gd name="T7" fmla="*/ 114 h 254"/>
                <a:gd name="T8" fmla="*/ 0 w 157"/>
                <a:gd name="T9" fmla="*/ 109 h 254"/>
                <a:gd name="T10" fmla="*/ 2 w 157"/>
                <a:gd name="T11" fmla="*/ 110 h 254"/>
                <a:gd name="T12" fmla="*/ 6 w 157"/>
                <a:gd name="T13" fmla="*/ 109 h 254"/>
                <a:gd name="T14" fmla="*/ 7 w 157"/>
                <a:gd name="T15" fmla="*/ 106 h 254"/>
                <a:gd name="T16" fmla="*/ 12 w 157"/>
                <a:gd name="T17" fmla="*/ 103 h 254"/>
                <a:gd name="T18" fmla="*/ 18 w 157"/>
                <a:gd name="T19" fmla="*/ 101 h 254"/>
                <a:gd name="T20" fmla="*/ 19 w 157"/>
                <a:gd name="T21" fmla="*/ 96 h 254"/>
                <a:gd name="T22" fmla="*/ 19 w 157"/>
                <a:gd name="T23" fmla="*/ 89 h 254"/>
                <a:gd name="T24" fmla="*/ 19 w 157"/>
                <a:gd name="T25" fmla="*/ 83 h 254"/>
                <a:gd name="T26" fmla="*/ 19 w 157"/>
                <a:gd name="T27" fmla="*/ 76 h 254"/>
                <a:gd name="T28" fmla="*/ 20 w 157"/>
                <a:gd name="T29" fmla="*/ 71 h 254"/>
                <a:gd name="T30" fmla="*/ 19 w 157"/>
                <a:gd name="T31" fmla="*/ 67 h 254"/>
                <a:gd name="T32" fmla="*/ 24 w 157"/>
                <a:gd name="T33" fmla="*/ 65 h 254"/>
                <a:gd name="T34" fmla="*/ 27 w 157"/>
                <a:gd name="T35" fmla="*/ 65 h 254"/>
                <a:gd name="T36" fmla="*/ 28 w 157"/>
                <a:gd name="T37" fmla="*/ 59 h 254"/>
                <a:gd name="T38" fmla="*/ 24 w 157"/>
                <a:gd name="T39" fmla="*/ 56 h 254"/>
                <a:gd name="T40" fmla="*/ 21 w 157"/>
                <a:gd name="T41" fmla="*/ 55 h 254"/>
                <a:gd name="T42" fmla="*/ 18 w 157"/>
                <a:gd name="T43" fmla="*/ 51 h 254"/>
                <a:gd name="T44" fmla="*/ 19 w 157"/>
                <a:gd name="T45" fmla="*/ 46 h 254"/>
                <a:gd name="T46" fmla="*/ 21 w 157"/>
                <a:gd name="T47" fmla="*/ 41 h 254"/>
                <a:gd name="T48" fmla="*/ 18 w 157"/>
                <a:gd name="T49" fmla="*/ 40 h 254"/>
                <a:gd name="T50" fmla="*/ 18 w 157"/>
                <a:gd name="T51" fmla="*/ 37 h 254"/>
                <a:gd name="T52" fmla="*/ 21 w 157"/>
                <a:gd name="T53" fmla="*/ 34 h 254"/>
                <a:gd name="T54" fmla="*/ 23 w 157"/>
                <a:gd name="T55" fmla="*/ 29 h 254"/>
                <a:gd name="T56" fmla="*/ 24 w 157"/>
                <a:gd name="T57" fmla="*/ 27 h 254"/>
                <a:gd name="T58" fmla="*/ 27 w 157"/>
                <a:gd name="T59" fmla="*/ 29 h 254"/>
                <a:gd name="T60" fmla="*/ 32 w 157"/>
                <a:gd name="T61" fmla="*/ 31 h 254"/>
                <a:gd name="T62" fmla="*/ 37 w 157"/>
                <a:gd name="T63" fmla="*/ 29 h 254"/>
                <a:gd name="T64" fmla="*/ 39 w 157"/>
                <a:gd name="T65" fmla="*/ 25 h 254"/>
                <a:gd name="T66" fmla="*/ 42 w 157"/>
                <a:gd name="T67" fmla="*/ 21 h 254"/>
                <a:gd name="T68" fmla="*/ 44 w 157"/>
                <a:gd name="T69" fmla="*/ 8 h 254"/>
                <a:gd name="T70" fmla="*/ 43 w 157"/>
                <a:gd name="T71" fmla="*/ 2 h 254"/>
                <a:gd name="T72" fmla="*/ 48 w 157"/>
                <a:gd name="T73" fmla="*/ 2 h 254"/>
                <a:gd name="T74" fmla="*/ 52 w 157"/>
                <a:gd name="T75" fmla="*/ 0 h 254"/>
                <a:gd name="T76" fmla="*/ 54 w 157"/>
                <a:gd name="T77" fmla="*/ 3 h 254"/>
                <a:gd name="T78" fmla="*/ 56 w 157"/>
                <a:gd name="T79" fmla="*/ 6 h 254"/>
                <a:gd name="T80" fmla="*/ 58 w 157"/>
                <a:gd name="T81" fmla="*/ 7 h 254"/>
                <a:gd name="T82" fmla="*/ 61 w 157"/>
                <a:gd name="T83" fmla="*/ 5 h 254"/>
                <a:gd name="T84" fmla="*/ 64 w 157"/>
                <a:gd name="T85" fmla="*/ 9 h 254"/>
                <a:gd name="T86" fmla="*/ 67 w 157"/>
                <a:gd name="T87" fmla="*/ 12 h 254"/>
                <a:gd name="T88" fmla="*/ 69 w 157"/>
                <a:gd name="T89" fmla="*/ 14 h 254"/>
                <a:gd name="T90" fmla="*/ 70 w 157"/>
                <a:gd name="T91" fmla="*/ 19 h 254"/>
                <a:gd name="T92" fmla="*/ 62 w 157"/>
                <a:gd name="T93" fmla="*/ 23 h 254"/>
                <a:gd name="T94" fmla="*/ 61 w 157"/>
                <a:gd name="T95" fmla="*/ 34 h 254"/>
                <a:gd name="T96" fmla="*/ 55 w 157"/>
                <a:gd name="T97" fmla="*/ 38 h 254"/>
                <a:gd name="T98" fmla="*/ 53 w 157"/>
                <a:gd name="T99" fmla="*/ 45 h 254"/>
                <a:gd name="T100" fmla="*/ 55 w 157"/>
                <a:gd name="T101" fmla="*/ 53 h 254"/>
                <a:gd name="T102" fmla="*/ 63 w 157"/>
                <a:gd name="T103" fmla="*/ 59 h 254"/>
                <a:gd name="T104" fmla="*/ 71 w 157"/>
                <a:gd name="T105" fmla="*/ 61 h 254"/>
                <a:gd name="T106" fmla="*/ 77 w 157"/>
                <a:gd name="T107" fmla="*/ 60 h 254"/>
                <a:gd name="T108" fmla="*/ 76 w 157"/>
                <a:gd name="T109" fmla="*/ 84 h 254"/>
                <a:gd name="T110" fmla="*/ 67 w 157"/>
                <a:gd name="T111" fmla="*/ 86 h 254"/>
                <a:gd name="T112" fmla="*/ 57 w 157"/>
                <a:gd name="T113" fmla="*/ 85 h 254"/>
                <a:gd name="T114" fmla="*/ 38 w 157"/>
                <a:gd name="T115" fmla="*/ 88 h 254"/>
                <a:gd name="T116" fmla="*/ 32 w 157"/>
                <a:gd name="T117" fmla="*/ 95 h 254"/>
                <a:gd name="T118" fmla="*/ 30 w 157"/>
                <a:gd name="T119" fmla="*/ 99 h 254"/>
                <a:gd name="T120" fmla="*/ 28 w 157"/>
                <a:gd name="T121" fmla="*/ 107 h 254"/>
                <a:gd name="T122" fmla="*/ 18 w 157"/>
                <a:gd name="T123" fmla="*/ 115 h 254"/>
                <a:gd name="T124" fmla="*/ 12 w 157"/>
                <a:gd name="T125" fmla="*/ 125 h 25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57" h="254">
                  <a:moveTo>
                    <a:pt x="22" y="254"/>
                  </a:moveTo>
                  <a:lnTo>
                    <a:pt x="19" y="253"/>
                  </a:lnTo>
                  <a:lnTo>
                    <a:pt x="16" y="251"/>
                  </a:lnTo>
                  <a:lnTo>
                    <a:pt x="16" y="249"/>
                  </a:lnTo>
                  <a:lnTo>
                    <a:pt x="12" y="244"/>
                  </a:lnTo>
                  <a:lnTo>
                    <a:pt x="10" y="239"/>
                  </a:lnTo>
                  <a:lnTo>
                    <a:pt x="6" y="235"/>
                  </a:lnTo>
                  <a:lnTo>
                    <a:pt x="1" y="227"/>
                  </a:lnTo>
                  <a:lnTo>
                    <a:pt x="1" y="223"/>
                  </a:lnTo>
                  <a:lnTo>
                    <a:pt x="0" y="218"/>
                  </a:lnTo>
                  <a:lnTo>
                    <a:pt x="1" y="219"/>
                  </a:lnTo>
                  <a:lnTo>
                    <a:pt x="4" y="220"/>
                  </a:lnTo>
                  <a:lnTo>
                    <a:pt x="5" y="217"/>
                  </a:lnTo>
                  <a:lnTo>
                    <a:pt x="12" y="217"/>
                  </a:lnTo>
                  <a:lnTo>
                    <a:pt x="12" y="214"/>
                  </a:lnTo>
                  <a:lnTo>
                    <a:pt x="14" y="211"/>
                  </a:lnTo>
                  <a:lnTo>
                    <a:pt x="20" y="208"/>
                  </a:lnTo>
                  <a:lnTo>
                    <a:pt x="24" y="205"/>
                  </a:lnTo>
                  <a:lnTo>
                    <a:pt x="29" y="202"/>
                  </a:lnTo>
                  <a:lnTo>
                    <a:pt x="35" y="201"/>
                  </a:lnTo>
                  <a:lnTo>
                    <a:pt x="37" y="199"/>
                  </a:lnTo>
                  <a:lnTo>
                    <a:pt x="38" y="191"/>
                  </a:lnTo>
                  <a:lnTo>
                    <a:pt x="37" y="184"/>
                  </a:lnTo>
                  <a:lnTo>
                    <a:pt x="37" y="177"/>
                  </a:lnTo>
                  <a:lnTo>
                    <a:pt x="38" y="171"/>
                  </a:lnTo>
                  <a:lnTo>
                    <a:pt x="38" y="165"/>
                  </a:lnTo>
                  <a:lnTo>
                    <a:pt x="40" y="158"/>
                  </a:lnTo>
                  <a:lnTo>
                    <a:pt x="38" y="152"/>
                  </a:lnTo>
                  <a:lnTo>
                    <a:pt x="42" y="148"/>
                  </a:lnTo>
                  <a:lnTo>
                    <a:pt x="40" y="142"/>
                  </a:lnTo>
                  <a:lnTo>
                    <a:pt x="37" y="138"/>
                  </a:lnTo>
                  <a:lnTo>
                    <a:pt x="38" y="133"/>
                  </a:lnTo>
                  <a:lnTo>
                    <a:pt x="42" y="128"/>
                  </a:lnTo>
                  <a:lnTo>
                    <a:pt x="47" y="129"/>
                  </a:lnTo>
                  <a:lnTo>
                    <a:pt x="50" y="130"/>
                  </a:lnTo>
                  <a:lnTo>
                    <a:pt x="53" y="129"/>
                  </a:lnTo>
                  <a:lnTo>
                    <a:pt x="54" y="123"/>
                  </a:lnTo>
                  <a:lnTo>
                    <a:pt x="55" y="118"/>
                  </a:lnTo>
                  <a:lnTo>
                    <a:pt x="52" y="115"/>
                  </a:lnTo>
                  <a:lnTo>
                    <a:pt x="48" y="111"/>
                  </a:lnTo>
                  <a:lnTo>
                    <a:pt x="44" y="111"/>
                  </a:lnTo>
                  <a:lnTo>
                    <a:pt x="41" y="110"/>
                  </a:lnTo>
                  <a:lnTo>
                    <a:pt x="38" y="106"/>
                  </a:lnTo>
                  <a:lnTo>
                    <a:pt x="35" y="102"/>
                  </a:lnTo>
                  <a:lnTo>
                    <a:pt x="36" y="97"/>
                  </a:lnTo>
                  <a:lnTo>
                    <a:pt x="38" y="91"/>
                  </a:lnTo>
                  <a:lnTo>
                    <a:pt x="40" y="87"/>
                  </a:lnTo>
                  <a:lnTo>
                    <a:pt x="41" y="82"/>
                  </a:lnTo>
                  <a:lnTo>
                    <a:pt x="37" y="81"/>
                  </a:lnTo>
                  <a:lnTo>
                    <a:pt x="35" y="80"/>
                  </a:lnTo>
                  <a:lnTo>
                    <a:pt x="34" y="76"/>
                  </a:lnTo>
                  <a:lnTo>
                    <a:pt x="35" y="73"/>
                  </a:lnTo>
                  <a:lnTo>
                    <a:pt x="40" y="69"/>
                  </a:lnTo>
                  <a:lnTo>
                    <a:pt x="42" y="67"/>
                  </a:lnTo>
                  <a:lnTo>
                    <a:pt x="44" y="63"/>
                  </a:lnTo>
                  <a:lnTo>
                    <a:pt x="46" y="58"/>
                  </a:lnTo>
                  <a:lnTo>
                    <a:pt x="46" y="55"/>
                  </a:lnTo>
                  <a:lnTo>
                    <a:pt x="48" y="54"/>
                  </a:lnTo>
                  <a:lnTo>
                    <a:pt x="50" y="56"/>
                  </a:lnTo>
                  <a:lnTo>
                    <a:pt x="53" y="58"/>
                  </a:lnTo>
                  <a:lnTo>
                    <a:pt x="58" y="58"/>
                  </a:lnTo>
                  <a:lnTo>
                    <a:pt x="64" y="61"/>
                  </a:lnTo>
                  <a:lnTo>
                    <a:pt x="68" y="61"/>
                  </a:lnTo>
                  <a:lnTo>
                    <a:pt x="73" y="58"/>
                  </a:lnTo>
                  <a:lnTo>
                    <a:pt x="76" y="54"/>
                  </a:lnTo>
                  <a:lnTo>
                    <a:pt x="78" y="49"/>
                  </a:lnTo>
                  <a:lnTo>
                    <a:pt x="80" y="45"/>
                  </a:lnTo>
                  <a:lnTo>
                    <a:pt x="83" y="41"/>
                  </a:lnTo>
                  <a:lnTo>
                    <a:pt x="86" y="27"/>
                  </a:lnTo>
                  <a:lnTo>
                    <a:pt x="88" y="15"/>
                  </a:lnTo>
                  <a:lnTo>
                    <a:pt x="88" y="11"/>
                  </a:lnTo>
                  <a:lnTo>
                    <a:pt x="86" y="3"/>
                  </a:lnTo>
                  <a:lnTo>
                    <a:pt x="91" y="3"/>
                  </a:lnTo>
                  <a:lnTo>
                    <a:pt x="96" y="3"/>
                  </a:lnTo>
                  <a:lnTo>
                    <a:pt x="100" y="2"/>
                  </a:lnTo>
                  <a:lnTo>
                    <a:pt x="104" y="0"/>
                  </a:lnTo>
                  <a:lnTo>
                    <a:pt x="106" y="0"/>
                  </a:lnTo>
                  <a:lnTo>
                    <a:pt x="108" y="5"/>
                  </a:lnTo>
                  <a:lnTo>
                    <a:pt x="109" y="8"/>
                  </a:lnTo>
                  <a:lnTo>
                    <a:pt x="112" y="12"/>
                  </a:lnTo>
                  <a:lnTo>
                    <a:pt x="114" y="14"/>
                  </a:lnTo>
                  <a:lnTo>
                    <a:pt x="116" y="14"/>
                  </a:lnTo>
                  <a:lnTo>
                    <a:pt x="120" y="11"/>
                  </a:lnTo>
                  <a:lnTo>
                    <a:pt x="122" y="9"/>
                  </a:lnTo>
                  <a:lnTo>
                    <a:pt x="125" y="14"/>
                  </a:lnTo>
                  <a:lnTo>
                    <a:pt x="127" y="18"/>
                  </a:lnTo>
                  <a:lnTo>
                    <a:pt x="131" y="21"/>
                  </a:lnTo>
                  <a:lnTo>
                    <a:pt x="133" y="23"/>
                  </a:lnTo>
                  <a:lnTo>
                    <a:pt x="136" y="25"/>
                  </a:lnTo>
                  <a:lnTo>
                    <a:pt x="138" y="27"/>
                  </a:lnTo>
                  <a:lnTo>
                    <a:pt x="139" y="32"/>
                  </a:lnTo>
                  <a:lnTo>
                    <a:pt x="140" y="37"/>
                  </a:lnTo>
                  <a:lnTo>
                    <a:pt x="131" y="41"/>
                  </a:lnTo>
                  <a:lnTo>
                    <a:pt x="124" y="46"/>
                  </a:lnTo>
                  <a:lnTo>
                    <a:pt x="121" y="55"/>
                  </a:lnTo>
                  <a:lnTo>
                    <a:pt x="121" y="67"/>
                  </a:lnTo>
                  <a:lnTo>
                    <a:pt x="118" y="70"/>
                  </a:lnTo>
                  <a:lnTo>
                    <a:pt x="109" y="76"/>
                  </a:lnTo>
                  <a:lnTo>
                    <a:pt x="107" y="81"/>
                  </a:lnTo>
                  <a:lnTo>
                    <a:pt x="106" y="90"/>
                  </a:lnTo>
                  <a:lnTo>
                    <a:pt x="106" y="99"/>
                  </a:lnTo>
                  <a:lnTo>
                    <a:pt x="109" y="106"/>
                  </a:lnTo>
                  <a:lnTo>
                    <a:pt x="115" y="111"/>
                  </a:lnTo>
                  <a:lnTo>
                    <a:pt x="125" y="117"/>
                  </a:lnTo>
                  <a:lnTo>
                    <a:pt x="133" y="121"/>
                  </a:lnTo>
                  <a:lnTo>
                    <a:pt x="142" y="121"/>
                  </a:lnTo>
                  <a:lnTo>
                    <a:pt x="150" y="122"/>
                  </a:lnTo>
                  <a:lnTo>
                    <a:pt x="154" y="120"/>
                  </a:lnTo>
                  <a:lnTo>
                    <a:pt x="157" y="140"/>
                  </a:lnTo>
                  <a:lnTo>
                    <a:pt x="152" y="167"/>
                  </a:lnTo>
                  <a:lnTo>
                    <a:pt x="149" y="170"/>
                  </a:lnTo>
                  <a:lnTo>
                    <a:pt x="134" y="172"/>
                  </a:lnTo>
                  <a:lnTo>
                    <a:pt x="116" y="171"/>
                  </a:lnTo>
                  <a:lnTo>
                    <a:pt x="113" y="169"/>
                  </a:lnTo>
                  <a:lnTo>
                    <a:pt x="92" y="170"/>
                  </a:lnTo>
                  <a:lnTo>
                    <a:pt x="76" y="176"/>
                  </a:lnTo>
                  <a:lnTo>
                    <a:pt x="70" y="182"/>
                  </a:lnTo>
                  <a:lnTo>
                    <a:pt x="64" y="190"/>
                  </a:lnTo>
                  <a:lnTo>
                    <a:pt x="60" y="194"/>
                  </a:lnTo>
                  <a:lnTo>
                    <a:pt x="59" y="197"/>
                  </a:lnTo>
                  <a:lnTo>
                    <a:pt x="58" y="212"/>
                  </a:lnTo>
                  <a:lnTo>
                    <a:pt x="55" y="214"/>
                  </a:lnTo>
                  <a:lnTo>
                    <a:pt x="41" y="225"/>
                  </a:lnTo>
                  <a:lnTo>
                    <a:pt x="36" y="229"/>
                  </a:lnTo>
                  <a:lnTo>
                    <a:pt x="30" y="239"/>
                  </a:lnTo>
                  <a:lnTo>
                    <a:pt x="24" y="249"/>
                  </a:lnTo>
                  <a:lnTo>
                    <a:pt x="22" y="254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17" name="Freeform 424"/>
            <p:cNvSpPr>
              <a:spLocks/>
            </p:cNvSpPr>
            <p:nvPr/>
          </p:nvSpPr>
          <p:spPr bwMode="auto">
            <a:xfrm>
              <a:off x="5492256" y="4458403"/>
              <a:ext cx="200199" cy="325941"/>
            </a:xfrm>
            <a:custGeom>
              <a:avLst/>
              <a:gdLst>
                <a:gd name="T0" fmla="*/ 16 w 92"/>
                <a:gd name="T1" fmla="*/ 79 h 159"/>
                <a:gd name="T2" fmla="*/ 15 w 92"/>
                <a:gd name="T3" fmla="*/ 74 h 159"/>
                <a:gd name="T4" fmla="*/ 11 w 92"/>
                <a:gd name="T5" fmla="*/ 70 h 159"/>
                <a:gd name="T6" fmla="*/ 10 w 92"/>
                <a:gd name="T7" fmla="*/ 68 h 159"/>
                <a:gd name="T8" fmla="*/ 6 w 92"/>
                <a:gd name="T9" fmla="*/ 68 h 159"/>
                <a:gd name="T10" fmla="*/ 6 w 92"/>
                <a:gd name="T11" fmla="*/ 63 h 159"/>
                <a:gd name="T12" fmla="*/ 4 w 92"/>
                <a:gd name="T13" fmla="*/ 57 h 159"/>
                <a:gd name="T14" fmla="*/ 4 w 92"/>
                <a:gd name="T15" fmla="*/ 51 h 159"/>
                <a:gd name="T16" fmla="*/ 6 w 92"/>
                <a:gd name="T17" fmla="*/ 44 h 159"/>
                <a:gd name="T18" fmla="*/ 5 w 92"/>
                <a:gd name="T19" fmla="*/ 38 h 159"/>
                <a:gd name="T20" fmla="*/ 5 w 92"/>
                <a:gd name="T21" fmla="*/ 32 h 159"/>
                <a:gd name="T22" fmla="*/ 1 w 92"/>
                <a:gd name="T23" fmla="*/ 30 h 159"/>
                <a:gd name="T24" fmla="*/ 1 w 92"/>
                <a:gd name="T25" fmla="*/ 27 h 159"/>
                <a:gd name="T26" fmla="*/ 3 w 92"/>
                <a:gd name="T27" fmla="*/ 25 h 159"/>
                <a:gd name="T28" fmla="*/ 9 w 92"/>
                <a:gd name="T29" fmla="*/ 24 h 159"/>
                <a:gd name="T30" fmla="*/ 12 w 92"/>
                <a:gd name="T31" fmla="*/ 24 h 159"/>
                <a:gd name="T32" fmla="*/ 14 w 92"/>
                <a:gd name="T33" fmla="*/ 19 h 159"/>
                <a:gd name="T34" fmla="*/ 16 w 92"/>
                <a:gd name="T35" fmla="*/ 16 h 159"/>
                <a:gd name="T36" fmla="*/ 18 w 92"/>
                <a:gd name="T37" fmla="*/ 17 h 159"/>
                <a:gd name="T38" fmla="*/ 20 w 92"/>
                <a:gd name="T39" fmla="*/ 16 h 159"/>
                <a:gd name="T40" fmla="*/ 24 w 92"/>
                <a:gd name="T41" fmla="*/ 15 h 159"/>
                <a:gd name="T42" fmla="*/ 25 w 92"/>
                <a:gd name="T43" fmla="*/ 12 h 159"/>
                <a:gd name="T44" fmla="*/ 30 w 92"/>
                <a:gd name="T45" fmla="*/ 12 h 159"/>
                <a:gd name="T46" fmla="*/ 30 w 92"/>
                <a:gd name="T47" fmla="*/ 7 h 159"/>
                <a:gd name="T48" fmla="*/ 29 w 92"/>
                <a:gd name="T49" fmla="*/ 1 h 159"/>
                <a:gd name="T50" fmla="*/ 33 w 92"/>
                <a:gd name="T51" fmla="*/ 2 h 159"/>
                <a:gd name="T52" fmla="*/ 37 w 92"/>
                <a:gd name="T53" fmla="*/ 4 h 159"/>
                <a:gd name="T54" fmla="*/ 39 w 92"/>
                <a:gd name="T55" fmla="*/ 7 h 159"/>
                <a:gd name="T56" fmla="*/ 40 w 92"/>
                <a:gd name="T57" fmla="*/ 7 h 159"/>
                <a:gd name="T58" fmla="*/ 40 w 92"/>
                <a:gd name="T59" fmla="*/ 10 h 159"/>
                <a:gd name="T60" fmla="*/ 42 w 92"/>
                <a:gd name="T61" fmla="*/ 15 h 159"/>
                <a:gd name="T62" fmla="*/ 43 w 92"/>
                <a:gd name="T63" fmla="*/ 18 h 159"/>
                <a:gd name="T64" fmla="*/ 44 w 92"/>
                <a:gd name="T65" fmla="*/ 20 h 159"/>
                <a:gd name="T66" fmla="*/ 46 w 92"/>
                <a:gd name="T67" fmla="*/ 25 h 159"/>
                <a:gd name="T68" fmla="*/ 46 w 92"/>
                <a:gd name="T69" fmla="*/ 30 h 159"/>
                <a:gd name="T70" fmla="*/ 44 w 92"/>
                <a:gd name="T71" fmla="*/ 34 h 159"/>
                <a:gd name="T72" fmla="*/ 42 w 92"/>
                <a:gd name="T73" fmla="*/ 41 h 159"/>
                <a:gd name="T74" fmla="*/ 43 w 92"/>
                <a:gd name="T75" fmla="*/ 43 h 159"/>
                <a:gd name="T76" fmla="*/ 44 w 92"/>
                <a:gd name="T77" fmla="*/ 49 h 159"/>
                <a:gd name="T78" fmla="*/ 42 w 92"/>
                <a:gd name="T79" fmla="*/ 62 h 159"/>
                <a:gd name="T80" fmla="*/ 39 w 92"/>
                <a:gd name="T81" fmla="*/ 66 h 159"/>
                <a:gd name="T82" fmla="*/ 37 w 92"/>
                <a:gd name="T83" fmla="*/ 71 h 159"/>
                <a:gd name="T84" fmla="*/ 32 w 92"/>
                <a:gd name="T85" fmla="*/ 72 h 159"/>
                <a:gd name="T86" fmla="*/ 27 w 92"/>
                <a:gd name="T87" fmla="*/ 71 h 159"/>
                <a:gd name="T88" fmla="*/ 24 w 92"/>
                <a:gd name="T89" fmla="*/ 69 h 159"/>
                <a:gd name="T90" fmla="*/ 23 w 92"/>
                <a:gd name="T91" fmla="*/ 71 h 159"/>
                <a:gd name="T92" fmla="*/ 21 w 92"/>
                <a:gd name="T93" fmla="*/ 75 h 159"/>
                <a:gd name="T94" fmla="*/ 18 w 92"/>
                <a:gd name="T95" fmla="*/ 78 h 15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92" h="159">
                  <a:moveTo>
                    <a:pt x="34" y="159"/>
                  </a:moveTo>
                  <a:lnTo>
                    <a:pt x="32" y="158"/>
                  </a:lnTo>
                  <a:lnTo>
                    <a:pt x="31" y="153"/>
                  </a:lnTo>
                  <a:lnTo>
                    <a:pt x="29" y="147"/>
                  </a:lnTo>
                  <a:lnTo>
                    <a:pt x="23" y="143"/>
                  </a:lnTo>
                  <a:lnTo>
                    <a:pt x="22" y="140"/>
                  </a:lnTo>
                  <a:lnTo>
                    <a:pt x="22" y="137"/>
                  </a:lnTo>
                  <a:lnTo>
                    <a:pt x="19" y="135"/>
                  </a:lnTo>
                  <a:lnTo>
                    <a:pt x="14" y="137"/>
                  </a:lnTo>
                  <a:lnTo>
                    <a:pt x="12" y="135"/>
                  </a:lnTo>
                  <a:lnTo>
                    <a:pt x="11" y="132"/>
                  </a:lnTo>
                  <a:lnTo>
                    <a:pt x="11" y="126"/>
                  </a:lnTo>
                  <a:lnTo>
                    <a:pt x="8" y="121"/>
                  </a:lnTo>
                  <a:lnTo>
                    <a:pt x="7" y="114"/>
                  </a:lnTo>
                  <a:lnTo>
                    <a:pt x="7" y="108"/>
                  </a:lnTo>
                  <a:lnTo>
                    <a:pt x="7" y="101"/>
                  </a:lnTo>
                  <a:lnTo>
                    <a:pt x="10" y="91"/>
                  </a:lnTo>
                  <a:lnTo>
                    <a:pt x="11" y="88"/>
                  </a:lnTo>
                  <a:lnTo>
                    <a:pt x="10" y="82"/>
                  </a:lnTo>
                  <a:lnTo>
                    <a:pt x="10" y="76"/>
                  </a:lnTo>
                  <a:lnTo>
                    <a:pt x="11" y="68"/>
                  </a:lnTo>
                  <a:lnTo>
                    <a:pt x="10" y="64"/>
                  </a:lnTo>
                  <a:lnTo>
                    <a:pt x="6" y="61"/>
                  </a:lnTo>
                  <a:lnTo>
                    <a:pt x="2" y="59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2" y="50"/>
                  </a:lnTo>
                  <a:lnTo>
                    <a:pt x="5" y="49"/>
                  </a:lnTo>
                  <a:lnTo>
                    <a:pt x="11" y="48"/>
                  </a:lnTo>
                  <a:lnTo>
                    <a:pt x="17" y="48"/>
                  </a:lnTo>
                  <a:lnTo>
                    <a:pt x="23" y="49"/>
                  </a:lnTo>
                  <a:lnTo>
                    <a:pt x="23" y="47"/>
                  </a:lnTo>
                  <a:lnTo>
                    <a:pt x="25" y="43"/>
                  </a:lnTo>
                  <a:lnTo>
                    <a:pt x="28" y="37"/>
                  </a:lnTo>
                  <a:lnTo>
                    <a:pt x="29" y="36"/>
                  </a:lnTo>
                  <a:lnTo>
                    <a:pt x="31" y="31"/>
                  </a:lnTo>
                  <a:lnTo>
                    <a:pt x="34" y="32"/>
                  </a:lnTo>
                  <a:lnTo>
                    <a:pt x="36" y="34"/>
                  </a:lnTo>
                  <a:lnTo>
                    <a:pt x="37" y="31"/>
                  </a:lnTo>
                  <a:lnTo>
                    <a:pt x="40" y="31"/>
                  </a:lnTo>
                  <a:lnTo>
                    <a:pt x="44" y="30"/>
                  </a:lnTo>
                  <a:lnTo>
                    <a:pt x="47" y="29"/>
                  </a:lnTo>
                  <a:lnTo>
                    <a:pt x="50" y="25"/>
                  </a:lnTo>
                  <a:lnTo>
                    <a:pt x="50" y="23"/>
                  </a:lnTo>
                  <a:lnTo>
                    <a:pt x="54" y="23"/>
                  </a:lnTo>
                  <a:lnTo>
                    <a:pt x="59" y="23"/>
                  </a:lnTo>
                  <a:lnTo>
                    <a:pt x="59" y="20"/>
                  </a:lnTo>
                  <a:lnTo>
                    <a:pt x="59" y="13"/>
                  </a:lnTo>
                  <a:lnTo>
                    <a:pt x="56" y="6"/>
                  </a:lnTo>
                  <a:lnTo>
                    <a:pt x="58" y="1"/>
                  </a:lnTo>
                  <a:lnTo>
                    <a:pt x="61" y="0"/>
                  </a:lnTo>
                  <a:lnTo>
                    <a:pt x="65" y="3"/>
                  </a:lnTo>
                  <a:lnTo>
                    <a:pt x="70" y="7"/>
                  </a:lnTo>
                  <a:lnTo>
                    <a:pt x="73" y="8"/>
                  </a:lnTo>
                  <a:lnTo>
                    <a:pt x="74" y="11"/>
                  </a:lnTo>
                  <a:lnTo>
                    <a:pt x="77" y="13"/>
                  </a:lnTo>
                  <a:lnTo>
                    <a:pt x="78" y="14"/>
                  </a:lnTo>
                  <a:lnTo>
                    <a:pt x="80" y="14"/>
                  </a:lnTo>
                  <a:lnTo>
                    <a:pt x="82" y="17"/>
                  </a:lnTo>
                  <a:lnTo>
                    <a:pt x="80" y="20"/>
                  </a:lnTo>
                  <a:lnTo>
                    <a:pt x="82" y="26"/>
                  </a:lnTo>
                  <a:lnTo>
                    <a:pt x="83" y="29"/>
                  </a:lnTo>
                  <a:lnTo>
                    <a:pt x="88" y="30"/>
                  </a:lnTo>
                  <a:lnTo>
                    <a:pt x="86" y="35"/>
                  </a:lnTo>
                  <a:lnTo>
                    <a:pt x="85" y="37"/>
                  </a:lnTo>
                  <a:lnTo>
                    <a:pt x="88" y="40"/>
                  </a:lnTo>
                  <a:lnTo>
                    <a:pt x="90" y="44"/>
                  </a:lnTo>
                  <a:lnTo>
                    <a:pt x="91" y="50"/>
                  </a:lnTo>
                  <a:lnTo>
                    <a:pt x="91" y="55"/>
                  </a:lnTo>
                  <a:lnTo>
                    <a:pt x="92" y="59"/>
                  </a:lnTo>
                  <a:lnTo>
                    <a:pt x="91" y="62"/>
                  </a:lnTo>
                  <a:lnTo>
                    <a:pt x="88" y="67"/>
                  </a:lnTo>
                  <a:lnTo>
                    <a:pt x="85" y="73"/>
                  </a:lnTo>
                  <a:lnTo>
                    <a:pt x="84" y="82"/>
                  </a:lnTo>
                  <a:lnTo>
                    <a:pt x="86" y="85"/>
                  </a:lnTo>
                  <a:lnTo>
                    <a:pt x="86" y="86"/>
                  </a:lnTo>
                  <a:lnTo>
                    <a:pt x="88" y="94"/>
                  </a:lnTo>
                  <a:lnTo>
                    <a:pt x="88" y="98"/>
                  </a:lnTo>
                  <a:lnTo>
                    <a:pt x="86" y="110"/>
                  </a:lnTo>
                  <a:lnTo>
                    <a:pt x="83" y="124"/>
                  </a:lnTo>
                  <a:lnTo>
                    <a:pt x="80" y="128"/>
                  </a:lnTo>
                  <a:lnTo>
                    <a:pt x="78" y="132"/>
                  </a:lnTo>
                  <a:lnTo>
                    <a:pt x="76" y="137"/>
                  </a:lnTo>
                  <a:lnTo>
                    <a:pt x="73" y="141"/>
                  </a:lnTo>
                  <a:lnTo>
                    <a:pt x="68" y="144"/>
                  </a:lnTo>
                  <a:lnTo>
                    <a:pt x="64" y="144"/>
                  </a:lnTo>
                  <a:lnTo>
                    <a:pt x="58" y="141"/>
                  </a:lnTo>
                  <a:lnTo>
                    <a:pt x="53" y="141"/>
                  </a:lnTo>
                  <a:lnTo>
                    <a:pt x="50" y="139"/>
                  </a:lnTo>
                  <a:lnTo>
                    <a:pt x="48" y="137"/>
                  </a:lnTo>
                  <a:lnTo>
                    <a:pt x="46" y="138"/>
                  </a:lnTo>
                  <a:lnTo>
                    <a:pt x="46" y="141"/>
                  </a:lnTo>
                  <a:lnTo>
                    <a:pt x="44" y="146"/>
                  </a:lnTo>
                  <a:lnTo>
                    <a:pt x="42" y="150"/>
                  </a:lnTo>
                  <a:lnTo>
                    <a:pt x="40" y="152"/>
                  </a:lnTo>
                  <a:lnTo>
                    <a:pt x="35" y="156"/>
                  </a:lnTo>
                  <a:lnTo>
                    <a:pt x="34" y="159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18" name="Freeform 425"/>
            <p:cNvSpPr>
              <a:spLocks/>
            </p:cNvSpPr>
            <p:nvPr/>
          </p:nvSpPr>
          <p:spPr bwMode="auto">
            <a:xfrm>
              <a:off x="5226776" y="4417661"/>
              <a:ext cx="339467" cy="387054"/>
            </a:xfrm>
            <a:custGeom>
              <a:avLst/>
              <a:gdLst>
                <a:gd name="T0" fmla="*/ 76 w 155"/>
                <a:gd name="T1" fmla="*/ 93 h 188"/>
                <a:gd name="T2" fmla="*/ 72 w 155"/>
                <a:gd name="T3" fmla="*/ 92 h 188"/>
                <a:gd name="T4" fmla="*/ 65 w 155"/>
                <a:gd name="T5" fmla="*/ 94 h 188"/>
                <a:gd name="T6" fmla="*/ 60 w 155"/>
                <a:gd name="T7" fmla="*/ 92 h 188"/>
                <a:gd name="T8" fmla="*/ 56 w 155"/>
                <a:gd name="T9" fmla="*/ 85 h 188"/>
                <a:gd name="T10" fmla="*/ 54 w 155"/>
                <a:gd name="T11" fmla="*/ 79 h 188"/>
                <a:gd name="T12" fmla="*/ 51 w 155"/>
                <a:gd name="T13" fmla="*/ 74 h 188"/>
                <a:gd name="T14" fmla="*/ 47 w 155"/>
                <a:gd name="T15" fmla="*/ 69 h 188"/>
                <a:gd name="T16" fmla="*/ 45 w 155"/>
                <a:gd name="T17" fmla="*/ 71 h 188"/>
                <a:gd name="T18" fmla="*/ 41 w 155"/>
                <a:gd name="T19" fmla="*/ 71 h 188"/>
                <a:gd name="T20" fmla="*/ 39 w 155"/>
                <a:gd name="T21" fmla="*/ 65 h 188"/>
                <a:gd name="T22" fmla="*/ 31 w 155"/>
                <a:gd name="T23" fmla="*/ 59 h 188"/>
                <a:gd name="T24" fmla="*/ 27 w 155"/>
                <a:gd name="T25" fmla="*/ 55 h 188"/>
                <a:gd name="T26" fmla="*/ 24 w 155"/>
                <a:gd name="T27" fmla="*/ 52 h 188"/>
                <a:gd name="T28" fmla="*/ 19 w 155"/>
                <a:gd name="T29" fmla="*/ 51 h 188"/>
                <a:gd name="T30" fmla="*/ 17 w 155"/>
                <a:gd name="T31" fmla="*/ 43 h 188"/>
                <a:gd name="T32" fmla="*/ 12 w 155"/>
                <a:gd name="T33" fmla="*/ 45 h 188"/>
                <a:gd name="T34" fmla="*/ 9 w 155"/>
                <a:gd name="T35" fmla="*/ 41 h 188"/>
                <a:gd name="T36" fmla="*/ 5 w 155"/>
                <a:gd name="T37" fmla="*/ 39 h 188"/>
                <a:gd name="T38" fmla="*/ 4 w 155"/>
                <a:gd name="T39" fmla="*/ 31 h 188"/>
                <a:gd name="T40" fmla="*/ 7 w 155"/>
                <a:gd name="T41" fmla="*/ 30 h 188"/>
                <a:gd name="T42" fmla="*/ 10 w 155"/>
                <a:gd name="T43" fmla="*/ 31 h 188"/>
                <a:gd name="T44" fmla="*/ 12 w 155"/>
                <a:gd name="T45" fmla="*/ 23 h 188"/>
                <a:gd name="T46" fmla="*/ 10 w 155"/>
                <a:gd name="T47" fmla="*/ 19 h 188"/>
                <a:gd name="T48" fmla="*/ 4 w 155"/>
                <a:gd name="T49" fmla="*/ 19 h 188"/>
                <a:gd name="T50" fmla="*/ 0 w 155"/>
                <a:gd name="T51" fmla="*/ 15 h 188"/>
                <a:gd name="T52" fmla="*/ 1 w 155"/>
                <a:gd name="T53" fmla="*/ 8 h 188"/>
                <a:gd name="T54" fmla="*/ 6 w 155"/>
                <a:gd name="T55" fmla="*/ 6 h 188"/>
                <a:gd name="T56" fmla="*/ 14 w 155"/>
                <a:gd name="T57" fmla="*/ 0 h 188"/>
                <a:gd name="T58" fmla="*/ 25 w 155"/>
                <a:gd name="T59" fmla="*/ 0 h 188"/>
                <a:gd name="T60" fmla="*/ 32 w 155"/>
                <a:gd name="T61" fmla="*/ 10 h 188"/>
                <a:gd name="T62" fmla="*/ 26 w 155"/>
                <a:gd name="T63" fmla="*/ 19 h 188"/>
                <a:gd name="T64" fmla="*/ 37 w 155"/>
                <a:gd name="T65" fmla="*/ 16 h 188"/>
                <a:gd name="T66" fmla="*/ 42 w 155"/>
                <a:gd name="T67" fmla="*/ 16 h 188"/>
                <a:gd name="T68" fmla="*/ 43 w 155"/>
                <a:gd name="T69" fmla="*/ 28 h 188"/>
                <a:gd name="T70" fmla="*/ 48 w 155"/>
                <a:gd name="T71" fmla="*/ 36 h 188"/>
                <a:gd name="T72" fmla="*/ 55 w 155"/>
                <a:gd name="T73" fmla="*/ 38 h 188"/>
                <a:gd name="T74" fmla="*/ 61 w 155"/>
                <a:gd name="T75" fmla="*/ 36 h 188"/>
                <a:gd name="T76" fmla="*/ 66 w 155"/>
                <a:gd name="T77" fmla="*/ 42 h 188"/>
                <a:gd name="T78" fmla="*/ 66 w 155"/>
                <a:gd name="T79" fmla="*/ 51 h 188"/>
                <a:gd name="T80" fmla="*/ 64 w 155"/>
                <a:gd name="T81" fmla="*/ 61 h 188"/>
                <a:gd name="T82" fmla="*/ 65 w 155"/>
                <a:gd name="T83" fmla="*/ 71 h 188"/>
                <a:gd name="T84" fmla="*/ 67 w 155"/>
                <a:gd name="T85" fmla="*/ 78 h 188"/>
                <a:gd name="T86" fmla="*/ 72 w 155"/>
                <a:gd name="T87" fmla="*/ 79 h 188"/>
                <a:gd name="T88" fmla="*/ 75 w 155"/>
                <a:gd name="T89" fmla="*/ 84 h 188"/>
                <a:gd name="T90" fmla="*/ 78 w 155"/>
                <a:gd name="T91" fmla="*/ 90 h 18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55" h="188">
                  <a:moveTo>
                    <a:pt x="155" y="178"/>
                  </a:moveTo>
                  <a:lnTo>
                    <a:pt x="155" y="182"/>
                  </a:lnTo>
                  <a:lnTo>
                    <a:pt x="152" y="184"/>
                  </a:lnTo>
                  <a:lnTo>
                    <a:pt x="149" y="186"/>
                  </a:lnTo>
                  <a:lnTo>
                    <a:pt x="146" y="183"/>
                  </a:lnTo>
                  <a:lnTo>
                    <a:pt x="143" y="183"/>
                  </a:lnTo>
                  <a:lnTo>
                    <a:pt x="139" y="184"/>
                  </a:lnTo>
                  <a:lnTo>
                    <a:pt x="134" y="188"/>
                  </a:lnTo>
                  <a:lnTo>
                    <a:pt x="129" y="187"/>
                  </a:lnTo>
                  <a:lnTo>
                    <a:pt x="125" y="184"/>
                  </a:lnTo>
                  <a:lnTo>
                    <a:pt x="121" y="182"/>
                  </a:lnTo>
                  <a:lnTo>
                    <a:pt x="119" y="183"/>
                  </a:lnTo>
                  <a:lnTo>
                    <a:pt x="110" y="176"/>
                  </a:lnTo>
                  <a:lnTo>
                    <a:pt x="111" y="171"/>
                  </a:lnTo>
                  <a:lnTo>
                    <a:pt x="111" y="168"/>
                  </a:lnTo>
                  <a:lnTo>
                    <a:pt x="110" y="164"/>
                  </a:lnTo>
                  <a:lnTo>
                    <a:pt x="108" y="159"/>
                  </a:lnTo>
                  <a:lnTo>
                    <a:pt x="107" y="157"/>
                  </a:lnTo>
                  <a:lnTo>
                    <a:pt x="105" y="153"/>
                  </a:lnTo>
                  <a:lnTo>
                    <a:pt x="103" y="150"/>
                  </a:lnTo>
                  <a:lnTo>
                    <a:pt x="101" y="147"/>
                  </a:lnTo>
                  <a:lnTo>
                    <a:pt x="98" y="145"/>
                  </a:lnTo>
                  <a:lnTo>
                    <a:pt x="97" y="138"/>
                  </a:lnTo>
                  <a:lnTo>
                    <a:pt x="93" y="137"/>
                  </a:lnTo>
                  <a:lnTo>
                    <a:pt x="91" y="137"/>
                  </a:lnTo>
                  <a:lnTo>
                    <a:pt x="89" y="138"/>
                  </a:lnTo>
                  <a:lnTo>
                    <a:pt x="90" y="141"/>
                  </a:lnTo>
                  <a:lnTo>
                    <a:pt x="89" y="143"/>
                  </a:lnTo>
                  <a:lnTo>
                    <a:pt x="85" y="141"/>
                  </a:lnTo>
                  <a:lnTo>
                    <a:pt x="81" y="140"/>
                  </a:lnTo>
                  <a:lnTo>
                    <a:pt x="79" y="137"/>
                  </a:lnTo>
                  <a:lnTo>
                    <a:pt x="79" y="133"/>
                  </a:lnTo>
                  <a:lnTo>
                    <a:pt x="77" y="128"/>
                  </a:lnTo>
                  <a:lnTo>
                    <a:pt x="73" y="126"/>
                  </a:lnTo>
                  <a:lnTo>
                    <a:pt x="61" y="119"/>
                  </a:lnTo>
                  <a:lnTo>
                    <a:pt x="61" y="117"/>
                  </a:lnTo>
                  <a:lnTo>
                    <a:pt x="59" y="113"/>
                  </a:lnTo>
                  <a:lnTo>
                    <a:pt x="56" y="110"/>
                  </a:lnTo>
                  <a:lnTo>
                    <a:pt x="53" y="109"/>
                  </a:lnTo>
                  <a:lnTo>
                    <a:pt x="49" y="108"/>
                  </a:lnTo>
                  <a:lnTo>
                    <a:pt x="49" y="104"/>
                  </a:lnTo>
                  <a:lnTo>
                    <a:pt x="47" y="103"/>
                  </a:lnTo>
                  <a:lnTo>
                    <a:pt x="43" y="104"/>
                  </a:lnTo>
                  <a:lnTo>
                    <a:pt x="41" y="103"/>
                  </a:lnTo>
                  <a:lnTo>
                    <a:pt x="37" y="101"/>
                  </a:lnTo>
                  <a:lnTo>
                    <a:pt x="37" y="96"/>
                  </a:lnTo>
                  <a:lnTo>
                    <a:pt x="37" y="90"/>
                  </a:lnTo>
                  <a:lnTo>
                    <a:pt x="33" y="86"/>
                  </a:lnTo>
                  <a:lnTo>
                    <a:pt x="30" y="86"/>
                  </a:lnTo>
                  <a:lnTo>
                    <a:pt x="26" y="89"/>
                  </a:lnTo>
                  <a:lnTo>
                    <a:pt x="24" y="90"/>
                  </a:lnTo>
                  <a:lnTo>
                    <a:pt x="20" y="89"/>
                  </a:lnTo>
                  <a:lnTo>
                    <a:pt x="19" y="85"/>
                  </a:lnTo>
                  <a:lnTo>
                    <a:pt x="18" y="81"/>
                  </a:lnTo>
                  <a:lnTo>
                    <a:pt x="15" y="80"/>
                  </a:lnTo>
                  <a:lnTo>
                    <a:pt x="12" y="79"/>
                  </a:lnTo>
                  <a:lnTo>
                    <a:pt x="9" y="78"/>
                  </a:lnTo>
                  <a:lnTo>
                    <a:pt x="7" y="74"/>
                  </a:lnTo>
                  <a:lnTo>
                    <a:pt x="8" y="67"/>
                  </a:lnTo>
                  <a:lnTo>
                    <a:pt x="8" y="62"/>
                  </a:lnTo>
                  <a:lnTo>
                    <a:pt x="11" y="59"/>
                  </a:lnTo>
                  <a:lnTo>
                    <a:pt x="12" y="59"/>
                  </a:lnTo>
                  <a:lnTo>
                    <a:pt x="14" y="60"/>
                  </a:lnTo>
                  <a:lnTo>
                    <a:pt x="15" y="61"/>
                  </a:lnTo>
                  <a:lnTo>
                    <a:pt x="18" y="61"/>
                  </a:lnTo>
                  <a:lnTo>
                    <a:pt x="20" y="61"/>
                  </a:lnTo>
                  <a:lnTo>
                    <a:pt x="21" y="60"/>
                  </a:lnTo>
                  <a:lnTo>
                    <a:pt x="23" y="55"/>
                  </a:lnTo>
                  <a:lnTo>
                    <a:pt x="23" y="45"/>
                  </a:lnTo>
                  <a:lnTo>
                    <a:pt x="23" y="39"/>
                  </a:lnTo>
                  <a:lnTo>
                    <a:pt x="21" y="37"/>
                  </a:lnTo>
                  <a:lnTo>
                    <a:pt x="19" y="38"/>
                  </a:lnTo>
                  <a:lnTo>
                    <a:pt x="11" y="39"/>
                  </a:lnTo>
                  <a:lnTo>
                    <a:pt x="9" y="39"/>
                  </a:lnTo>
                  <a:lnTo>
                    <a:pt x="7" y="37"/>
                  </a:lnTo>
                  <a:lnTo>
                    <a:pt x="6" y="36"/>
                  </a:lnTo>
                  <a:lnTo>
                    <a:pt x="1" y="33"/>
                  </a:lnTo>
                  <a:lnTo>
                    <a:pt x="0" y="30"/>
                  </a:lnTo>
                  <a:lnTo>
                    <a:pt x="0" y="25"/>
                  </a:lnTo>
                  <a:lnTo>
                    <a:pt x="0" y="22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11" y="16"/>
                  </a:lnTo>
                  <a:lnTo>
                    <a:pt x="11" y="12"/>
                  </a:lnTo>
                  <a:lnTo>
                    <a:pt x="9" y="7"/>
                  </a:lnTo>
                  <a:lnTo>
                    <a:pt x="13" y="5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45" y="0"/>
                  </a:lnTo>
                  <a:lnTo>
                    <a:pt x="50" y="0"/>
                  </a:lnTo>
                  <a:lnTo>
                    <a:pt x="61" y="10"/>
                  </a:lnTo>
                  <a:lnTo>
                    <a:pt x="65" y="14"/>
                  </a:lnTo>
                  <a:lnTo>
                    <a:pt x="63" y="19"/>
                  </a:lnTo>
                  <a:lnTo>
                    <a:pt x="60" y="24"/>
                  </a:lnTo>
                  <a:lnTo>
                    <a:pt x="50" y="30"/>
                  </a:lnTo>
                  <a:lnTo>
                    <a:pt x="51" y="37"/>
                  </a:lnTo>
                  <a:lnTo>
                    <a:pt x="56" y="42"/>
                  </a:lnTo>
                  <a:lnTo>
                    <a:pt x="66" y="37"/>
                  </a:lnTo>
                  <a:lnTo>
                    <a:pt x="73" y="31"/>
                  </a:lnTo>
                  <a:lnTo>
                    <a:pt x="75" y="26"/>
                  </a:lnTo>
                  <a:lnTo>
                    <a:pt x="80" y="31"/>
                  </a:lnTo>
                  <a:lnTo>
                    <a:pt x="83" y="32"/>
                  </a:lnTo>
                  <a:lnTo>
                    <a:pt x="83" y="41"/>
                  </a:lnTo>
                  <a:lnTo>
                    <a:pt x="84" y="49"/>
                  </a:lnTo>
                  <a:lnTo>
                    <a:pt x="85" y="56"/>
                  </a:lnTo>
                  <a:lnTo>
                    <a:pt x="90" y="65"/>
                  </a:lnTo>
                  <a:lnTo>
                    <a:pt x="92" y="69"/>
                  </a:lnTo>
                  <a:lnTo>
                    <a:pt x="96" y="72"/>
                  </a:lnTo>
                  <a:lnTo>
                    <a:pt x="102" y="74"/>
                  </a:lnTo>
                  <a:lnTo>
                    <a:pt x="105" y="74"/>
                  </a:lnTo>
                  <a:lnTo>
                    <a:pt x="110" y="75"/>
                  </a:lnTo>
                  <a:lnTo>
                    <a:pt x="114" y="77"/>
                  </a:lnTo>
                  <a:lnTo>
                    <a:pt x="119" y="74"/>
                  </a:lnTo>
                  <a:lnTo>
                    <a:pt x="121" y="72"/>
                  </a:lnTo>
                  <a:lnTo>
                    <a:pt x="123" y="78"/>
                  </a:lnTo>
                  <a:lnTo>
                    <a:pt x="127" y="80"/>
                  </a:lnTo>
                  <a:lnTo>
                    <a:pt x="131" y="83"/>
                  </a:lnTo>
                  <a:lnTo>
                    <a:pt x="132" y="87"/>
                  </a:lnTo>
                  <a:lnTo>
                    <a:pt x="131" y="95"/>
                  </a:lnTo>
                  <a:lnTo>
                    <a:pt x="131" y="101"/>
                  </a:lnTo>
                  <a:lnTo>
                    <a:pt x="132" y="107"/>
                  </a:lnTo>
                  <a:lnTo>
                    <a:pt x="131" y="110"/>
                  </a:lnTo>
                  <a:lnTo>
                    <a:pt x="128" y="120"/>
                  </a:lnTo>
                  <a:lnTo>
                    <a:pt x="128" y="127"/>
                  </a:lnTo>
                  <a:lnTo>
                    <a:pt x="128" y="133"/>
                  </a:lnTo>
                  <a:lnTo>
                    <a:pt x="129" y="140"/>
                  </a:lnTo>
                  <a:lnTo>
                    <a:pt x="132" y="145"/>
                  </a:lnTo>
                  <a:lnTo>
                    <a:pt x="132" y="151"/>
                  </a:lnTo>
                  <a:lnTo>
                    <a:pt x="133" y="154"/>
                  </a:lnTo>
                  <a:lnTo>
                    <a:pt x="135" y="156"/>
                  </a:lnTo>
                  <a:lnTo>
                    <a:pt x="140" y="154"/>
                  </a:lnTo>
                  <a:lnTo>
                    <a:pt x="143" y="156"/>
                  </a:lnTo>
                  <a:lnTo>
                    <a:pt x="143" y="159"/>
                  </a:lnTo>
                  <a:lnTo>
                    <a:pt x="144" y="162"/>
                  </a:lnTo>
                  <a:lnTo>
                    <a:pt x="150" y="166"/>
                  </a:lnTo>
                  <a:lnTo>
                    <a:pt x="152" y="172"/>
                  </a:lnTo>
                  <a:lnTo>
                    <a:pt x="153" y="177"/>
                  </a:lnTo>
                  <a:lnTo>
                    <a:pt x="155" y="178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19" name="Freeform 426"/>
            <p:cNvSpPr>
              <a:spLocks/>
            </p:cNvSpPr>
            <p:nvPr/>
          </p:nvSpPr>
          <p:spPr bwMode="auto">
            <a:xfrm>
              <a:off x="5257241" y="4662116"/>
              <a:ext cx="213255" cy="272975"/>
            </a:xfrm>
            <a:custGeom>
              <a:avLst/>
              <a:gdLst>
                <a:gd name="T0" fmla="*/ 0 w 98"/>
                <a:gd name="T1" fmla="*/ 65 h 134"/>
                <a:gd name="T2" fmla="*/ 4 w 98"/>
                <a:gd name="T3" fmla="*/ 62 h 134"/>
                <a:gd name="T4" fmla="*/ 12 w 98"/>
                <a:gd name="T5" fmla="*/ 59 h 134"/>
                <a:gd name="T6" fmla="*/ 20 w 98"/>
                <a:gd name="T7" fmla="*/ 52 h 134"/>
                <a:gd name="T8" fmla="*/ 28 w 98"/>
                <a:gd name="T9" fmla="*/ 41 h 134"/>
                <a:gd name="T10" fmla="*/ 27 w 98"/>
                <a:gd name="T11" fmla="*/ 37 h 134"/>
                <a:gd name="T12" fmla="*/ 28 w 98"/>
                <a:gd name="T13" fmla="*/ 32 h 134"/>
                <a:gd name="T14" fmla="*/ 29 w 98"/>
                <a:gd name="T15" fmla="*/ 28 h 134"/>
                <a:gd name="T16" fmla="*/ 28 w 98"/>
                <a:gd name="T17" fmla="*/ 24 h 134"/>
                <a:gd name="T18" fmla="*/ 29 w 98"/>
                <a:gd name="T19" fmla="*/ 20 h 134"/>
                <a:gd name="T20" fmla="*/ 29 w 98"/>
                <a:gd name="T21" fmla="*/ 15 h 134"/>
                <a:gd name="T22" fmla="*/ 23 w 98"/>
                <a:gd name="T23" fmla="*/ 11 h 134"/>
                <a:gd name="T24" fmla="*/ 24 w 98"/>
                <a:gd name="T25" fmla="*/ 9 h 134"/>
                <a:gd name="T26" fmla="*/ 23 w 98"/>
                <a:gd name="T27" fmla="*/ 4 h 134"/>
                <a:gd name="T28" fmla="*/ 24 w 98"/>
                <a:gd name="T29" fmla="*/ 1 h 134"/>
                <a:gd name="T30" fmla="*/ 30 w 98"/>
                <a:gd name="T31" fmla="*/ 4 h 134"/>
                <a:gd name="T32" fmla="*/ 33 w 98"/>
                <a:gd name="T33" fmla="*/ 7 h 134"/>
                <a:gd name="T34" fmla="*/ 34 w 98"/>
                <a:gd name="T35" fmla="*/ 11 h 134"/>
                <a:gd name="T36" fmla="*/ 38 w 98"/>
                <a:gd name="T37" fmla="*/ 12 h 134"/>
                <a:gd name="T38" fmla="*/ 38 w 98"/>
                <a:gd name="T39" fmla="*/ 10 h 134"/>
                <a:gd name="T40" fmla="*/ 40 w 98"/>
                <a:gd name="T41" fmla="*/ 9 h 134"/>
                <a:gd name="T42" fmla="*/ 43 w 98"/>
                <a:gd name="T43" fmla="*/ 13 h 134"/>
                <a:gd name="T44" fmla="*/ 45 w 98"/>
                <a:gd name="T45" fmla="*/ 16 h 134"/>
                <a:gd name="T46" fmla="*/ 47 w 98"/>
                <a:gd name="T47" fmla="*/ 19 h 134"/>
                <a:gd name="T48" fmla="*/ 49 w 98"/>
                <a:gd name="T49" fmla="*/ 23 h 134"/>
                <a:gd name="T50" fmla="*/ 49 w 98"/>
                <a:gd name="T51" fmla="*/ 26 h 134"/>
                <a:gd name="T52" fmla="*/ 46 w 98"/>
                <a:gd name="T53" fmla="*/ 28 h 134"/>
                <a:gd name="T54" fmla="*/ 46 w 98"/>
                <a:gd name="T55" fmla="*/ 31 h 134"/>
                <a:gd name="T56" fmla="*/ 44 w 98"/>
                <a:gd name="T57" fmla="*/ 36 h 134"/>
                <a:gd name="T58" fmla="*/ 45 w 98"/>
                <a:gd name="T59" fmla="*/ 41 h 134"/>
                <a:gd name="T60" fmla="*/ 45 w 98"/>
                <a:gd name="T61" fmla="*/ 46 h 134"/>
                <a:gd name="T62" fmla="*/ 44 w 98"/>
                <a:gd name="T63" fmla="*/ 50 h 134"/>
                <a:gd name="T64" fmla="*/ 44 w 98"/>
                <a:gd name="T65" fmla="*/ 56 h 134"/>
                <a:gd name="T66" fmla="*/ 39 w 98"/>
                <a:gd name="T67" fmla="*/ 59 h 134"/>
                <a:gd name="T68" fmla="*/ 35 w 98"/>
                <a:gd name="T69" fmla="*/ 60 h 134"/>
                <a:gd name="T70" fmla="*/ 31 w 98"/>
                <a:gd name="T71" fmla="*/ 62 h 134"/>
                <a:gd name="T72" fmla="*/ 27 w 98"/>
                <a:gd name="T73" fmla="*/ 63 h 134"/>
                <a:gd name="T74" fmla="*/ 23 w 98"/>
                <a:gd name="T75" fmla="*/ 63 h 134"/>
                <a:gd name="T76" fmla="*/ 21 w 98"/>
                <a:gd name="T77" fmla="*/ 65 h 134"/>
                <a:gd name="T78" fmla="*/ 15 w 98"/>
                <a:gd name="T79" fmla="*/ 65 h 134"/>
                <a:gd name="T80" fmla="*/ 11 w 98"/>
                <a:gd name="T81" fmla="*/ 67 h 134"/>
                <a:gd name="T82" fmla="*/ 6 w 98"/>
                <a:gd name="T83" fmla="*/ 67 h 134"/>
                <a:gd name="T84" fmla="*/ 0 w 98"/>
                <a:gd name="T85" fmla="*/ 66 h 13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98" h="134">
                  <a:moveTo>
                    <a:pt x="0" y="131"/>
                  </a:moveTo>
                  <a:lnTo>
                    <a:pt x="0" y="130"/>
                  </a:lnTo>
                  <a:lnTo>
                    <a:pt x="5" y="127"/>
                  </a:lnTo>
                  <a:lnTo>
                    <a:pt x="8" y="123"/>
                  </a:lnTo>
                  <a:lnTo>
                    <a:pt x="13" y="122"/>
                  </a:lnTo>
                  <a:lnTo>
                    <a:pt x="23" y="118"/>
                  </a:lnTo>
                  <a:lnTo>
                    <a:pt x="31" y="111"/>
                  </a:lnTo>
                  <a:lnTo>
                    <a:pt x="40" y="104"/>
                  </a:lnTo>
                  <a:lnTo>
                    <a:pt x="47" y="93"/>
                  </a:lnTo>
                  <a:lnTo>
                    <a:pt x="55" y="82"/>
                  </a:lnTo>
                  <a:lnTo>
                    <a:pt x="55" y="77"/>
                  </a:lnTo>
                  <a:lnTo>
                    <a:pt x="53" y="73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8" y="59"/>
                  </a:lnTo>
                  <a:lnTo>
                    <a:pt x="58" y="56"/>
                  </a:lnTo>
                  <a:lnTo>
                    <a:pt x="56" y="50"/>
                  </a:lnTo>
                  <a:lnTo>
                    <a:pt x="55" y="47"/>
                  </a:lnTo>
                  <a:lnTo>
                    <a:pt x="55" y="44"/>
                  </a:lnTo>
                  <a:lnTo>
                    <a:pt x="58" y="39"/>
                  </a:lnTo>
                  <a:lnTo>
                    <a:pt x="58" y="35"/>
                  </a:lnTo>
                  <a:lnTo>
                    <a:pt x="58" y="29"/>
                  </a:lnTo>
                  <a:lnTo>
                    <a:pt x="53" y="27"/>
                  </a:lnTo>
                  <a:lnTo>
                    <a:pt x="46" y="22"/>
                  </a:lnTo>
                  <a:lnTo>
                    <a:pt x="46" y="19"/>
                  </a:lnTo>
                  <a:lnTo>
                    <a:pt x="47" y="18"/>
                  </a:lnTo>
                  <a:lnTo>
                    <a:pt x="44" y="9"/>
                  </a:lnTo>
                  <a:lnTo>
                    <a:pt x="46" y="8"/>
                  </a:lnTo>
                  <a:lnTo>
                    <a:pt x="48" y="6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60" y="7"/>
                  </a:lnTo>
                  <a:lnTo>
                    <a:pt x="64" y="9"/>
                  </a:lnTo>
                  <a:lnTo>
                    <a:pt x="66" y="14"/>
                  </a:lnTo>
                  <a:lnTo>
                    <a:pt x="66" y="18"/>
                  </a:lnTo>
                  <a:lnTo>
                    <a:pt x="68" y="21"/>
                  </a:lnTo>
                  <a:lnTo>
                    <a:pt x="72" y="22"/>
                  </a:lnTo>
                  <a:lnTo>
                    <a:pt x="76" y="24"/>
                  </a:lnTo>
                  <a:lnTo>
                    <a:pt x="77" y="22"/>
                  </a:lnTo>
                  <a:lnTo>
                    <a:pt x="76" y="19"/>
                  </a:lnTo>
                  <a:lnTo>
                    <a:pt x="78" y="18"/>
                  </a:lnTo>
                  <a:lnTo>
                    <a:pt x="80" y="18"/>
                  </a:lnTo>
                  <a:lnTo>
                    <a:pt x="84" y="19"/>
                  </a:lnTo>
                  <a:lnTo>
                    <a:pt x="85" y="26"/>
                  </a:lnTo>
                  <a:lnTo>
                    <a:pt x="88" y="28"/>
                  </a:lnTo>
                  <a:lnTo>
                    <a:pt x="90" y="31"/>
                  </a:lnTo>
                  <a:lnTo>
                    <a:pt x="92" y="34"/>
                  </a:lnTo>
                  <a:lnTo>
                    <a:pt x="94" y="38"/>
                  </a:lnTo>
                  <a:lnTo>
                    <a:pt x="95" y="40"/>
                  </a:lnTo>
                  <a:lnTo>
                    <a:pt x="97" y="45"/>
                  </a:lnTo>
                  <a:lnTo>
                    <a:pt x="98" y="49"/>
                  </a:lnTo>
                  <a:lnTo>
                    <a:pt x="98" y="52"/>
                  </a:lnTo>
                  <a:lnTo>
                    <a:pt x="97" y="57"/>
                  </a:lnTo>
                  <a:lnTo>
                    <a:pt x="92" y="55"/>
                  </a:lnTo>
                  <a:lnTo>
                    <a:pt x="91" y="56"/>
                  </a:lnTo>
                  <a:lnTo>
                    <a:pt x="91" y="61"/>
                  </a:lnTo>
                  <a:lnTo>
                    <a:pt x="90" y="65"/>
                  </a:lnTo>
                  <a:lnTo>
                    <a:pt x="88" y="71"/>
                  </a:lnTo>
                  <a:lnTo>
                    <a:pt x="88" y="77"/>
                  </a:lnTo>
                  <a:lnTo>
                    <a:pt x="89" y="82"/>
                  </a:lnTo>
                  <a:lnTo>
                    <a:pt x="88" y="86"/>
                  </a:lnTo>
                  <a:lnTo>
                    <a:pt x="89" y="91"/>
                  </a:lnTo>
                  <a:lnTo>
                    <a:pt x="89" y="98"/>
                  </a:lnTo>
                  <a:lnTo>
                    <a:pt x="88" y="100"/>
                  </a:lnTo>
                  <a:lnTo>
                    <a:pt x="88" y="105"/>
                  </a:lnTo>
                  <a:lnTo>
                    <a:pt x="88" y="112"/>
                  </a:lnTo>
                  <a:lnTo>
                    <a:pt x="86" y="118"/>
                  </a:lnTo>
                  <a:lnTo>
                    <a:pt x="77" y="118"/>
                  </a:lnTo>
                  <a:lnTo>
                    <a:pt x="73" y="117"/>
                  </a:lnTo>
                  <a:lnTo>
                    <a:pt x="70" y="119"/>
                  </a:lnTo>
                  <a:lnTo>
                    <a:pt x="65" y="124"/>
                  </a:lnTo>
                  <a:lnTo>
                    <a:pt x="61" y="124"/>
                  </a:lnTo>
                  <a:lnTo>
                    <a:pt x="55" y="124"/>
                  </a:lnTo>
                  <a:lnTo>
                    <a:pt x="53" y="125"/>
                  </a:lnTo>
                  <a:lnTo>
                    <a:pt x="49" y="124"/>
                  </a:lnTo>
                  <a:lnTo>
                    <a:pt x="46" y="125"/>
                  </a:lnTo>
                  <a:lnTo>
                    <a:pt x="42" y="128"/>
                  </a:lnTo>
                  <a:lnTo>
                    <a:pt x="41" y="130"/>
                  </a:lnTo>
                  <a:lnTo>
                    <a:pt x="34" y="128"/>
                  </a:lnTo>
                  <a:lnTo>
                    <a:pt x="29" y="129"/>
                  </a:lnTo>
                  <a:lnTo>
                    <a:pt x="24" y="131"/>
                  </a:lnTo>
                  <a:lnTo>
                    <a:pt x="22" y="134"/>
                  </a:lnTo>
                  <a:lnTo>
                    <a:pt x="16" y="134"/>
                  </a:lnTo>
                  <a:lnTo>
                    <a:pt x="11" y="133"/>
                  </a:lnTo>
                  <a:lnTo>
                    <a:pt x="6" y="133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20" name="Freeform 427"/>
            <p:cNvSpPr>
              <a:spLocks/>
            </p:cNvSpPr>
            <p:nvPr/>
          </p:nvSpPr>
          <p:spPr bwMode="auto">
            <a:xfrm>
              <a:off x="5026577" y="4433958"/>
              <a:ext cx="356875" cy="382980"/>
            </a:xfrm>
            <a:custGeom>
              <a:avLst/>
              <a:gdLst>
                <a:gd name="T0" fmla="*/ 81 w 165"/>
                <a:gd name="T1" fmla="*/ 88 h 188"/>
                <a:gd name="T2" fmla="*/ 81 w 165"/>
                <a:gd name="T3" fmla="*/ 81 h 188"/>
                <a:gd name="T4" fmla="*/ 82 w 165"/>
                <a:gd name="T5" fmla="*/ 76 h 188"/>
                <a:gd name="T6" fmla="*/ 80 w 165"/>
                <a:gd name="T7" fmla="*/ 70 h 188"/>
                <a:gd name="T8" fmla="*/ 77 w 165"/>
                <a:gd name="T9" fmla="*/ 65 h 188"/>
                <a:gd name="T10" fmla="*/ 77 w 165"/>
                <a:gd name="T11" fmla="*/ 59 h 188"/>
                <a:gd name="T12" fmla="*/ 77 w 165"/>
                <a:gd name="T13" fmla="*/ 55 h 188"/>
                <a:gd name="T14" fmla="*/ 73 w 165"/>
                <a:gd name="T15" fmla="*/ 51 h 188"/>
                <a:gd name="T16" fmla="*/ 70 w 165"/>
                <a:gd name="T17" fmla="*/ 48 h 188"/>
                <a:gd name="T18" fmla="*/ 65 w 165"/>
                <a:gd name="T19" fmla="*/ 47 h 188"/>
                <a:gd name="T20" fmla="*/ 63 w 165"/>
                <a:gd name="T21" fmla="*/ 40 h 188"/>
                <a:gd name="T22" fmla="*/ 59 w 165"/>
                <a:gd name="T23" fmla="*/ 42 h 188"/>
                <a:gd name="T24" fmla="*/ 56 w 165"/>
                <a:gd name="T25" fmla="*/ 37 h 188"/>
                <a:gd name="T26" fmla="*/ 51 w 165"/>
                <a:gd name="T27" fmla="*/ 36 h 188"/>
                <a:gd name="T28" fmla="*/ 51 w 165"/>
                <a:gd name="T29" fmla="*/ 28 h 188"/>
                <a:gd name="T30" fmla="*/ 54 w 165"/>
                <a:gd name="T31" fmla="*/ 27 h 188"/>
                <a:gd name="T32" fmla="*/ 57 w 165"/>
                <a:gd name="T33" fmla="*/ 27 h 188"/>
                <a:gd name="T34" fmla="*/ 58 w 165"/>
                <a:gd name="T35" fmla="*/ 19 h 188"/>
                <a:gd name="T36" fmla="*/ 56 w 165"/>
                <a:gd name="T37" fmla="*/ 16 h 188"/>
                <a:gd name="T38" fmla="*/ 50 w 165"/>
                <a:gd name="T39" fmla="*/ 15 h 188"/>
                <a:gd name="T40" fmla="*/ 47 w 165"/>
                <a:gd name="T41" fmla="*/ 12 h 188"/>
                <a:gd name="T42" fmla="*/ 48 w 165"/>
                <a:gd name="T43" fmla="*/ 5 h 188"/>
                <a:gd name="T44" fmla="*/ 36 w 165"/>
                <a:gd name="T45" fmla="*/ 2 h 188"/>
                <a:gd name="T46" fmla="*/ 27 w 165"/>
                <a:gd name="T47" fmla="*/ 2 h 188"/>
                <a:gd name="T48" fmla="*/ 12 w 165"/>
                <a:gd name="T49" fmla="*/ 3 h 188"/>
                <a:gd name="T50" fmla="*/ 13 w 165"/>
                <a:gd name="T51" fmla="*/ 8 h 188"/>
                <a:gd name="T52" fmla="*/ 14 w 165"/>
                <a:gd name="T53" fmla="*/ 15 h 188"/>
                <a:gd name="T54" fmla="*/ 17 w 165"/>
                <a:gd name="T55" fmla="*/ 25 h 188"/>
                <a:gd name="T56" fmla="*/ 17 w 165"/>
                <a:gd name="T57" fmla="*/ 34 h 188"/>
                <a:gd name="T58" fmla="*/ 14 w 165"/>
                <a:gd name="T59" fmla="*/ 39 h 188"/>
                <a:gd name="T60" fmla="*/ 12 w 165"/>
                <a:gd name="T61" fmla="*/ 44 h 188"/>
                <a:gd name="T62" fmla="*/ 10 w 165"/>
                <a:gd name="T63" fmla="*/ 49 h 188"/>
                <a:gd name="T64" fmla="*/ 6 w 165"/>
                <a:gd name="T65" fmla="*/ 52 h 188"/>
                <a:gd name="T66" fmla="*/ 2 w 165"/>
                <a:gd name="T67" fmla="*/ 57 h 188"/>
                <a:gd name="T68" fmla="*/ 1 w 165"/>
                <a:gd name="T69" fmla="*/ 61 h 188"/>
                <a:gd name="T70" fmla="*/ 1 w 165"/>
                <a:gd name="T71" fmla="*/ 66 h 188"/>
                <a:gd name="T72" fmla="*/ 0 w 165"/>
                <a:gd name="T73" fmla="*/ 70 h 188"/>
                <a:gd name="T74" fmla="*/ 2 w 165"/>
                <a:gd name="T75" fmla="*/ 76 h 188"/>
                <a:gd name="T76" fmla="*/ 3 w 165"/>
                <a:gd name="T77" fmla="*/ 82 h 188"/>
                <a:gd name="T78" fmla="*/ 15 w 165"/>
                <a:gd name="T79" fmla="*/ 79 h 188"/>
                <a:gd name="T80" fmla="*/ 41 w 165"/>
                <a:gd name="T81" fmla="*/ 87 h 188"/>
                <a:gd name="T82" fmla="*/ 50 w 165"/>
                <a:gd name="T83" fmla="*/ 93 h 188"/>
                <a:gd name="T84" fmla="*/ 59 w 165"/>
                <a:gd name="T85" fmla="*/ 94 h 188"/>
                <a:gd name="T86" fmla="*/ 75 w 165"/>
                <a:gd name="T87" fmla="*/ 90 h 18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65" h="188">
                  <a:moveTo>
                    <a:pt x="160" y="185"/>
                  </a:moveTo>
                  <a:lnTo>
                    <a:pt x="163" y="180"/>
                  </a:lnTo>
                  <a:lnTo>
                    <a:pt x="163" y="176"/>
                  </a:lnTo>
                  <a:lnTo>
                    <a:pt x="165" y="171"/>
                  </a:lnTo>
                  <a:lnTo>
                    <a:pt x="165" y="168"/>
                  </a:lnTo>
                  <a:lnTo>
                    <a:pt x="163" y="162"/>
                  </a:lnTo>
                  <a:lnTo>
                    <a:pt x="162" y="159"/>
                  </a:lnTo>
                  <a:lnTo>
                    <a:pt x="162" y="156"/>
                  </a:lnTo>
                  <a:lnTo>
                    <a:pt x="165" y="151"/>
                  </a:lnTo>
                  <a:lnTo>
                    <a:pt x="165" y="147"/>
                  </a:lnTo>
                  <a:lnTo>
                    <a:pt x="165" y="141"/>
                  </a:lnTo>
                  <a:lnTo>
                    <a:pt x="160" y="139"/>
                  </a:lnTo>
                  <a:lnTo>
                    <a:pt x="153" y="134"/>
                  </a:lnTo>
                  <a:lnTo>
                    <a:pt x="153" y="131"/>
                  </a:lnTo>
                  <a:lnTo>
                    <a:pt x="154" y="130"/>
                  </a:lnTo>
                  <a:lnTo>
                    <a:pt x="151" y="121"/>
                  </a:lnTo>
                  <a:lnTo>
                    <a:pt x="153" y="120"/>
                  </a:lnTo>
                  <a:lnTo>
                    <a:pt x="155" y="118"/>
                  </a:lnTo>
                  <a:lnTo>
                    <a:pt x="155" y="113"/>
                  </a:lnTo>
                  <a:lnTo>
                    <a:pt x="155" y="112"/>
                  </a:lnTo>
                  <a:lnTo>
                    <a:pt x="155" y="110"/>
                  </a:lnTo>
                  <a:lnTo>
                    <a:pt x="153" y="106"/>
                  </a:lnTo>
                  <a:lnTo>
                    <a:pt x="150" y="103"/>
                  </a:lnTo>
                  <a:lnTo>
                    <a:pt x="147" y="102"/>
                  </a:lnTo>
                  <a:lnTo>
                    <a:pt x="143" y="101"/>
                  </a:lnTo>
                  <a:lnTo>
                    <a:pt x="143" y="97"/>
                  </a:lnTo>
                  <a:lnTo>
                    <a:pt x="141" y="96"/>
                  </a:lnTo>
                  <a:lnTo>
                    <a:pt x="137" y="97"/>
                  </a:lnTo>
                  <a:lnTo>
                    <a:pt x="135" y="96"/>
                  </a:lnTo>
                  <a:lnTo>
                    <a:pt x="131" y="94"/>
                  </a:lnTo>
                  <a:lnTo>
                    <a:pt x="131" y="89"/>
                  </a:lnTo>
                  <a:lnTo>
                    <a:pt x="131" y="83"/>
                  </a:lnTo>
                  <a:lnTo>
                    <a:pt x="127" y="79"/>
                  </a:lnTo>
                  <a:lnTo>
                    <a:pt x="124" y="79"/>
                  </a:lnTo>
                  <a:lnTo>
                    <a:pt x="120" y="82"/>
                  </a:lnTo>
                  <a:lnTo>
                    <a:pt x="118" y="83"/>
                  </a:lnTo>
                  <a:lnTo>
                    <a:pt x="114" y="82"/>
                  </a:lnTo>
                  <a:lnTo>
                    <a:pt x="113" y="78"/>
                  </a:lnTo>
                  <a:lnTo>
                    <a:pt x="112" y="74"/>
                  </a:lnTo>
                  <a:lnTo>
                    <a:pt x="109" y="73"/>
                  </a:lnTo>
                  <a:lnTo>
                    <a:pt x="106" y="72"/>
                  </a:lnTo>
                  <a:lnTo>
                    <a:pt x="103" y="71"/>
                  </a:lnTo>
                  <a:lnTo>
                    <a:pt x="101" y="67"/>
                  </a:lnTo>
                  <a:lnTo>
                    <a:pt x="102" y="60"/>
                  </a:lnTo>
                  <a:lnTo>
                    <a:pt x="102" y="55"/>
                  </a:lnTo>
                  <a:lnTo>
                    <a:pt x="105" y="52"/>
                  </a:lnTo>
                  <a:lnTo>
                    <a:pt x="106" y="52"/>
                  </a:lnTo>
                  <a:lnTo>
                    <a:pt x="108" y="53"/>
                  </a:lnTo>
                  <a:lnTo>
                    <a:pt x="109" y="54"/>
                  </a:lnTo>
                  <a:lnTo>
                    <a:pt x="112" y="54"/>
                  </a:lnTo>
                  <a:lnTo>
                    <a:pt x="114" y="54"/>
                  </a:lnTo>
                  <a:lnTo>
                    <a:pt x="115" y="53"/>
                  </a:lnTo>
                  <a:lnTo>
                    <a:pt x="117" y="48"/>
                  </a:lnTo>
                  <a:lnTo>
                    <a:pt x="117" y="38"/>
                  </a:lnTo>
                  <a:lnTo>
                    <a:pt x="117" y="32"/>
                  </a:lnTo>
                  <a:lnTo>
                    <a:pt x="115" y="30"/>
                  </a:lnTo>
                  <a:lnTo>
                    <a:pt x="113" y="31"/>
                  </a:lnTo>
                  <a:lnTo>
                    <a:pt x="105" y="32"/>
                  </a:lnTo>
                  <a:lnTo>
                    <a:pt x="103" y="32"/>
                  </a:lnTo>
                  <a:lnTo>
                    <a:pt x="101" y="30"/>
                  </a:lnTo>
                  <a:lnTo>
                    <a:pt x="100" y="29"/>
                  </a:lnTo>
                  <a:lnTo>
                    <a:pt x="95" y="26"/>
                  </a:lnTo>
                  <a:lnTo>
                    <a:pt x="94" y="23"/>
                  </a:lnTo>
                  <a:lnTo>
                    <a:pt x="94" y="18"/>
                  </a:lnTo>
                  <a:lnTo>
                    <a:pt x="94" y="15"/>
                  </a:lnTo>
                  <a:lnTo>
                    <a:pt x="96" y="9"/>
                  </a:lnTo>
                  <a:lnTo>
                    <a:pt x="91" y="6"/>
                  </a:lnTo>
                  <a:lnTo>
                    <a:pt x="83" y="4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61" y="0"/>
                  </a:lnTo>
                  <a:lnTo>
                    <a:pt x="54" y="4"/>
                  </a:lnTo>
                  <a:lnTo>
                    <a:pt x="49" y="4"/>
                  </a:lnTo>
                  <a:lnTo>
                    <a:pt x="37" y="1"/>
                  </a:lnTo>
                  <a:lnTo>
                    <a:pt x="25" y="6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7" y="15"/>
                  </a:lnTo>
                  <a:lnTo>
                    <a:pt x="28" y="20"/>
                  </a:lnTo>
                  <a:lnTo>
                    <a:pt x="27" y="25"/>
                  </a:lnTo>
                  <a:lnTo>
                    <a:pt x="28" y="30"/>
                  </a:lnTo>
                  <a:lnTo>
                    <a:pt x="31" y="37"/>
                  </a:lnTo>
                  <a:lnTo>
                    <a:pt x="34" y="44"/>
                  </a:lnTo>
                  <a:lnTo>
                    <a:pt x="35" y="49"/>
                  </a:lnTo>
                  <a:lnTo>
                    <a:pt x="34" y="55"/>
                  </a:lnTo>
                  <a:lnTo>
                    <a:pt x="34" y="60"/>
                  </a:lnTo>
                  <a:lnTo>
                    <a:pt x="34" y="67"/>
                  </a:lnTo>
                  <a:lnTo>
                    <a:pt x="35" y="71"/>
                  </a:lnTo>
                  <a:lnTo>
                    <a:pt x="33" y="76"/>
                  </a:lnTo>
                  <a:lnTo>
                    <a:pt x="28" y="78"/>
                  </a:lnTo>
                  <a:lnTo>
                    <a:pt x="23" y="79"/>
                  </a:lnTo>
                  <a:lnTo>
                    <a:pt x="23" y="84"/>
                  </a:lnTo>
                  <a:lnTo>
                    <a:pt x="24" y="88"/>
                  </a:lnTo>
                  <a:lnTo>
                    <a:pt x="24" y="91"/>
                  </a:lnTo>
                  <a:lnTo>
                    <a:pt x="23" y="94"/>
                  </a:lnTo>
                  <a:lnTo>
                    <a:pt x="21" y="97"/>
                  </a:lnTo>
                  <a:lnTo>
                    <a:pt x="17" y="100"/>
                  </a:lnTo>
                  <a:lnTo>
                    <a:pt x="16" y="102"/>
                  </a:lnTo>
                  <a:lnTo>
                    <a:pt x="13" y="104"/>
                  </a:lnTo>
                  <a:lnTo>
                    <a:pt x="10" y="108"/>
                  </a:lnTo>
                  <a:lnTo>
                    <a:pt x="6" y="113"/>
                  </a:lnTo>
                  <a:lnTo>
                    <a:pt x="5" y="114"/>
                  </a:lnTo>
                  <a:lnTo>
                    <a:pt x="4" y="116"/>
                  </a:lnTo>
                  <a:lnTo>
                    <a:pt x="4" y="118"/>
                  </a:lnTo>
                  <a:lnTo>
                    <a:pt x="3" y="121"/>
                  </a:lnTo>
                  <a:lnTo>
                    <a:pt x="1" y="124"/>
                  </a:lnTo>
                  <a:lnTo>
                    <a:pt x="1" y="126"/>
                  </a:lnTo>
                  <a:lnTo>
                    <a:pt x="3" y="131"/>
                  </a:lnTo>
                  <a:lnTo>
                    <a:pt x="3" y="133"/>
                  </a:lnTo>
                  <a:lnTo>
                    <a:pt x="0" y="138"/>
                  </a:lnTo>
                  <a:lnTo>
                    <a:pt x="1" y="140"/>
                  </a:lnTo>
                  <a:lnTo>
                    <a:pt x="1" y="146"/>
                  </a:lnTo>
                  <a:lnTo>
                    <a:pt x="3" y="151"/>
                  </a:lnTo>
                  <a:lnTo>
                    <a:pt x="4" y="152"/>
                  </a:lnTo>
                  <a:lnTo>
                    <a:pt x="6" y="156"/>
                  </a:lnTo>
                  <a:lnTo>
                    <a:pt x="6" y="158"/>
                  </a:lnTo>
                  <a:lnTo>
                    <a:pt x="7" y="164"/>
                  </a:lnTo>
                  <a:lnTo>
                    <a:pt x="10" y="163"/>
                  </a:lnTo>
                  <a:lnTo>
                    <a:pt x="22" y="159"/>
                  </a:lnTo>
                  <a:lnTo>
                    <a:pt x="31" y="157"/>
                  </a:lnTo>
                  <a:lnTo>
                    <a:pt x="65" y="158"/>
                  </a:lnTo>
                  <a:lnTo>
                    <a:pt x="72" y="163"/>
                  </a:lnTo>
                  <a:lnTo>
                    <a:pt x="82" y="173"/>
                  </a:lnTo>
                  <a:lnTo>
                    <a:pt x="89" y="180"/>
                  </a:lnTo>
                  <a:lnTo>
                    <a:pt x="91" y="182"/>
                  </a:lnTo>
                  <a:lnTo>
                    <a:pt x="100" y="186"/>
                  </a:lnTo>
                  <a:lnTo>
                    <a:pt x="106" y="187"/>
                  </a:lnTo>
                  <a:lnTo>
                    <a:pt x="111" y="188"/>
                  </a:lnTo>
                  <a:lnTo>
                    <a:pt x="119" y="187"/>
                  </a:lnTo>
                  <a:lnTo>
                    <a:pt x="124" y="186"/>
                  </a:lnTo>
                  <a:lnTo>
                    <a:pt x="137" y="177"/>
                  </a:lnTo>
                  <a:lnTo>
                    <a:pt x="151" y="180"/>
                  </a:lnTo>
                  <a:lnTo>
                    <a:pt x="160" y="183"/>
                  </a:lnTo>
                  <a:lnTo>
                    <a:pt x="160" y="185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21" name="Freeform 428"/>
            <p:cNvSpPr>
              <a:spLocks/>
            </p:cNvSpPr>
            <p:nvPr/>
          </p:nvSpPr>
          <p:spPr bwMode="auto">
            <a:xfrm>
              <a:off x="5131029" y="4821011"/>
              <a:ext cx="126212" cy="138524"/>
            </a:xfrm>
            <a:custGeom>
              <a:avLst/>
              <a:gdLst>
                <a:gd name="T0" fmla="*/ 29 w 58"/>
                <a:gd name="T1" fmla="*/ 0 h 70"/>
                <a:gd name="T2" fmla="*/ 29 w 58"/>
                <a:gd name="T3" fmla="*/ 1 h 70"/>
                <a:gd name="T4" fmla="*/ 29 w 58"/>
                <a:gd name="T5" fmla="*/ 2 h 70"/>
                <a:gd name="T6" fmla="*/ 29 w 58"/>
                <a:gd name="T7" fmla="*/ 2 h 70"/>
                <a:gd name="T8" fmla="*/ 29 w 58"/>
                <a:gd name="T9" fmla="*/ 4 h 70"/>
                <a:gd name="T10" fmla="*/ 27 w 58"/>
                <a:gd name="T11" fmla="*/ 6 h 70"/>
                <a:gd name="T12" fmla="*/ 27 w 58"/>
                <a:gd name="T13" fmla="*/ 7 h 70"/>
                <a:gd name="T14" fmla="*/ 27 w 58"/>
                <a:gd name="T15" fmla="*/ 8 h 70"/>
                <a:gd name="T16" fmla="*/ 26 w 58"/>
                <a:gd name="T17" fmla="*/ 9 h 70"/>
                <a:gd name="T18" fmla="*/ 24 w 58"/>
                <a:gd name="T19" fmla="*/ 10 h 70"/>
                <a:gd name="T20" fmla="*/ 24 w 58"/>
                <a:gd name="T21" fmla="*/ 11 h 70"/>
                <a:gd name="T22" fmla="*/ 21 w 58"/>
                <a:gd name="T23" fmla="*/ 14 h 70"/>
                <a:gd name="T24" fmla="*/ 21 w 58"/>
                <a:gd name="T25" fmla="*/ 16 h 70"/>
                <a:gd name="T26" fmla="*/ 20 w 58"/>
                <a:gd name="T27" fmla="*/ 17 h 70"/>
                <a:gd name="T28" fmla="*/ 20 w 58"/>
                <a:gd name="T29" fmla="*/ 18 h 70"/>
                <a:gd name="T30" fmla="*/ 21 w 58"/>
                <a:gd name="T31" fmla="*/ 19 h 70"/>
                <a:gd name="T32" fmla="*/ 23 w 58"/>
                <a:gd name="T33" fmla="*/ 20 h 70"/>
                <a:gd name="T34" fmla="*/ 23 w 58"/>
                <a:gd name="T35" fmla="*/ 22 h 70"/>
                <a:gd name="T36" fmla="*/ 24 w 58"/>
                <a:gd name="T37" fmla="*/ 23 h 70"/>
                <a:gd name="T38" fmla="*/ 24 w 58"/>
                <a:gd name="T39" fmla="*/ 25 h 70"/>
                <a:gd name="T40" fmla="*/ 23 w 58"/>
                <a:gd name="T41" fmla="*/ 26 h 70"/>
                <a:gd name="T42" fmla="*/ 23 w 58"/>
                <a:gd name="T43" fmla="*/ 26 h 70"/>
                <a:gd name="T44" fmla="*/ 22 w 58"/>
                <a:gd name="T45" fmla="*/ 28 h 70"/>
                <a:gd name="T46" fmla="*/ 20 w 58"/>
                <a:gd name="T47" fmla="*/ 29 h 70"/>
                <a:gd name="T48" fmla="*/ 18 w 58"/>
                <a:gd name="T49" fmla="*/ 30 h 70"/>
                <a:gd name="T50" fmla="*/ 16 w 58"/>
                <a:gd name="T51" fmla="*/ 32 h 70"/>
                <a:gd name="T52" fmla="*/ 15 w 58"/>
                <a:gd name="T53" fmla="*/ 32 h 70"/>
                <a:gd name="T54" fmla="*/ 12 w 58"/>
                <a:gd name="T55" fmla="*/ 33 h 70"/>
                <a:gd name="T56" fmla="*/ 9 w 58"/>
                <a:gd name="T57" fmla="*/ 34 h 70"/>
                <a:gd name="T58" fmla="*/ 8 w 58"/>
                <a:gd name="T59" fmla="*/ 34 h 70"/>
                <a:gd name="T60" fmla="*/ 6 w 58"/>
                <a:gd name="T61" fmla="*/ 32 h 70"/>
                <a:gd name="T62" fmla="*/ 5 w 58"/>
                <a:gd name="T63" fmla="*/ 32 h 70"/>
                <a:gd name="T64" fmla="*/ 5 w 58"/>
                <a:gd name="T65" fmla="*/ 31 h 70"/>
                <a:gd name="T66" fmla="*/ 4 w 58"/>
                <a:gd name="T67" fmla="*/ 30 h 70"/>
                <a:gd name="T68" fmla="*/ 3 w 58"/>
                <a:gd name="T69" fmla="*/ 29 h 70"/>
                <a:gd name="T70" fmla="*/ 2 w 58"/>
                <a:gd name="T71" fmla="*/ 28 h 70"/>
                <a:gd name="T72" fmla="*/ 0 w 58"/>
                <a:gd name="T73" fmla="*/ 27 h 70"/>
                <a:gd name="T74" fmla="*/ 1 w 58"/>
                <a:gd name="T75" fmla="*/ 26 h 70"/>
                <a:gd name="T76" fmla="*/ 1 w 58"/>
                <a:gd name="T77" fmla="*/ 23 h 70"/>
                <a:gd name="T78" fmla="*/ 2 w 58"/>
                <a:gd name="T79" fmla="*/ 23 h 70"/>
                <a:gd name="T80" fmla="*/ 2 w 58"/>
                <a:gd name="T81" fmla="*/ 22 h 70"/>
                <a:gd name="T82" fmla="*/ 3 w 58"/>
                <a:gd name="T83" fmla="*/ 21 h 70"/>
                <a:gd name="T84" fmla="*/ 5 w 58"/>
                <a:gd name="T85" fmla="*/ 20 h 70"/>
                <a:gd name="T86" fmla="*/ 5 w 58"/>
                <a:gd name="T87" fmla="*/ 20 h 70"/>
                <a:gd name="T88" fmla="*/ 6 w 58"/>
                <a:gd name="T89" fmla="*/ 19 h 70"/>
                <a:gd name="T90" fmla="*/ 6 w 58"/>
                <a:gd name="T91" fmla="*/ 17 h 70"/>
                <a:gd name="T92" fmla="*/ 8 w 58"/>
                <a:gd name="T93" fmla="*/ 17 h 70"/>
                <a:gd name="T94" fmla="*/ 9 w 58"/>
                <a:gd name="T95" fmla="*/ 14 h 70"/>
                <a:gd name="T96" fmla="*/ 11 w 58"/>
                <a:gd name="T97" fmla="*/ 13 h 70"/>
                <a:gd name="T98" fmla="*/ 13 w 58"/>
                <a:gd name="T99" fmla="*/ 10 h 70"/>
                <a:gd name="T100" fmla="*/ 14 w 58"/>
                <a:gd name="T101" fmla="*/ 9 h 70"/>
                <a:gd name="T102" fmla="*/ 16 w 58"/>
                <a:gd name="T103" fmla="*/ 7 h 70"/>
                <a:gd name="T104" fmla="*/ 17 w 58"/>
                <a:gd name="T105" fmla="*/ 6 h 70"/>
                <a:gd name="T106" fmla="*/ 18 w 58"/>
                <a:gd name="T107" fmla="*/ 4 h 70"/>
                <a:gd name="T108" fmla="*/ 20 w 58"/>
                <a:gd name="T109" fmla="*/ 3 h 70"/>
                <a:gd name="T110" fmla="*/ 21 w 58"/>
                <a:gd name="T111" fmla="*/ 2 h 70"/>
                <a:gd name="T112" fmla="*/ 23 w 58"/>
                <a:gd name="T113" fmla="*/ 1 h 70"/>
                <a:gd name="T114" fmla="*/ 23 w 58"/>
                <a:gd name="T115" fmla="*/ 1 h 70"/>
                <a:gd name="T116" fmla="*/ 24 w 58"/>
                <a:gd name="T117" fmla="*/ 1 h 70"/>
                <a:gd name="T118" fmla="*/ 26 w 58"/>
                <a:gd name="T119" fmla="*/ 0 h 70"/>
                <a:gd name="T120" fmla="*/ 26 w 58"/>
                <a:gd name="T121" fmla="*/ 0 h 70"/>
                <a:gd name="T122" fmla="*/ 27 w 58"/>
                <a:gd name="T123" fmla="*/ 0 h 70"/>
                <a:gd name="T124" fmla="*/ 29 w 58"/>
                <a:gd name="T125" fmla="*/ 0 h 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8" h="70">
                  <a:moveTo>
                    <a:pt x="57" y="0"/>
                  </a:moveTo>
                  <a:lnTo>
                    <a:pt x="57" y="2"/>
                  </a:lnTo>
                  <a:lnTo>
                    <a:pt x="58" y="4"/>
                  </a:lnTo>
                  <a:lnTo>
                    <a:pt x="58" y="5"/>
                  </a:lnTo>
                  <a:lnTo>
                    <a:pt x="57" y="9"/>
                  </a:lnTo>
                  <a:lnTo>
                    <a:pt x="54" y="12"/>
                  </a:lnTo>
                  <a:lnTo>
                    <a:pt x="54" y="15"/>
                  </a:lnTo>
                  <a:lnTo>
                    <a:pt x="53" y="16"/>
                  </a:lnTo>
                  <a:lnTo>
                    <a:pt x="51" y="18"/>
                  </a:lnTo>
                  <a:lnTo>
                    <a:pt x="48" y="21"/>
                  </a:lnTo>
                  <a:lnTo>
                    <a:pt x="47" y="23"/>
                  </a:lnTo>
                  <a:lnTo>
                    <a:pt x="42" y="28"/>
                  </a:lnTo>
                  <a:lnTo>
                    <a:pt x="41" y="32"/>
                  </a:lnTo>
                  <a:lnTo>
                    <a:pt x="40" y="35"/>
                  </a:lnTo>
                  <a:lnTo>
                    <a:pt x="40" y="38"/>
                  </a:lnTo>
                  <a:lnTo>
                    <a:pt x="41" y="40"/>
                  </a:lnTo>
                  <a:lnTo>
                    <a:pt x="45" y="42"/>
                  </a:lnTo>
                  <a:lnTo>
                    <a:pt x="46" y="46"/>
                  </a:lnTo>
                  <a:lnTo>
                    <a:pt x="47" y="48"/>
                  </a:lnTo>
                  <a:lnTo>
                    <a:pt x="47" y="51"/>
                  </a:lnTo>
                  <a:lnTo>
                    <a:pt x="46" y="54"/>
                  </a:lnTo>
                  <a:lnTo>
                    <a:pt x="45" y="54"/>
                  </a:lnTo>
                  <a:lnTo>
                    <a:pt x="44" y="57"/>
                  </a:lnTo>
                  <a:lnTo>
                    <a:pt x="40" y="59"/>
                  </a:lnTo>
                  <a:lnTo>
                    <a:pt x="35" y="62"/>
                  </a:lnTo>
                  <a:lnTo>
                    <a:pt x="32" y="65"/>
                  </a:lnTo>
                  <a:lnTo>
                    <a:pt x="29" y="66"/>
                  </a:lnTo>
                  <a:lnTo>
                    <a:pt x="24" y="68"/>
                  </a:lnTo>
                  <a:lnTo>
                    <a:pt x="18" y="70"/>
                  </a:lnTo>
                  <a:lnTo>
                    <a:pt x="15" y="69"/>
                  </a:lnTo>
                  <a:lnTo>
                    <a:pt x="12" y="66"/>
                  </a:lnTo>
                  <a:lnTo>
                    <a:pt x="10" y="65"/>
                  </a:lnTo>
                  <a:lnTo>
                    <a:pt x="9" y="63"/>
                  </a:lnTo>
                  <a:lnTo>
                    <a:pt x="8" y="62"/>
                  </a:lnTo>
                  <a:lnTo>
                    <a:pt x="5" y="59"/>
                  </a:lnTo>
                  <a:lnTo>
                    <a:pt x="3" y="58"/>
                  </a:lnTo>
                  <a:lnTo>
                    <a:pt x="0" y="56"/>
                  </a:lnTo>
                  <a:lnTo>
                    <a:pt x="2" y="53"/>
                  </a:lnTo>
                  <a:lnTo>
                    <a:pt x="2" y="48"/>
                  </a:lnTo>
                  <a:lnTo>
                    <a:pt x="3" y="47"/>
                  </a:lnTo>
                  <a:lnTo>
                    <a:pt x="4" y="45"/>
                  </a:lnTo>
                  <a:lnTo>
                    <a:pt x="6" y="44"/>
                  </a:lnTo>
                  <a:lnTo>
                    <a:pt x="9" y="42"/>
                  </a:lnTo>
                  <a:lnTo>
                    <a:pt x="10" y="41"/>
                  </a:lnTo>
                  <a:lnTo>
                    <a:pt x="11" y="40"/>
                  </a:lnTo>
                  <a:lnTo>
                    <a:pt x="12" y="36"/>
                  </a:lnTo>
                  <a:lnTo>
                    <a:pt x="15" y="34"/>
                  </a:lnTo>
                  <a:lnTo>
                    <a:pt x="18" y="29"/>
                  </a:lnTo>
                  <a:lnTo>
                    <a:pt x="21" y="26"/>
                  </a:lnTo>
                  <a:lnTo>
                    <a:pt x="26" y="21"/>
                  </a:lnTo>
                  <a:lnTo>
                    <a:pt x="28" y="18"/>
                  </a:lnTo>
                  <a:lnTo>
                    <a:pt x="32" y="14"/>
                  </a:lnTo>
                  <a:lnTo>
                    <a:pt x="33" y="12"/>
                  </a:lnTo>
                  <a:lnTo>
                    <a:pt x="36" y="9"/>
                  </a:lnTo>
                  <a:lnTo>
                    <a:pt x="39" y="6"/>
                  </a:lnTo>
                  <a:lnTo>
                    <a:pt x="41" y="5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7" y="2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4" y="0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22" name="Freeform 429"/>
            <p:cNvSpPr>
              <a:spLocks/>
            </p:cNvSpPr>
            <p:nvPr/>
          </p:nvSpPr>
          <p:spPr bwMode="auto">
            <a:xfrm>
              <a:off x="5239832" y="4898423"/>
              <a:ext cx="300298" cy="338163"/>
            </a:xfrm>
            <a:custGeom>
              <a:avLst/>
              <a:gdLst>
                <a:gd name="T0" fmla="*/ 67 w 138"/>
                <a:gd name="T1" fmla="*/ 63 h 165"/>
                <a:gd name="T2" fmla="*/ 65 w 138"/>
                <a:gd name="T3" fmla="*/ 71 h 165"/>
                <a:gd name="T4" fmla="*/ 57 w 138"/>
                <a:gd name="T5" fmla="*/ 76 h 165"/>
                <a:gd name="T6" fmla="*/ 55 w 138"/>
                <a:gd name="T7" fmla="*/ 80 h 165"/>
                <a:gd name="T8" fmla="*/ 48 w 138"/>
                <a:gd name="T9" fmla="*/ 82 h 165"/>
                <a:gd name="T10" fmla="*/ 48 w 138"/>
                <a:gd name="T11" fmla="*/ 79 h 165"/>
                <a:gd name="T12" fmla="*/ 28 w 138"/>
                <a:gd name="T13" fmla="*/ 74 h 165"/>
                <a:gd name="T14" fmla="*/ 23 w 138"/>
                <a:gd name="T15" fmla="*/ 67 h 165"/>
                <a:gd name="T16" fmla="*/ 18 w 138"/>
                <a:gd name="T17" fmla="*/ 61 h 165"/>
                <a:gd name="T18" fmla="*/ 22 w 138"/>
                <a:gd name="T19" fmla="*/ 58 h 165"/>
                <a:gd name="T20" fmla="*/ 16 w 138"/>
                <a:gd name="T21" fmla="*/ 54 h 165"/>
                <a:gd name="T22" fmla="*/ 11 w 138"/>
                <a:gd name="T23" fmla="*/ 51 h 165"/>
                <a:gd name="T24" fmla="*/ 7 w 138"/>
                <a:gd name="T25" fmla="*/ 45 h 165"/>
                <a:gd name="T26" fmla="*/ 4 w 138"/>
                <a:gd name="T27" fmla="*/ 42 h 165"/>
                <a:gd name="T28" fmla="*/ 2 w 138"/>
                <a:gd name="T29" fmla="*/ 34 h 165"/>
                <a:gd name="T30" fmla="*/ 5 w 138"/>
                <a:gd name="T31" fmla="*/ 31 h 165"/>
                <a:gd name="T32" fmla="*/ 6 w 138"/>
                <a:gd name="T33" fmla="*/ 27 h 165"/>
                <a:gd name="T34" fmla="*/ 3 w 138"/>
                <a:gd name="T35" fmla="*/ 22 h 165"/>
                <a:gd name="T36" fmla="*/ 9 w 138"/>
                <a:gd name="T37" fmla="*/ 19 h 165"/>
                <a:gd name="T38" fmla="*/ 7 w 138"/>
                <a:gd name="T39" fmla="*/ 14 h 165"/>
                <a:gd name="T40" fmla="*/ 4 w 138"/>
                <a:gd name="T41" fmla="*/ 7 h 165"/>
                <a:gd name="T42" fmla="*/ 10 w 138"/>
                <a:gd name="T43" fmla="*/ 8 h 165"/>
                <a:gd name="T44" fmla="*/ 15 w 138"/>
                <a:gd name="T45" fmla="*/ 9 h 165"/>
                <a:gd name="T46" fmla="*/ 19 w 138"/>
                <a:gd name="T47" fmla="*/ 6 h 165"/>
                <a:gd name="T48" fmla="*/ 25 w 138"/>
                <a:gd name="T49" fmla="*/ 7 h 165"/>
                <a:gd name="T50" fmla="*/ 27 w 138"/>
                <a:gd name="T51" fmla="*/ 4 h 165"/>
                <a:gd name="T52" fmla="*/ 31 w 138"/>
                <a:gd name="T53" fmla="*/ 4 h 165"/>
                <a:gd name="T54" fmla="*/ 35 w 138"/>
                <a:gd name="T55" fmla="*/ 4 h 165"/>
                <a:gd name="T56" fmla="*/ 39 w 138"/>
                <a:gd name="T57" fmla="*/ 1 h 165"/>
                <a:gd name="T58" fmla="*/ 43 w 138"/>
                <a:gd name="T59" fmla="*/ 1 h 165"/>
                <a:gd name="T60" fmla="*/ 47 w 138"/>
                <a:gd name="T61" fmla="*/ 4 h 165"/>
                <a:gd name="T62" fmla="*/ 49 w 138"/>
                <a:gd name="T63" fmla="*/ 9 h 165"/>
                <a:gd name="T64" fmla="*/ 50 w 138"/>
                <a:gd name="T65" fmla="*/ 12 h 165"/>
                <a:gd name="T66" fmla="*/ 46 w 138"/>
                <a:gd name="T67" fmla="*/ 13 h 165"/>
                <a:gd name="T68" fmla="*/ 44 w 138"/>
                <a:gd name="T69" fmla="*/ 17 h 165"/>
                <a:gd name="T70" fmla="*/ 42 w 138"/>
                <a:gd name="T71" fmla="*/ 21 h 165"/>
                <a:gd name="T72" fmla="*/ 41 w 138"/>
                <a:gd name="T73" fmla="*/ 26 h 165"/>
                <a:gd name="T74" fmla="*/ 43 w 138"/>
                <a:gd name="T75" fmla="*/ 30 h 165"/>
                <a:gd name="T76" fmla="*/ 44 w 138"/>
                <a:gd name="T77" fmla="*/ 33 h 165"/>
                <a:gd name="T78" fmla="*/ 44 w 138"/>
                <a:gd name="T79" fmla="*/ 37 h 165"/>
                <a:gd name="T80" fmla="*/ 43 w 138"/>
                <a:gd name="T81" fmla="*/ 40 h 165"/>
                <a:gd name="T82" fmla="*/ 46 w 138"/>
                <a:gd name="T83" fmla="*/ 43 h 165"/>
                <a:gd name="T84" fmla="*/ 49 w 138"/>
                <a:gd name="T85" fmla="*/ 41 h 165"/>
                <a:gd name="T86" fmla="*/ 52 w 138"/>
                <a:gd name="T87" fmla="*/ 43 h 165"/>
                <a:gd name="T88" fmla="*/ 56 w 138"/>
                <a:gd name="T89" fmla="*/ 42 h 165"/>
                <a:gd name="T90" fmla="*/ 59 w 138"/>
                <a:gd name="T91" fmla="*/ 45 h 165"/>
                <a:gd name="T92" fmla="*/ 61 w 138"/>
                <a:gd name="T93" fmla="*/ 51 h 165"/>
                <a:gd name="T94" fmla="*/ 64 w 138"/>
                <a:gd name="T95" fmla="*/ 55 h 165"/>
                <a:gd name="T96" fmla="*/ 66 w 138"/>
                <a:gd name="T97" fmla="*/ 59 h 165"/>
                <a:gd name="T98" fmla="*/ 69 w 138"/>
                <a:gd name="T99" fmla="*/ 60 h 16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38" h="165">
                  <a:moveTo>
                    <a:pt x="138" y="120"/>
                  </a:moveTo>
                  <a:lnTo>
                    <a:pt x="134" y="126"/>
                  </a:lnTo>
                  <a:lnTo>
                    <a:pt x="133" y="129"/>
                  </a:lnTo>
                  <a:lnTo>
                    <a:pt x="129" y="141"/>
                  </a:lnTo>
                  <a:lnTo>
                    <a:pt x="127" y="144"/>
                  </a:lnTo>
                  <a:lnTo>
                    <a:pt x="114" y="152"/>
                  </a:lnTo>
                  <a:lnTo>
                    <a:pt x="111" y="154"/>
                  </a:lnTo>
                  <a:lnTo>
                    <a:pt x="109" y="159"/>
                  </a:lnTo>
                  <a:lnTo>
                    <a:pt x="96" y="165"/>
                  </a:lnTo>
                  <a:lnTo>
                    <a:pt x="96" y="163"/>
                  </a:lnTo>
                  <a:lnTo>
                    <a:pt x="98" y="157"/>
                  </a:lnTo>
                  <a:lnTo>
                    <a:pt x="96" y="157"/>
                  </a:lnTo>
                  <a:lnTo>
                    <a:pt x="63" y="148"/>
                  </a:lnTo>
                  <a:lnTo>
                    <a:pt x="55" y="147"/>
                  </a:lnTo>
                  <a:lnTo>
                    <a:pt x="46" y="138"/>
                  </a:lnTo>
                  <a:lnTo>
                    <a:pt x="45" y="133"/>
                  </a:lnTo>
                  <a:lnTo>
                    <a:pt x="38" y="127"/>
                  </a:lnTo>
                  <a:lnTo>
                    <a:pt x="36" y="121"/>
                  </a:lnTo>
                  <a:lnTo>
                    <a:pt x="40" y="116"/>
                  </a:lnTo>
                  <a:lnTo>
                    <a:pt x="43" y="115"/>
                  </a:lnTo>
                  <a:lnTo>
                    <a:pt x="39" y="111"/>
                  </a:lnTo>
                  <a:lnTo>
                    <a:pt x="32" y="108"/>
                  </a:lnTo>
                  <a:lnTo>
                    <a:pt x="26" y="103"/>
                  </a:lnTo>
                  <a:lnTo>
                    <a:pt x="22" y="102"/>
                  </a:lnTo>
                  <a:lnTo>
                    <a:pt x="21" y="101"/>
                  </a:lnTo>
                  <a:lnTo>
                    <a:pt x="14" y="89"/>
                  </a:lnTo>
                  <a:lnTo>
                    <a:pt x="10" y="85"/>
                  </a:lnTo>
                  <a:lnTo>
                    <a:pt x="7" y="84"/>
                  </a:lnTo>
                  <a:lnTo>
                    <a:pt x="0" y="84"/>
                  </a:lnTo>
                  <a:lnTo>
                    <a:pt x="3" y="67"/>
                  </a:lnTo>
                  <a:lnTo>
                    <a:pt x="4" y="65"/>
                  </a:lnTo>
                  <a:lnTo>
                    <a:pt x="10" y="62"/>
                  </a:lnTo>
                  <a:lnTo>
                    <a:pt x="12" y="59"/>
                  </a:lnTo>
                  <a:lnTo>
                    <a:pt x="12" y="54"/>
                  </a:lnTo>
                  <a:lnTo>
                    <a:pt x="7" y="48"/>
                  </a:lnTo>
                  <a:lnTo>
                    <a:pt x="6" y="44"/>
                  </a:lnTo>
                  <a:lnTo>
                    <a:pt x="7" y="43"/>
                  </a:lnTo>
                  <a:lnTo>
                    <a:pt x="18" y="37"/>
                  </a:lnTo>
                  <a:lnTo>
                    <a:pt x="16" y="33"/>
                  </a:lnTo>
                  <a:lnTo>
                    <a:pt x="14" y="28"/>
                  </a:lnTo>
                  <a:lnTo>
                    <a:pt x="8" y="19"/>
                  </a:lnTo>
                  <a:lnTo>
                    <a:pt x="8" y="14"/>
                  </a:lnTo>
                  <a:lnTo>
                    <a:pt x="14" y="16"/>
                  </a:lnTo>
                  <a:lnTo>
                    <a:pt x="19" y="16"/>
                  </a:lnTo>
                  <a:lnTo>
                    <a:pt x="24" y="17"/>
                  </a:lnTo>
                  <a:lnTo>
                    <a:pt x="30" y="17"/>
                  </a:lnTo>
                  <a:lnTo>
                    <a:pt x="32" y="14"/>
                  </a:lnTo>
                  <a:lnTo>
                    <a:pt x="37" y="12"/>
                  </a:lnTo>
                  <a:lnTo>
                    <a:pt x="42" y="11"/>
                  </a:lnTo>
                  <a:lnTo>
                    <a:pt x="49" y="13"/>
                  </a:lnTo>
                  <a:lnTo>
                    <a:pt x="50" y="11"/>
                  </a:lnTo>
                  <a:lnTo>
                    <a:pt x="54" y="8"/>
                  </a:lnTo>
                  <a:lnTo>
                    <a:pt x="57" y="7"/>
                  </a:lnTo>
                  <a:lnTo>
                    <a:pt x="61" y="8"/>
                  </a:lnTo>
                  <a:lnTo>
                    <a:pt x="63" y="7"/>
                  </a:lnTo>
                  <a:lnTo>
                    <a:pt x="69" y="7"/>
                  </a:lnTo>
                  <a:lnTo>
                    <a:pt x="73" y="7"/>
                  </a:lnTo>
                  <a:lnTo>
                    <a:pt x="78" y="2"/>
                  </a:lnTo>
                  <a:lnTo>
                    <a:pt x="81" y="0"/>
                  </a:lnTo>
                  <a:lnTo>
                    <a:pt x="85" y="1"/>
                  </a:lnTo>
                  <a:lnTo>
                    <a:pt x="94" y="1"/>
                  </a:lnTo>
                  <a:lnTo>
                    <a:pt x="94" y="7"/>
                  </a:lnTo>
                  <a:lnTo>
                    <a:pt x="96" y="12"/>
                  </a:lnTo>
                  <a:lnTo>
                    <a:pt x="98" y="17"/>
                  </a:lnTo>
                  <a:lnTo>
                    <a:pt x="99" y="19"/>
                  </a:lnTo>
                  <a:lnTo>
                    <a:pt x="99" y="24"/>
                  </a:lnTo>
                  <a:lnTo>
                    <a:pt x="97" y="25"/>
                  </a:lnTo>
                  <a:lnTo>
                    <a:pt x="91" y="26"/>
                  </a:lnTo>
                  <a:lnTo>
                    <a:pt x="91" y="30"/>
                  </a:lnTo>
                  <a:lnTo>
                    <a:pt x="88" y="33"/>
                  </a:lnTo>
                  <a:lnTo>
                    <a:pt x="85" y="37"/>
                  </a:lnTo>
                  <a:lnTo>
                    <a:pt x="84" y="41"/>
                  </a:lnTo>
                  <a:lnTo>
                    <a:pt x="80" y="48"/>
                  </a:lnTo>
                  <a:lnTo>
                    <a:pt x="81" y="51"/>
                  </a:lnTo>
                  <a:lnTo>
                    <a:pt x="85" y="57"/>
                  </a:lnTo>
                  <a:lnTo>
                    <a:pt x="86" y="59"/>
                  </a:lnTo>
                  <a:lnTo>
                    <a:pt x="86" y="63"/>
                  </a:lnTo>
                  <a:lnTo>
                    <a:pt x="88" y="66"/>
                  </a:lnTo>
                  <a:lnTo>
                    <a:pt x="88" y="71"/>
                  </a:lnTo>
                  <a:lnTo>
                    <a:pt x="88" y="73"/>
                  </a:lnTo>
                  <a:lnTo>
                    <a:pt x="87" y="75"/>
                  </a:lnTo>
                  <a:lnTo>
                    <a:pt x="86" y="79"/>
                  </a:lnTo>
                  <a:lnTo>
                    <a:pt x="90" y="86"/>
                  </a:lnTo>
                  <a:lnTo>
                    <a:pt x="92" y="86"/>
                  </a:lnTo>
                  <a:lnTo>
                    <a:pt x="94" y="84"/>
                  </a:lnTo>
                  <a:lnTo>
                    <a:pt x="98" y="81"/>
                  </a:lnTo>
                  <a:lnTo>
                    <a:pt x="102" y="83"/>
                  </a:lnTo>
                  <a:lnTo>
                    <a:pt x="104" y="85"/>
                  </a:lnTo>
                  <a:lnTo>
                    <a:pt x="108" y="84"/>
                  </a:lnTo>
                  <a:lnTo>
                    <a:pt x="112" y="83"/>
                  </a:lnTo>
                  <a:lnTo>
                    <a:pt x="116" y="84"/>
                  </a:lnTo>
                  <a:lnTo>
                    <a:pt x="117" y="89"/>
                  </a:lnTo>
                  <a:lnTo>
                    <a:pt x="117" y="93"/>
                  </a:lnTo>
                  <a:lnTo>
                    <a:pt x="122" y="101"/>
                  </a:lnTo>
                  <a:lnTo>
                    <a:pt x="126" y="105"/>
                  </a:lnTo>
                  <a:lnTo>
                    <a:pt x="128" y="110"/>
                  </a:lnTo>
                  <a:lnTo>
                    <a:pt x="132" y="115"/>
                  </a:lnTo>
                  <a:lnTo>
                    <a:pt x="132" y="117"/>
                  </a:lnTo>
                  <a:lnTo>
                    <a:pt x="135" y="119"/>
                  </a:lnTo>
                  <a:lnTo>
                    <a:pt x="138" y="120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23" name="Freeform 430"/>
            <p:cNvSpPr>
              <a:spLocks/>
            </p:cNvSpPr>
            <p:nvPr/>
          </p:nvSpPr>
          <p:spPr bwMode="auto">
            <a:xfrm>
              <a:off x="4830731" y="4939165"/>
              <a:ext cx="317707" cy="240380"/>
            </a:xfrm>
            <a:custGeom>
              <a:avLst/>
              <a:gdLst>
                <a:gd name="T0" fmla="*/ 39 w 147"/>
                <a:gd name="T1" fmla="*/ 58 h 118"/>
                <a:gd name="T2" fmla="*/ 36 w 147"/>
                <a:gd name="T3" fmla="*/ 57 h 118"/>
                <a:gd name="T4" fmla="*/ 33 w 147"/>
                <a:gd name="T5" fmla="*/ 55 h 118"/>
                <a:gd name="T6" fmla="*/ 32 w 147"/>
                <a:gd name="T7" fmla="*/ 53 h 118"/>
                <a:gd name="T8" fmla="*/ 33 w 147"/>
                <a:gd name="T9" fmla="*/ 50 h 118"/>
                <a:gd name="T10" fmla="*/ 31 w 147"/>
                <a:gd name="T11" fmla="*/ 47 h 118"/>
                <a:gd name="T12" fmla="*/ 28 w 147"/>
                <a:gd name="T13" fmla="*/ 46 h 118"/>
                <a:gd name="T14" fmla="*/ 26 w 147"/>
                <a:gd name="T15" fmla="*/ 42 h 118"/>
                <a:gd name="T16" fmla="*/ 27 w 147"/>
                <a:gd name="T17" fmla="*/ 39 h 118"/>
                <a:gd name="T18" fmla="*/ 25 w 147"/>
                <a:gd name="T19" fmla="*/ 35 h 118"/>
                <a:gd name="T20" fmla="*/ 22 w 147"/>
                <a:gd name="T21" fmla="*/ 33 h 118"/>
                <a:gd name="T22" fmla="*/ 17 w 147"/>
                <a:gd name="T23" fmla="*/ 35 h 118"/>
                <a:gd name="T24" fmla="*/ 15 w 147"/>
                <a:gd name="T25" fmla="*/ 33 h 118"/>
                <a:gd name="T26" fmla="*/ 13 w 147"/>
                <a:gd name="T27" fmla="*/ 32 h 118"/>
                <a:gd name="T28" fmla="*/ 8 w 147"/>
                <a:gd name="T29" fmla="*/ 33 h 118"/>
                <a:gd name="T30" fmla="*/ 4 w 147"/>
                <a:gd name="T31" fmla="*/ 27 h 118"/>
                <a:gd name="T32" fmla="*/ 1 w 147"/>
                <a:gd name="T33" fmla="*/ 27 h 118"/>
                <a:gd name="T34" fmla="*/ 1 w 147"/>
                <a:gd name="T35" fmla="*/ 22 h 118"/>
                <a:gd name="T36" fmla="*/ 1 w 147"/>
                <a:gd name="T37" fmla="*/ 18 h 118"/>
                <a:gd name="T38" fmla="*/ 0 w 147"/>
                <a:gd name="T39" fmla="*/ 16 h 118"/>
                <a:gd name="T40" fmla="*/ 2 w 147"/>
                <a:gd name="T41" fmla="*/ 15 h 118"/>
                <a:gd name="T42" fmla="*/ 4 w 147"/>
                <a:gd name="T43" fmla="*/ 13 h 118"/>
                <a:gd name="T44" fmla="*/ 8 w 147"/>
                <a:gd name="T45" fmla="*/ 10 h 118"/>
                <a:gd name="T46" fmla="*/ 12 w 147"/>
                <a:gd name="T47" fmla="*/ 8 h 118"/>
                <a:gd name="T48" fmla="*/ 15 w 147"/>
                <a:gd name="T49" fmla="*/ 6 h 118"/>
                <a:gd name="T50" fmla="*/ 19 w 147"/>
                <a:gd name="T51" fmla="*/ 6 h 118"/>
                <a:gd name="T52" fmla="*/ 22 w 147"/>
                <a:gd name="T53" fmla="*/ 7 h 118"/>
                <a:gd name="T54" fmla="*/ 26 w 147"/>
                <a:gd name="T55" fmla="*/ 6 h 118"/>
                <a:gd name="T56" fmla="*/ 29 w 147"/>
                <a:gd name="T57" fmla="*/ 5 h 118"/>
                <a:gd name="T58" fmla="*/ 31 w 147"/>
                <a:gd name="T59" fmla="*/ 3 h 118"/>
                <a:gd name="T60" fmla="*/ 33 w 147"/>
                <a:gd name="T61" fmla="*/ 4 h 118"/>
                <a:gd name="T62" fmla="*/ 35 w 147"/>
                <a:gd name="T63" fmla="*/ 2 h 118"/>
                <a:gd name="T64" fmla="*/ 38 w 147"/>
                <a:gd name="T65" fmla="*/ 0 h 118"/>
                <a:gd name="T66" fmla="*/ 43 w 147"/>
                <a:gd name="T67" fmla="*/ 0 h 118"/>
                <a:gd name="T68" fmla="*/ 46 w 147"/>
                <a:gd name="T69" fmla="*/ 2 h 118"/>
                <a:gd name="T70" fmla="*/ 51 w 147"/>
                <a:gd name="T71" fmla="*/ 4 h 118"/>
                <a:gd name="T72" fmla="*/ 55 w 147"/>
                <a:gd name="T73" fmla="*/ 3 h 118"/>
                <a:gd name="T74" fmla="*/ 58 w 147"/>
                <a:gd name="T75" fmla="*/ 3 h 118"/>
                <a:gd name="T76" fmla="*/ 67 w 147"/>
                <a:gd name="T77" fmla="*/ 2 h 118"/>
                <a:gd name="T78" fmla="*/ 66 w 147"/>
                <a:gd name="T79" fmla="*/ 12 h 118"/>
                <a:gd name="T80" fmla="*/ 65 w 147"/>
                <a:gd name="T81" fmla="*/ 18 h 118"/>
                <a:gd name="T82" fmla="*/ 70 w 147"/>
                <a:gd name="T83" fmla="*/ 24 h 118"/>
                <a:gd name="T84" fmla="*/ 70 w 147"/>
                <a:gd name="T85" fmla="*/ 30 h 118"/>
                <a:gd name="T86" fmla="*/ 68 w 147"/>
                <a:gd name="T87" fmla="*/ 34 h 118"/>
                <a:gd name="T88" fmla="*/ 73 w 147"/>
                <a:gd name="T89" fmla="*/ 36 h 118"/>
                <a:gd name="T90" fmla="*/ 56 w 147"/>
                <a:gd name="T91" fmla="*/ 47 h 118"/>
                <a:gd name="T92" fmla="*/ 41 w 147"/>
                <a:gd name="T93" fmla="*/ 59 h 11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47" h="118">
                  <a:moveTo>
                    <a:pt x="83" y="118"/>
                  </a:moveTo>
                  <a:lnTo>
                    <a:pt x="78" y="115"/>
                  </a:lnTo>
                  <a:lnTo>
                    <a:pt x="75" y="113"/>
                  </a:lnTo>
                  <a:lnTo>
                    <a:pt x="72" y="113"/>
                  </a:lnTo>
                  <a:lnTo>
                    <a:pt x="70" y="112"/>
                  </a:lnTo>
                  <a:lnTo>
                    <a:pt x="66" y="109"/>
                  </a:lnTo>
                  <a:lnTo>
                    <a:pt x="64" y="108"/>
                  </a:lnTo>
                  <a:lnTo>
                    <a:pt x="64" y="106"/>
                  </a:lnTo>
                  <a:lnTo>
                    <a:pt x="66" y="102"/>
                  </a:lnTo>
                  <a:lnTo>
                    <a:pt x="66" y="100"/>
                  </a:lnTo>
                  <a:lnTo>
                    <a:pt x="64" y="96"/>
                  </a:lnTo>
                  <a:lnTo>
                    <a:pt x="63" y="94"/>
                  </a:lnTo>
                  <a:lnTo>
                    <a:pt x="59" y="94"/>
                  </a:lnTo>
                  <a:lnTo>
                    <a:pt x="56" y="92"/>
                  </a:lnTo>
                  <a:lnTo>
                    <a:pt x="54" y="90"/>
                  </a:lnTo>
                  <a:lnTo>
                    <a:pt x="52" y="84"/>
                  </a:lnTo>
                  <a:lnTo>
                    <a:pt x="53" y="82"/>
                  </a:lnTo>
                  <a:lnTo>
                    <a:pt x="54" y="77"/>
                  </a:lnTo>
                  <a:lnTo>
                    <a:pt x="54" y="73"/>
                  </a:lnTo>
                  <a:lnTo>
                    <a:pt x="51" y="70"/>
                  </a:lnTo>
                  <a:lnTo>
                    <a:pt x="47" y="66"/>
                  </a:lnTo>
                  <a:lnTo>
                    <a:pt x="45" y="66"/>
                  </a:lnTo>
                  <a:lnTo>
                    <a:pt x="41" y="68"/>
                  </a:lnTo>
                  <a:lnTo>
                    <a:pt x="35" y="70"/>
                  </a:lnTo>
                  <a:lnTo>
                    <a:pt x="33" y="70"/>
                  </a:lnTo>
                  <a:lnTo>
                    <a:pt x="30" y="66"/>
                  </a:lnTo>
                  <a:lnTo>
                    <a:pt x="27" y="64"/>
                  </a:lnTo>
                  <a:lnTo>
                    <a:pt x="26" y="64"/>
                  </a:lnTo>
                  <a:lnTo>
                    <a:pt x="20" y="65"/>
                  </a:lnTo>
                  <a:lnTo>
                    <a:pt x="17" y="65"/>
                  </a:lnTo>
                  <a:lnTo>
                    <a:pt x="10" y="59"/>
                  </a:lnTo>
                  <a:lnTo>
                    <a:pt x="8" y="53"/>
                  </a:lnTo>
                  <a:lnTo>
                    <a:pt x="5" y="53"/>
                  </a:lnTo>
                  <a:lnTo>
                    <a:pt x="3" y="53"/>
                  </a:lnTo>
                  <a:lnTo>
                    <a:pt x="2" y="53"/>
                  </a:lnTo>
                  <a:lnTo>
                    <a:pt x="2" y="43"/>
                  </a:lnTo>
                  <a:lnTo>
                    <a:pt x="0" y="42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3" y="29"/>
                  </a:lnTo>
                  <a:lnTo>
                    <a:pt x="5" y="29"/>
                  </a:lnTo>
                  <a:lnTo>
                    <a:pt x="6" y="28"/>
                  </a:lnTo>
                  <a:lnTo>
                    <a:pt x="9" y="26"/>
                  </a:lnTo>
                  <a:lnTo>
                    <a:pt x="11" y="24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24" y="16"/>
                  </a:lnTo>
                  <a:lnTo>
                    <a:pt x="27" y="14"/>
                  </a:lnTo>
                  <a:lnTo>
                    <a:pt x="30" y="12"/>
                  </a:lnTo>
                  <a:lnTo>
                    <a:pt x="34" y="12"/>
                  </a:lnTo>
                  <a:lnTo>
                    <a:pt x="38" y="12"/>
                  </a:lnTo>
                  <a:lnTo>
                    <a:pt x="44" y="11"/>
                  </a:lnTo>
                  <a:lnTo>
                    <a:pt x="45" y="13"/>
                  </a:lnTo>
                  <a:lnTo>
                    <a:pt x="47" y="13"/>
                  </a:lnTo>
                  <a:lnTo>
                    <a:pt x="53" y="12"/>
                  </a:lnTo>
                  <a:lnTo>
                    <a:pt x="56" y="11"/>
                  </a:lnTo>
                  <a:lnTo>
                    <a:pt x="59" y="10"/>
                  </a:lnTo>
                  <a:lnTo>
                    <a:pt x="60" y="9"/>
                  </a:lnTo>
                  <a:lnTo>
                    <a:pt x="62" y="6"/>
                  </a:lnTo>
                  <a:lnTo>
                    <a:pt x="63" y="7"/>
                  </a:lnTo>
                  <a:lnTo>
                    <a:pt x="66" y="7"/>
                  </a:lnTo>
                  <a:lnTo>
                    <a:pt x="69" y="6"/>
                  </a:lnTo>
                  <a:lnTo>
                    <a:pt x="71" y="4"/>
                  </a:lnTo>
                  <a:lnTo>
                    <a:pt x="74" y="1"/>
                  </a:lnTo>
                  <a:lnTo>
                    <a:pt x="77" y="0"/>
                  </a:lnTo>
                  <a:lnTo>
                    <a:pt x="81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3" y="3"/>
                  </a:lnTo>
                  <a:lnTo>
                    <a:pt x="98" y="5"/>
                  </a:lnTo>
                  <a:lnTo>
                    <a:pt x="102" y="7"/>
                  </a:lnTo>
                  <a:lnTo>
                    <a:pt x="106" y="9"/>
                  </a:lnTo>
                  <a:lnTo>
                    <a:pt x="110" y="5"/>
                  </a:lnTo>
                  <a:lnTo>
                    <a:pt x="110" y="4"/>
                  </a:lnTo>
                  <a:lnTo>
                    <a:pt x="116" y="5"/>
                  </a:lnTo>
                  <a:lnTo>
                    <a:pt x="131" y="0"/>
                  </a:lnTo>
                  <a:lnTo>
                    <a:pt x="135" y="4"/>
                  </a:lnTo>
                  <a:lnTo>
                    <a:pt x="136" y="12"/>
                  </a:lnTo>
                  <a:lnTo>
                    <a:pt x="132" y="23"/>
                  </a:lnTo>
                  <a:lnTo>
                    <a:pt x="131" y="30"/>
                  </a:lnTo>
                  <a:lnTo>
                    <a:pt x="131" y="36"/>
                  </a:lnTo>
                  <a:lnTo>
                    <a:pt x="134" y="42"/>
                  </a:lnTo>
                  <a:lnTo>
                    <a:pt x="140" y="47"/>
                  </a:lnTo>
                  <a:lnTo>
                    <a:pt x="141" y="55"/>
                  </a:lnTo>
                  <a:lnTo>
                    <a:pt x="140" y="59"/>
                  </a:lnTo>
                  <a:lnTo>
                    <a:pt x="136" y="62"/>
                  </a:lnTo>
                  <a:lnTo>
                    <a:pt x="137" y="67"/>
                  </a:lnTo>
                  <a:lnTo>
                    <a:pt x="143" y="68"/>
                  </a:lnTo>
                  <a:lnTo>
                    <a:pt x="147" y="72"/>
                  </a:lnTo>
                  <a:lnTo>
                    <a:pt x="135" y="79"/>
                  </a:lnTo>
                  <a:lnTo>
                    <a:pt x="113" y="94"/>
                  </a:lnTo>
                  <a:lnTo>
                    <a:pt x="93" y="107"/>
                  </a:lnTo>
                  <a:lnTo>
                    <a:pt x="83" y="118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24" name="Freeform 431"/>
            <p:cNvSpPr>
              <a:spLocks/>
            </p:cNvSpPr>
            <p:nvPr/>
          </p:nvSpPr>
          <p:spPr bwMode="auto">
            <a:xfrm>
              <a:off x="3969007" y="4719155"/>
              <a:ext cx="426510" cy="313717"/>
            </a:xfrm>
            <a:custGeom>
              <a:avLst/>
              <a:gdLst>
                <a:gd name="T0" fmla="*/ 98 w 197"/>
                <a:gd name="T1" fmla="*/ 43 h 156"/>
                <a:gd name="T2" fmla="*/ 95 w 197"/>
                <a:gd name="T3" fmla="*/ 42 h 156"/>
                <a:gd name="T4" fmla="*/ 93 w 197"/>
                <a:gd name="T5" fmla="*/ 39 h 156"/>
                <a:gd name="T6" fmla="*/ 93 w 197"/>
                <a:gd name="T7" fmla="*/ 35 h 156"/>
                <a:gd name="T8" fmla="*/ 90 w 197"/>
                <a:gd name="T9" fmla="*/ 30 h 156"/>
                <a:gd name="T10" fmla="*/ 90 w 197"/>
                <a:gd name="T11" fmla="*/ 26 h 156"/>
                <a:gd name="T12" fmla="*/ 87 w 197"/>
                <a:gd name="T13" fmla="*/ 21 h 156"/>
                <a:gd name="T14" fmla="*/ 84 w 197"/>
                <a:gd name="T15" fmla="*/ 25 h 156"/>
                <a:gd name="T16" fmla="*/ 84 w 197"/>
                <a:gd name="T17" fmla="*/ 30 h 156"/>
                <a:gd name="T18" fmla="*/ 82 w 197"/>
                <a:gd name="T19" fmla="*/ 33 h 156"/>
                <a:gd name="T20" fmla="*/ 80 w 197"/>
                <a:gd name="T21" fmla="*/ 33 h 156"/>
                <a:gd name="T22" fmla="*/ 77 w 197"/>
                <a:gd name="T23" fmla="*/ 33 h 156"/>
                <a:gd name="T24" fmla="*/ 75 w 197"/>
                <a:gd name="T25" fmla="*/ 35 h 156"/>
                <a:gd name="T26" fmla="*/ 69 w 197"/>
                <a:gd name="T27" fmla="*/ 32 h 156"/>
                <a:gd name="T28" fmla="*/ 71 w 197"/>
                <a:gd name="T29" fmla="*/ 27 h 156"/>
                <a:gd name="T30" fmla="*/ 68 w 197"/>
                <a:gd name="T31" fmla="*/ 24 h 156"/>
                <a:gd name="T32" fmla="*/ 64 w 197"/>
                <a:gd name="T33" fmla="*/ 23 h 156"/>
                <a:gd name="T34" fmla="*/ 65 w 197"/>
                <a:gd name="T35" fmla="*/ 21 h 156"/>
                <a:gd name="T36" fmla="*/ 63 w 197"/>
                <a:gd name="T37" fmla="*/ 18 h 156"/>
                <a:gd name="T38" fmla="*/ 64 w 197"/>
                <a:gd name="T39" fmla="*/ 15 h 156"/>
                <a:gd name="T40" fmla="*/ 66 w 197"/>
                <a:gd name="T41" fmla="*/ 11 h 156"/>
                <a:gd name="T42" fmla="*/ 67 w 197"/>
                <a:gd name="T43" fmla="*/ 6 h 156"/>
                <a:gd name="T44" fmla="*/ 66 w 197"/>
                <a:gd name="T45" fmla="*/ 0 h 156"/>
                <a:gd name="T46" fmla="*/ 55 w 197"/>
                <a:gd name="T47" fmla="*/ 2 h 156"/>
                <a:gd name="T48" fmla="*/ 45 w 197"/>
                <a:gd name="T49" fmla="*/ 11 h 156"/>
                <a:gd name="T50" fmla="*/ 30 w 197"/>
                <a:gd name="T51" fmla="*/ 20 h 156"/>
                <a:gd name="T52" fmla="*/ 23 w 197"/>
                <a:gd name="T53" fmla="*/ 21 h 156"/>
                <a:gd name="T54" fmla="*/ 15 w 197"/>
                <a:gd name="T55" fmla="*/ 17 h 156"/>
                <a:gd name="T56" fmla="*/ 8 w 197"/>
                <a:gd name="T57" fmla="*/ 18 h 156"/>
                <a:gd name="T58" fmla="*/ 12 w 197"/>
                <a:gd name="T59" fmla="*/ 21 h 156"/>
                <a:gd name="T60" fmla="*/ 4 w 197"/>
                <a:gd name="T61" fmla="*/ 23 h 156"/>
                <a:gd name="T62" fmla="*/ 2 w 197"/>
                <a:gd name="T63" fmla="*/ 26 h 156"/>
                <a:gd name="T64" fmla="*/ 5 w 197"/>
                <a:gd name="T65" fmla="*/ 36 h 156"/>
                <a:gd name="T66" fmla="*/ 0 w 197"/>
                <a:gd name="T67" fmla="*/ 38 h 156"/>
                <a:gd name="T68" fmla="*/ 3 w 197"/>
                <a:gd name="T69" fmla="*/ 48 h 156"/>
                <a:gd name="T70" fmla="*/ 2 w 197"/>
                <a:gd name="T71" fmla="*/ 56 h 156"/>
                <a:gd name="T72" fmla="*/ 2 w 197"/>
                <a:gd name="T73" fmla="*/ 57 h 156"/>
                <a:gd name="T74" fmla="*/ 3 w 197"/>
                <a:gd name="T75" fmla="*/ 57 h 156"/>
                <a:gd name="T76" fmla="*/ 5 w 197"/>
                <a:gd name="T77" fmla="*/ 56 h 156"/>
                <a:gd name="T78" fmla="*/ 8 w 197"/>
                <a:gd name="T79" fmla="*/ 53 h 156"/>
                <a:gd name="T80" fmla="*/ 13 w 197"/>
                <a:gd name="T81" fmla="*/ 49 h 156"/>
                <a:gd name="T82" fmla="*/ 22 w 197"/>
                <a:gd name="T83" fmla="*/ 59 h 156"/>
                <a:gd name="T84" fmla="*/ 29 w 197"/>
                <a:gd name="T85" fmla="*/ 62 h 156"/>
                <a:gd name="T86" fmla="*/ 36 w 197"/>
                <a:gd name="T87" fmla="*/ 57 h 156"/>
                <a:gd name="T88" fmla="*/ 50 w 197"/>
                <a:gd name="T89" fmla="*/ 56 h 156"/>
                <a:gd name="T90" fmla="*/ 61 w 197"/>
                <a:gd name="T91" fmla="*/ 54 h 156"/>
                <a:gd name="T92" fmla="*/ 71 w 197"/>
                <a:gd name="T93" fmla="*/ 65 h 156"/>
                <a:gd name="T94" fmla="*/ 87 w 197"/>
                <a:gd name="T95" fmla="*/ 77 h 156"/>
                <a:gd name="T96" fmla="*/ 89 w 197"/>
                <a:gd name="T97" fmla="*/ 75 h 156"/>
                <a:gd name="T98" fmla="*/ 87 w 197"/>
                <a:gd name="T99" fmla="*/ 70 h 156"/>
                <a:gd name="T100" fmla="*/ 88 w 197"/>
                <a:gd name="T101" fmla="*/ 68 h 156"/>
                <a:gd name="T102" fmla="*/ 90 w 197"/>
                <a:gd name="T103" fmla="*/ 68 h 156"/>
                <a:gd name="T104" fmla="*/ 92 w 197"/>
                <a:gd name="T105" fmla="*/ 69 h 156"/>
                <a:gd name="T106" fmla="*/ 93 w 197"/>
                <a:gd name="T107" fmla="*/ 68 h 156"/>
                <a:gd name="T108" fmla="*/ 94 w 197"/>
                <a:gd name="T109" fmla="*/ 65 h 156"/>
                <a:gd name="T110" fmla="*/ 95 w 197"/>
                <a:gd name="T111" fmla="*/ 58 h 156"/>
                <a:gd name="T112" fmla="*/ 97 w 197"/>
                <a:gd name="T113" fmla="*/ 49 h 156"/>
                <a:gd name="T114" fmla="*/ 98 w 197"/>
                <a:gd name="T115" fmla="*/ 44 h 15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97" h="156">
                  <a:moveTo>
                    <a:pt x="197" y="89"/>
                  </a:moveTo>
                  <a:lnTo>
                    <a:pt x="197" y="88"/>
                  </a:lnTo>
                  <a:lnTo>
                    <a:pt x="195" y="88"/>
                  </a:lnTo>
                  <a:lnTo>
                    <a:pt x="190" y="85"/>
                  </a:lnTo>
                  <a:lnTo>
                    <a:pt x="187" y="83"/>
                  </a:lnTo>
                  <a:lnTo>
                    <a:pt x="186" y="80"/>
                  </a:lnTo>
                  <a:lnTo>
                    <a:pt x="186" y="74"/>
                  </a:lnTo>
                  <a:lnTo>
                    <a:pt x="186" y="71"/>
                  </a:lnTo>
                  <a:lnTo>
                    <a:pt x="185" y="67"/>
                  </a:lnTo>
                  <a:lnTo>
                    <a:pt x="181" y="61"/>
                  </a:lnTo>
                  <a:lnTo>
                    <a:pt x="180" y="58"/>
                  </a:lnTo>
                  <a:lnTo>
                    <a:pt x="180" y="52"/>
                  </a:lnTo>
                  <a:lnTo>
                    <a:pt x="178" y="40"/>
                  </a:lnTo>
                  <a:lnTo>
                    <a:pt x="174" y="43"/>
                  </a:lnTo>
                  <a:lnTo>
                    <a:pt x="171" y="47"/>
                  </a:lnTo>
                  <a:lnTo>
                    <a:pt x="169" y="50"/>
                  </a:lnTo>
                  <a:lnTo>
                    <a:pt x="169" y="55"/>
                  </a:lnTo>
                  <a:lnTo>
                    <a:pt x="169" y="60"/>
                  </a:lnTo>
                  <a:lnTo>
                    <a:pt x="167" y="64"/>
                  </a:lnTo>
                  <a:lnTo>
                    <a:pt x="165" y="67"/>
                  </a:lnTo>
                  <a:lnTo>
                    <a:pt x="163" y="68"/>
                  </a:lnTo>
                  <a:lnTo>
                    <a:pt x="161" y="67"/>
                  </a:lnTo>
                  <a:lnTo>
                    <a:pt x="159" y="67"/>
                  </a:lnTo>
                  <a:lnTo>
                    <a:pt x="155" y="67"/>
                  </a:lnTo>
                  <a:lnTo>
                    <a:pt x="151" y="70"/>
                  </a:lnTo>
                  <a:lnTo>
                    <a:pt x="150" y="71"/>
                  </a:lnTo>
                  <a:lnTo>
                    <a:pt x="147" y="70"/>
                  </a:lnTo>
                  <a:lnTo>
                    <a:pt x="139" y="65"/>
                  </a:lnTo>
                  <a:lnTo>
                    <a:pt x="141" y="60"/>
                  </a:lnTo>
                  <a:lnTo>
                    <a:pt x="142" y="55"/>
                  </a:lnTo>
                  <a:lnTo>
                    <a:pt x="143" y="50"/>
                  </a:lnTo>
                  <a:lnTo>
                    <a:pt x="137" y="49"/>
                  </a:lnTo>
                  <a:lnTo>
                    <a:pt x="131" y="48"/>
                  </a:lnTo>
                  <a:lnTo>
                    <a:pt x="129" y="47"/>
                  </a:lnTo>
                  <a:lnTo>
                    <a:pt x="129" y="44"/>
                  </a:lnTo>
                  <a:lnTo>
                    <a:pt x="130" y="42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29" y="31"/>
                  </a:lnTo>
                  <a:lnTo>
                    <a:pt x="129" y="30"/>
                  </a:lnTo>
                  <a:lnTo>
                    <a:pt x="130" y="26"/>
                  </a:lnTo>
                  <a:lnTo>
                    <a:pt x="133" y="23"/>
                  </a:lnTo>
                  <a:lnTo>
                    <a:pt x="135" y="17"/>
                  </a:lnTo>
                  <a:lnTo>
                    <a:pt x="135" y="12"/>
                  </a:lnTo>
                  <a:lnTo>
                    <a:pt x="133" y="6"/>
                  </a:lnTo>
                  <a:lnTo>
                    <a:pt x="133" y="0"/>
                  </a:lnTo>
                  <a:lnTo>
                    <a:pt x="118" y="1"/>
                  </a:lnTo>
                  <a:lnTo>
                    <a:pt x="111" y="5"/>
                  </a:lnTo>
                  <a:lnTo>
                    <a:pt x="97" y="18"/>
                  </a:lnTo>
                  <a:lnTo>
                    <a:pt x="91" y="22"/>
                  </a:lnTo>
                  <a:lnTo>
                    <a:pt x="79" y="36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7" y="43"/>
                  </a:lnTo>
                  <a:lnTo>
                    <a:pt x="42" y="38"/>
                  </a:lnTo>
                  <a:lnTo>
                    <a:pt x="31" y="34"/>
                  </a:lnTo>
                  <a:lnTo>
                    <a:pt x="17" y="35"/>
                  </a:lnTo>
                  <a:lnTo>
                    <a:pt x="16" y="36"/>
                  </a:lnTo>
                  <a:lnTo>
                    <a:pt x="24" y="40"/>
                  </a:lnTo>
                  <a:lnTo>
                    <a:pt x="24" y="42"/>
                  </a:lnTo>
                  <a:lnTo>
                    <a:pt x="17" y="43"/>
                  </a:lnTo>
                  <a:lnTo>
                    <a:pt x="9" y="46"/>
                  </a:lnTo>
                  <a:lnTo>
                    <a:pt x="5" y="49"/>
                  </a:lnTo>
                  <a:lnTo>
                    <a:pt x="4" y="53"/>
                  </a:lnTo>
                  <a:lnTo>
                    <a:pt x="6" y="59"/>
                  </a:lnTo>
                  <a:lnTo>
                    <a:pt x="10" y="72"/>
                  </a:lnTo>
                  <a:lnTo>
                    <a:pt x="5" y="74"/>
                  </a:lnTo>
                  <a:lnTo>
                    <a:pt x="1" y="77"/>
                  </a:lnTo>
                  <a:lnTo>
                    <a:pt x="0" y="82"/>
                  </a:lnTo>
                  <a:lnTo>
                    <a:pt x="6" y="98"/>
                  </a:lnTo>
                  <a:lnTo>
                    <a:pt x="6" y="106"/>
                  </a:lnTo>
                  <a:lnTo>
                    <a:pt x="4" y="113"/>
                  </a:lnTo>
                  <a:lnTo>
                    <a:pt x="4" y="115"/>
                  </a:lnTo>
                  <a:lnTo>
                    <a:pt x="5" y="116"/>
                  </a:lnTo>
                  <a:lnTo>
                    <a:pt x="6" y="118"/>
                  </a:lnTo>
                  <a:lnTo>
                    <a:pt x="7" y="116"/>
                  </a:lnTo>
                  <a:lnTo>
                    <a:pt x="10" y="115"/>
                  </a:lnTo>
                  <a:lnTo>
                    <a:pt x="11" y="114"/>
                  </a:lnTo>
                  <a:lnTo>
                    <a:pt x="13" y="110"/>
                  </a:lnTo>
                  <a:lnTo>
                    <a:pt x="17" y="107"/>
                  </a:lnTo>
                  <a:lnTo>
                    <a:pt x="24" y="100"/>
                  </a:lnTo>
                  <a:lnTo>
                    <a:pt x="27" y="100"/>
                  </a:lnTo>
                  <a:lnTo>
                    <a:pt x="34" y="104"/>
                  </a:lnTo>
                  <a:lnTo>
                    <a:pt x="45" y="119"/>
                  </a:lnTo>
                  <a:lnTo>
                    <a:pt x="49" y="123"/>
                  </a:lnTo>
                  <a:lnTo>
                    <a:pt x="59" y="125"/>
                  </a:lnTo>
                  <a:lnTo>
                    <a:pt x="67" y="121"/>
                  </a:lnTo>
                  <a:lnTo>
                    <a:pt x="72" y="116"/>
                  </a:lnTo>
                  <a:lnTo>
                    <a:pt x="81" y="115"/>
                  </a:lnTo>
                  <a:lnTo>
                    <a:pt x="101" y="114"/>
                  </a:lnTo>
                  <a:lnTo>
                    <a:pt x="109" y="113"/>
                  </a:lnTo>
                  <a:lnTo>
                    <a:pt x="123" y="110"/>
                  </a:lnTo>
                  <a:lnTo>
                    <a:pt x="130" y="115"/>
                  </a:lnTo>
                  <a:lnTo>
                    <a:pt x="142" y="131"/>
                  </a:lnTo>
                  <a:lnTo>
                    <a:pt x="169" y="155"/>
                  </a:lnTo>
                  <a:lnTo>
                    <a:pt x="175" y="156"/>
                  </a:lnTo>
                  <a:lnTo>
                    <a:pt x="178" y="155"/>
                  </a:lnTo>
                  <a:lnTo>
                    <a:pt x="179" y="151"/>
                  </a:lnTo>
                  <a:lnTo>
                    <a:pt x="177" y="146"/>
                  </a:lnTo>
                  <a:lnTo>
                    <a:pt x="175" y="141"/>
                  </a:lnTo>
                  <a:lnTo>
                    <a:pt x="175" y="139"/>
                  </a:lnTo>
                  <a:lnTo>
                    <a:pt x="177" y="138"/>
                  </a:lnTo>
                  <a:lnTo>
                    <a:pt x="178" y="137"/>
                  </a:lnTo>
                  <a:lnTo>
                    <a:pt x="180" y="137"/>
                  </a:lnTo>
                  <a:lnTo>
                    <a:pt x="181" y="138"/>
                  </a:lnTo>
                  <a:lnTo>
                    <a:pt x="184" y="139"/>
                  </a:lnTo>
                  <a:lnTo>
                    <a:pt x="185" y="138"/>
                  </a:lnTo>
                  <a:lnTo>
                    <a:pt x="187" y="137"/>
                  </a:lnTo>
                  <a:lnTo>
                    <a:pt x="189" y="133"/>
                  </a:lnTo>
                  <a:lnTo>
                    <a:pt x="189" y="131"/>
                  </a:lnTo>
                  <a:lnTo>
                    <a:pt x="189" y="125"/>
                  </a:lnTo>
                  <a:lnTo>
                    <a:pt x="190" y="118"/>
                  </a:lnTo>
                  <a:lnTo>
                    <a:pt x="191" y="110"/>
                  </a:lnTo>
                  <a:lnTo>
                    <a:pt x="195" y="100"/>
                  </a:lnTo>
                  <a:lnTo>
                    <a:pt x="197" y="90"/>
                  </a:lnTo>
                  <a:lnTo>
                    <a:pt x="197" y="89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25" name="Freeform 432"/>
            <p:cNvSpPr>
              <a:spLocks/>
            </p:cNvSpPr>
            <p:nvPr/>
          </p:nvSpPr>
          <p:spPr bwMode="auto">
            <a:xfrm>
              <a:off x="4369404" y="4979907"/>
              <a:ext cx="73986" cy="40742"/>
            </a:xfrm>
            <a:custGeom>
              <a:avLst/>
              <a:gdLst>
                <a:gd name="T0" fmla="*/ 3 w 34"/>
                <a:gd name="T1" fmla="*/ 2 h 21"/>
                <a:gd name="T2" fmla="*/ 3 w 34"/>
                <a:gd name="T3" fmla="*/ 2 h 21"/>
                <a:gd name="T4" fmla="*/ 3 w 34"/>
                <a:gd name="T5" fmla="*/ 1 h 21"/>
                <a:gd name="T6" fmla="*/ 4 w 34"/>
                <a:gd name="T7" fmla="*/ 0 h 21"/>
                <a:gd name="T8" fmla="*/ 4 w 34"/>
                <a:gd name="T9" fmla="*/ 0 h 21"/>
                <a:gd name="T10" fmla="*/ 5 w 34"/>
                <a:gd name="T11" fmla="*/ 0 h 21"/>
                <a:gd name="T12" fmla="*/ 6 w 34"/>
                <a:gd name="T13" fmla="*/ 0 h 21"/>
                <a:gd name="T14" fmla="*/ 6 w 34"/>
                <a:gd name="T15" fmla="*/ 1 h 21"/>
                <a:gd name="T16" fmla="*/ 7 w 34"/>
                <a:gd name="T17" fmla="*/ 2 h 21"/>
                <a:gd name="T18" fmla="*/ 9 w 34"/>
                <a:gd name="T19" fmla="*/ 2 h 21"/>
                <a:gd name="T20" fmla="*/ 10 w 34"/>
                <a:gd name="T21" fmla="*/ 3 h 21"/>
                <a:gd name="T22" fmla="*/ 11 w 34"/>
                <a:gd name="T23" fmla="*/ 3 h 21"/>
                <a:gd name="T24" fmla="*/ 12 w 34"/>
                <a:gd name="T25" fmla="*/ 3 h 21"/>
                <a:gd name="T26" fmla="*/ 13 w 34"/>
                <a:gd name="T27" fmla="*/ 3 h 21"/>
                <a:gd name="T28" fmla="*/ 14 w 34"/>
                <a:gd name="T29" fmla="*/ 3 h 21"/>
                <a:gd name="T30" fmla="*/ 15 w 34"/>
                <a:gd name="T31" fmla="*/ 2 h 21"/>
                <a:gd name="T32" fmla="*/ 16 w 34"/>
                <a:gd name="T33" fmla="*/ 2 h 21"/>
                <a:gd name="T34" fmla="*/ 16 w 34"/>
                <a:gd name="T35" fmla="*/ 2 h 21"/>
                <a:gd name="T36" fmla="*/ 17 w 34"/>
                <a:gd name="T37" fmla="*/ 2 h 21"/>
                <a:gd name="T38" fmla="*/ 17 w 34"/>
                <a:gd name="T39" fmla="*/ 3 h 21"/>
                <a:gd name="T40" fmla="*/ 17 w 34"/>
                <a:gd name="T41" fmla="*/ 4 h 21"/>
                <a:gd name="T42" fmla="*/ 16 w 34"/>
                <a:gd name="T43" fmla="*/ 5 h 21"/>
                <a:gd name="T44" fmla="*/ 16 w 34"/>
                <a:gd name="T45" fmla="*/ 6 h 21"/>
                <a:gd name="T46" fmla="*/ 16 w 34"/>
                <a:gd name="T47" fmla="*/ 6 h 21"/>
                <a:gd name="T48" fmla="*/ 15 w 34"/>
                <a:gd name="T49" fmla="*/ 7 h 21"/>
                <a:gd name="T50" fmla="*/ 13 w 34"/>
                <a:gd name="T51" fmla="*/ 8 h 21"/>
                <a:gd name="T52" fmla="*/ 11 w 34"/>
                <a:gd name="T53" fmla="*/ 9 h 21"/>
                <a:gd name="T54" fmla="*/ 10 w 34"/>
                <a:gd name="T55" fmla="*/ 10 h 21"/>
                <a:gd name="T56" fmla="*/ 9 w 34"/>
                <a:gd name="T57" fmla="*/ 10 h 21"/>
                <a:gd name="T58" fmla="*/ 7 w 34"/>
                <a:gd name="T59" fmla="*/ 10 h 21"/>
                <a:gd name="T60" fmla="*/ 6 w 34"/>
                <a:gd name="T61" fmla="*/ 10 h 21"/>
                <a:gd name="T62" fmla="*/ 5 w 34"/>
                <a:gd name="T63" fmla="*/ 10 h 21"/>
                <a:gd name="T64" fmla="*/ 3 w 34"/>
                <a:gd name="T65" fmla="*/ 9 h 21"/>
                <a:gd name="T66" fmla="*/ 2 w 34"/>
                <a:gd name="T67" fmla="*/ 9 h 21"/>
                <a:gd name="T68" fmla="*/ 1 w 34"/>
                <a:gd name="T69" fmla="*/ 9 h 21"/>
                <a:gd name="T70" fmla="*/ 0 w 34"/>
                <a:gd name="T71" fmla="*/ 9 h 21"/>
                <a:gd name="T72" fmla="*/ 0 w 34"/>
                <a:gd name="T73" fmla="*/ 8 h 21"/>
                <a:gd name="T74" fmla="*/ 1 w 34"/>
                <a:gd name="T75" fmla="*/ 8 h 21"/>
                <a:gd name="T76" fmla="*/ 1 w 34"/>
                <a:gd name="T77" fmla="*/ 7 h 21"/>
                <a:gd name="T78" fmla="*/ 2 w 34"/>
                <a:gd name="T79" fmla="*/ 6 h 21"/>
                <a:gd name="T80" fmla="*/ 3 w 34"/>
                <a:gd name="T81" fmla="*/ 5 h 21"/>
                <a:gd name="T82" fmla="*/ 3 w 34"/>
                <a:gd name="T83" fmla="*/ 5 h 21"/>
                <a:gd name="T84" fmla="*/ 3 w 34"/>
                <a:gd name="T85" fmla="*/ 3 h 21"/>
                <a:gd name="T86" fmla="*/ 3 w 34"/>
                <a:gd name="T87" fmla="*/ 2 h 2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34" h="21">
                  <a:moveTo>
                    <a:pt x="5" y="5"/>
                  </a:moveTo>
                  <a:lnTo>
                    <a:pt x="6" y="5"/>
                  </a:lnTo>
                  <a:lnTo>
                    <a:pt x="6" y="3"/>
                  </a:lnTo>
                  <a:lnTo>
                    <a:pt x="7" y="1"/>
                  </a:lnTo>
                  <a:lnTo>
                    <a:pt x="8" y="0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2" y="3"/>
                  </a:lnTo>
                  <a:lnTo>
                    <a:pt x="14" y="4"/>
                  </a:lnTo>
                  <a:lnTo>
                    <a:pt x="17" y="5"/>
                  </a:lnTo>
                  <a:lnTo>
                    <a:pt x="19" y="6"/>
                  </a:lnTo>
                  <a:lnTo>
                    <a:pt x="22" y="6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28" y="6"/>
                  </a:lnTo>
                  <a:lnTo>
                    <a:pt x="30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4" y="5"/>
                  </a:lnTo>
                  <a:lnTo>
                    <a:pt x="34" y="7"/>
                  </a:lnTo>
                  <a:lnTo>
                    <a:pt x="34" y="9"/>
                  </a:lnTo>
                  <a:lnTo>
                    <a:pt x="32" y="11"/>
                  </a:lnTo>
                  <a:lnTo>
                    <a:pt x="32" y="12"/>
                  </a:lnTo>
                  <a:lnTo>
                    <a:pt x="31" y="13"/>
                  </a:lnTo>
                  <a:lnTo>
                    <a:pt x="29" y="15"/>
                  </a:lnTo>
                  <a:lnTo>
                    <a:pt x="25" y="17"/>
                  </a:lnTo>
                  <a:lnTo>
                    <a:pt x="22" y="19"/>
                  </a:lnTo>
                  <a:lnTo>
                    <a:pt x="19" y="21"/>
                  </a:lnTo>
                  <a:lnTo>
                    <a:pt x="17" y="21"/>
                  </a:lnTo>
                  <a:lnTo>
                    <a:pt x="14" y="21"/>
                  </a:lnTo>
                  <a:lnTo>
                    <a:pt x="12" y="21"/>
                  </a:lnTo>
                  <a:lnTo>
                    <a:pt x="10" y="21"/>
                  </a:lnTo>
                  <a:lnTo>
                    <a:pt x="6" y="19"/>
                  </a:lnTo>
                  <a:lnTo>
                    <a:pt x="4" y="19"/>
                  </a:lnTo>
                  <a:lnTo>
                    <a:pt x="1" y="19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1" y="16"/>
                  </a:lnTo>
                  <a:lnTo>
                    <a:pt x="2" y="15"/>
                  </a:lnTo>
                  <a:lnTo>
                    <a:pt x="4" y="12"/>
                  </a:lnTo>
                  <a:lnTo>
                    <a:pt x="5" y="11"/>
                  </a:lnTo>
                  <a:lnTo>
                    <a:pt x="5" y="10"/>
                  </a:lnTo>
                  <a:lnTo>
                    <a:pt x="5" y="7"/>
                  </a:lnTo>
                  <a:lnTo>
                    <a:pt x="5" y="5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26" name="Freeform 433"/>
            <p:cNvSpPr>
              <a:spLocks/>
            </p:cNvSpPr>
            <p:nvPr/>
          </p:nvSpPr>
          <p:spPr bwMode="auto">
            <a:xfrm>
              <a:off x="4687110" y="4446180"/>
              <a:ext cx="413454" cy="183341"/>
            </a:xfrm>
            <a:custGeom>
              <a:avLst/>
              <a:gdLst>
                <a:gd name="T0" fmla="*/ 12 w 191"/>
                <a:gd name="T1" fmla="*/ 43 h 90"/>
                <a:gd name="T2" fmla="*/ 7 w 191"/>
                <a:gd name="T3" fmla="*/ 41 h 90"/>
                <a:gd name="T4" fmla="*/ 0 w 191"/>
                <a:gd name="T5" fmla="*/ 42 h 90"/>
                <a:gd name="T6" fmla="*/ 3 w 191"/>
                <a:gd name="T7" fmla="*/ 35 h 90"/>
                <a:gd name="T8" fmla="*/ 5 w 191"/>
                <a:gd name="T9" fmla="*/ 33 h 90"/>
                <a:gd name="T10" fmla="*/ 5 w 191"/>
                <a:gd name="T11" fmla="*/ 28 h 90"/>
                <a:gd name="T12" fmla="*/ 9 w 191"/>
                <a:gd name="T13" fmla="*/ 28 h 90"/>
                <a:gd name="T14" fmla="*/ 11 w 191"/>
                <a:gd name="T15" fmla="*/ 27 h 90"/>
                <a:gd name="T16" fmla="*/ 14 w 191"/>
                <a:gd name="T17" fmla="*/ 22 h 90"/>
                <a:gd name="T18" fmla="*/ 14 w 191"/>
                <a:gd name="T19" fmla="*/ 18 h 90"/>
                <a:gd name="T20" fmla="*/ 15 w 191"/>
                <a:gd name="T21" fmla="*/ 15 h 90"/>
                <a:gd name="T22" fmla="*/ 14 w 191"/>
                <a:gd name="T23" fmla="*/ 12 h 90"/>
                <a:gd name="T24" fmla="*/ 14 w 191"/>
                <a:gd name="T25" fmla="*/ 10 h 90"/>
                <a:gd name="T26" fmla="*/ 18 w 191"/>
                <a:gd name="T27" fmla="*/ 9 h 90"/>
                <a:gd name="T28" fmla="*/ 24 w 191"/>
                <a:gd name="T29" fmla="*/ 7 h 90"/>
                <a:gd name="T30" fmla="*/ 35 w 191"/>
                <a:gd name="T31" fmla="*/ 4 h 90"/>
                <a:gd name="T32" fmla="*/ 50 w 191"/>
                <a:gd name="T33" fmla="*/ 8 h 90"/>
                <a:gd name="T34" fmla="*/ 60 w 191"/>
                <a:gd name="T35" fmla="*/ 7 h 90"/>
                <a:gd name="T36" fmla="*/ 80 w 191"/>
                <a:gd name="T37" fmla="*/ 6 h 90"/>
                <a:gd name="T38" fmla="*/ 90 w 191"/>
                <a:gd name="T39" fmla="*/ 0 h 90"/>
                <a:gd name="T40" fmla="*/ 92 w 191"/>
                <a:gd name="T41" fmla="*/ 3 h 90"/>
                <a:gd name="T42" fmla="*/ 92 w 191"/>
                <a:gd name="T43" fmla="*/ 7 h 90"/>
                <a:gd name="T44" fmla="*/ 92 w 191"/>
                <a:gd name="T45" fmla="*/ 12 h 90"/>
                <a:gd name="T46" fmla="*/ 95 w 191"/>
                <a:gd name="T47" fmla="*/ 19 h 90"/>
                <a:gd name="T48" fmla="*/ 95 w 191"/>
                <a:gd name="T49" fmla="*/ 25 h 90"/>
                <a:gd name="T50" fmla="*/ 95 w 191"/>
                <a:gd name="T51" fmla="*/ 31 h 90"/>
                <a:gd name="T52" fmla="*/ 94 w 191"/>
                <a:gd name="T53" fmla="*/ 35 h 90"/>
                <a:gd name="T54" fmla="*/ 89 w 191"/>
                <a:gd name="T55" fmla="*/ 37 h 90"/>
                <a:gd name="T56" fmla="*/ 85 w 191"/>
                <a:gd name="T57" fmla="*/ 37 h 90"/>
                <a:gd name="T58" fmla="*/ 79 w 191"/>
                <a:gd name="T59" fmla="*/ 40 h 90"/>
                <a:gd name="T60" fmla="*/ 75 w 191"/>
                <a:gd name="T61" fmla="*/ 40 h 90"/>
                <a:gd name="T62" fmla="*/ 72 w 191"/>
                <a:gd name="T63" fmla="*/ 40 h 90"/>
                <a:gd name="T64" fmla="*/ 71 w 191"/>
                <a:gd name="T65" fmla="*/ 39 h 90"/>
                <a:gd name="T66" fmla="*/ 72 w 191"/>
                <a:gd name="T67" fmla="*/ 33 h 90"/>
                <a:gd name="T68" fmla="*/ 69 w 191"/>
                <a:gd name="T69" fmla="*/ 30 h 90"/>
                <a:gd name="T70" fmla="*/ 63 w 191"/>
                <a:gd name="T71" fmla="*/ 27 h 90"/>
                <a:gd name="T72" fmla="*/ 62 w 191"/>
                <a:gd name="T73" fmla="*/ 25 h 90"/>
                <a:gd name="T74" fmla="*/ 56 w 191"/>
                <a:gd name="T75" fmla="*/ 28 h 90"/>
                <a:gd name="T76" fmla="*/ 51 w 191"/>
                <a:gd name="T77" fmla="*/ 30 h 90"/>
                <a:gd name="T78" fmla="*/ 50 w 191"/>
                <a:gd name="T79" fmla="*/ 27 h 90"/>
                <a:gd name="T80" fmla="*/ 47 w 191"/>
                <a:gd name="T81" fmla="*/ 24 h 90"/>
                <a:gd name="T82" fmla="*/ 44 w 191"/>
                <a:gd name="T83" fmla="*/ 23 h 90"/>
                <a:gd name="T84" fmla="*/ 41 w 191"/>
                <a:gd name="T85" fmla="*/ 23 h 90"/>
                <a:gd name="T86" fmla="*/ 38 w 191"/>
                <a:gd name="T87" fmla="*/ 23 h 90"/>
                <a:gd name="T88" fmla="*/ 33 w 191"/>
                <a:gd name="T89" fmla="*/ 30 h 90"/>
                <a:gd name="T90" fmla="*/ 32 w 191"/>
                <a:gd name="T91" fmla="*/ 31 h 90"/>
                <a:gd name="T92" fmla="*/ 29 w 191"/>
                <a:gd name="T93" fmla="*/ 34 h 90"/>
                <a:gd name="T94" fmla="*/ 25 w 191"/>
                <a:gd name="T95" fmla="*/ 35 h 90"/>
                <a:gd name="T96" fmla="*/ 24 w 191"/>
                <a:gd name="T97" fmla="*/ 36 h 90"/>
                <a:gd name="T98" fmla="*/ 24 w 191"/>
                <a:gd name="T99" fmla="*/ 39 h 90"/>
                <a:gd name="T100" fmla="*/ 21 w 191"/>
                <a:gd name="T101" fmla="*/ 40 h 90"/>
                <a:gd name="T102" fmla="*/ 18 w 191"/>
                <a:gd name="T103" fmla="*/ 41 h 90"/>
                <a:gd name="T104" fmla="*/ 15 w 191"/>
                <a:gd name="T105" fmla="*/ 43 h 9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91" h="90">
                  <a:moveTo>
                    <a:pt x="27" y="90"/>
                  </a:moveTo>
                  <a:lnTo>
                    <a:pt x="24" y="86"/>
                  </a:lnTo>
                  <a:lnTo>
                    <a:pt x="19" y="84"/>
                  </a:lnTo>
                  <a:lnTo>
                    <a:pt x="15" y="82"/>
                  </a:lnTo>
                  <a:lnTo>
                    <a:pt x="9" y="79"/>
                  </a:lnTo>
                  <a:lnTo>
                    <a:pt x="0" y="83"/>
                  </a:lnTo>
                  <a:lnTo>
                    <a:pt x="4" y="76"/>
                  </a:lnTo>
                  <a:lnTo>
                    <a:pt x="6" y="70"/>
                  </a:lnTo>
                  <a:lnTo>
                    <a:pt x="10" y="66"/>
                  </a:lnTo>
                  <a:lnTo>
                    <a:pt x="11" y="65"/>
                  </a:lnTo>
                  <a:lnTo>
                    <a:pt x="10" y="59"/>
                  </a:lnTo>
                  <a:lnTo>
                    <a:pt x="11" y="56"/>
                  </a:lnTo>
                  <a:lnTo>
                    <a:pt x="13" y="56"/>
                  </a:lnTo>
                  <a:lnTo>
                    <a:pt x="18" y="55"/>
                  </a:lnTo>
                  <a:lnTo>
                    <a:pt x="21" y="55"/>
                  </a:lnTo>
                  <a:lnTo>
                    <a:pt x="23" y="54"/>
                  </a:lnTo>
                  <a:lnTo>
                    <a:pt x="25" y="50"/>
                  </a:lnTo>
                  <a:lnTo>
                    <a:pt x="28" y="44"/>
                  </a:lnTo>
                  <a:lnTo>
                    <a:pt x="29" y="41"/>
                  </a:lnTo>
                  <a:lnTo>
                    <a:pt x="29" y="36"/>
                  </a:lnTo>
                  <a:lnTo>
                    <a:pt x="29" y="32"/>
                  </a:lnTo>
                  <a:lnTo>
                    <a:pt x="30" y="29"/>
                  </a:lnTo>
                  <a:lnTo>
                    <a:pt x="30" y="26"/>
                  </a:lnTo>
                  <a:lnTo>
                    <a:pt x="29" y="24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33" y="19"/>
                  </a:lnTo>
                  <a:lnTo>
                    <a:pt x="36" y="17"/>
                  </a:lnTo>
                  <a:lnTo>
                    <a:pt x="42" y="17"/>
                  </a:lnTo>
                  <a:lnTo>
                    <a:pt x="48" y="14"/>
                  </a:lnTo>
                  <a:lnTo>
                    <a:pt x="65" y="7"/>
                  </a:lnTo>
                  <a:lnTo>
                    <a:pt x="70" y="7"/>
                  </a:lnTo>
                  <a:lnTo>
                    <a:pt x="85" y="13"/>
                  </a:lnTo>
                  <a:lnTo>
                    <a:pt x="100" y="16"/>
                  </a:lnTo>
                  <a:lnTo>
                    <a:pt x="109" y="16"/>
                  </a:lnTo>
                  <a:lnTo>
                    <a:pt x="121" y="13"/>
                  </a:lnTo>
                  <a:lnTo>
                    <a:pt x="135" y="13"/>
                  </a:lnTo>
                  <a:lnTo>
                    <a:pt x="160" y="12"/>
                  </a:lnTo>
                  <a:lnTo>
                    <a:pt x="167" y="6"/>
                  </a:lnTo>
                  <a:lnTo>
                    <a:pt x="181" y="0"/>
                  </a:lnTo>
                  <a:lnTo>
                    <a:pt x="184" y="5"/>
                  </a:lnTo>
                  <a:lnTo>
                    <a:pt x="184" y="6"/>
                  </a:lnTo>
                  <a:lnTo>
                    <a:pt x="183" y="9"/>
                  </a:lnTo>
                  <a:lnTo>
                    <a:pt x="184" y="14"/>
                  </a:lnTo>
                  <a:lnTo>
                    <a:pt x="183" y="19"/>
                  </a:lnTo>
                  <a:lnTo>
                    <a:pt x="184" y="24"/>
                  </a:lnTo>
                  <a:lnTo>
                    <a:pt x="187" y="31"/>
                  </a:lnTo>
                  <a:lnTo>
                    <a:pt x="190" y="38"/>
                  </a:lnTo>
                  <a:lnTo>
                    <a:pt x="191" y="43"/>
                  </a:lnTo>
                  <a:lnTo>
                    <a:pt x="190" y="49"/>
                  </a:lnTo>
                  <a:lnTo>
                    <a:pt x="190" y="54"/>
                  </a:lnTo>
                  <a:lnTo>
                    <a:pt x="190" y="61"/>
                  </a:lnTo>
                  <a:lnTo>
                    <a:pt x="191" y="65"/>
                  </a:lnTo>
                  <a:lnTo>
                    <a:pt x="189" y="70"/>
                  </a:lnTo>
                  <a:lnTo>
                    <a:pt x="184" y="72"/>
                  </a:lnTo>
                  <a:lnTo>
                    <a:pt x="179" y="73"/>
                  </a:lnTo>
                  <a:lnTo>
                    <a:pt x="174" y="73"/>
                  </a:lnTo>
                  <a:lnTo>
                    <a:pt x="171" y="73"/>
                  </a:lnTo>
                  <a:lnTo>
                    <a:pt x="167" y="76"/>
                  </a:lnTo>
                  <a:lnTo>
                    <a:pt x="159" y="80"/>
                  </a:lnTo>
                  <a:lnTo>
                    <a:pt x="156" y="79"/>
                  </a:lnTo>
                  <a:lnTo>
                    <a:pt x="151" y="80"/>
                  </a:lnTo>
                  <a:lnTo>
                    <a:pt x="148" y="79"/>
                  </a:lnTo>
                  <a:lnTo>
                    <a:pt x="145" y="80"/>
                  </a:lnTo>
                  <a:lnTo>
                    <a:pt x="144" y="79"/>
                  </a:lnTo>
                  <a:lnTo>
                    <a:pt x="143" y="77"/>
                  </a:lnTo>
                  <a:lnTo>
                    <a:pt x="145" y="68"/>
                  </a:lnTo>
                  <a:lnTo>
                    <a:pt x="145" y="66"/>
                  </a:lnTo>
                  <a:lnTo>
                    <a:pt x="142" y="61"/>
                  </a:lnTo>
                  <a:lnTo>
                    <a:pt x="139" y="59"/>
                  </a:lnTo>
                  <a:lnTo>
                    <a:pt x="136" y="58"/>
                  </a:lnTo>
                  <a:lnTo>
                    <a:pt x="127" y="53"/>
                  </a:lnTo>
                  <a:lnTo>
                    <a:pt x="127" y="49"/>
                  </a:lnTo>
                  <a:lnTo>
                    <a:pt x="125" y="49"/>
                  </a:lnTo>
                  <a:lnTo>
                    <a:pt x="114" y="54"/>
                  </a:lnTo>
                  <a:lnTo>
                    <a:pt x="112" y="55"/>
                  </a:lnTo>
                  <a:lnTo>
                    <a:pt x="107" y="59"/>
                  </a:lnTo>
                  <a:lnTo>
                    <a:pt x="103" y="60"/>
                  </a:lnTo>
                  <a:lnTo>
                    <a:pt x="102" y="58"/>
                  </a:lnTo>
                  <a:lnTo>
                    <a:pt x="101" y="54"/>
                  </a:lnTo>
                  <a:lnTo>
                    <a:pt x="97" y="50"/>
                  </a:lnTo>
                  <a:lnTo>
                    <a:pt x="94" y="48"/>
                  </a:lnTo>
                  <a:lnTo>
                    <a:pt x="90" y="47"/>
                  </a:lnTo>
                  <a:lnTo>
                    <a:pt x="88" y="46"/>
                  </a:lnTo>
                  <a:lnTo>
                    <a:pt x="84" y="46"/>
                  </a:lnTo>
                  <a:lnTo>
                    <a:pt x="82" y="46"/>
                  </a:lnTo>
                  <a:lnTo>
                    <a:pt x="78" y="44"/>
                  </a:lnTo>
                  <a:lnTo>
                    <a:pt x="76" y="46"/>
                  </a:lnTo>
                  <a:lnTo>
                    <a:pt x="70" y="58"/>
                  </a:lnTo>
                  <a:lnTo>
                    <a:pt x="67" y="60"/>
                  </a:lnTo>
                  <a:lnTo>
                    <a:pt x="66" y="60"/>
                  </a:lnTo>
                  <a:lnTo>
                    <a:pt x="64" y="62"/>
                  </a:lnTo>
                  <a:lnTo>
                    <a:pt x="61" y="66"/>
                  </a:lnTo>
                  <a:lnTo>
                    <a:pt x="59" y="67"/>
                  </a:lnTo>
                  <a:lnTo>
                    <a:pt x="54" y="68"/>
                  </a:lnTo>
                  <a:lnTo>
                    <a:pt x="51" y="70"/>
                  </a:lnTo>
                  <a:lnTo>
                    <a:pt x="49" y="70"/>
                  </a:lnTo>
                  <a:lnTo>
                    <a:pt x="49" y="72"/>
                  </a:lnTo>
                  <a:lnTo>
                    <a:pt x="51" y="76"/>
                  </a:lnTo>
                  <a:lnTo>
                    <a:pt x="49" y="78"/>
                  </a:lnTo>
                  <a:lnTo>
                    <a:pt x="47" y="79"/>
                  </a:lnTo>
                  <a:lnTo>
                    <a:pt x="43" y="80"/>
                  </a:lnTo>
                  <a:lnTo>
                    <a:pt x="41" y="82"/>
                  </a:lnTo>
                  <a:lnTo>
                    <a:pt x="37" y="82"/>
                  </a:lnTo>
                  <a:lnTo>
                    <a:pt x="33" y="84"/>
                  </a:lnTo>
                  <a:lnTo>
                    <a:pt x="30" y="86"/>
                  </a:lnTo>
                  <a:lnTo>
                    <a:pt x="27" y="90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27" name="Freeform 434"/>
            <p:cNvSpPr>
              <a:spLocks/>
            </p:cNvSpPr>
            <p:nvPr/>
          </p:nvSpPr>
          <p:spPr bwMode="auto">
            <a:xfrm>
              <a:off x="4243192" y="4438031"/>
              <a:ext cx="513553" cy="423722"/>
            </a:xfrm>
            <a:custGeom>
              <a:avLst/>
              <a:gdLst>
                <a:gd name="T0" fmla="*/ 28 w 236"/>
                <a:gd name="T1" fmla="*/ 83 h 207"/>
                <a:gd name="T2" fmla="*/ 33 w 236"/>
                <a:gd name="T3" fmla="*/ 79 h 207"/>
                <a:gd name="T4" fmla="*/ 35 w 236"/>
                <a:gd name="T5" fmla="*/ 72 h 207"/>
                <a:gd name="T6" fmla="*/ 36 w 236"/>
                <a:gd name="T7" fmla="*/ 68 h 207"/>
                <a:gd name="T8" fmla="*/ 42 w 236"/>
                <a:gd name="T9" fmla="*/ 63 h 207"/>
                <a:gd name="T10" fmla="*/ 45 w 236"/>
                <a:gd name="T11" fmla="*/ 59 h 207"/>
                <a:gd name="T12" fmla="*/ 49 w 236"/>
                <a:gd name="T13" fmla="*/ 62 h 207"/>
                <a:gd name="T14" fmla="*/ 53 w 236"/>
                <a:gd name="T15" fmla="*/ 62 h 207"/>
                <a:gd name="T16" fmla="*/ 62 w 236"/>
                <a:gd name="T17" fmla="*/ 63 h 207"/>
                <a:gd name="T18" fmla="*/ 68 w 236"/>
                <a:gd name="T19" fmla="*/ 62 h 207"/>
                <a:gd name="T20" fmla="*/ 72 w 236"/>
                <a:gd name="T21" fmla="*/ 58 h 207"/>
                <a:gd name="T22" fmla="*/ 71 w 236"/>
                <a:gd name="T23" fmla="*/ 54 h 207"/>
                <a:gd name="T24" fmla="*/ 83 w 236"/>
                <a:gd name="T25" fmla="*/ 44 h 207"/>
                <a:gd name="T26" fmla="*/ 87 w 236"/>
                <a:gd name="T27" fmla="*/ 39 h 207"/>
                <a:gd name="T28" fmla="*/ 92 w 236"/>
                <a:gd name="T29" fmla="*/ 41 h 207"/>
                <a:gd name="T30" fmla="*/ 98 w 236"/>
                <a:gd name="T31" fmla="*/ 43 h 207"/>
                <a:gd name="T32" fmla="*/ 104 w 236"/>
                <a:gd name="T33" fmla="*/ 40 h 207"/>
                <a:gd name="T34" fmla="*/ 107 w 236"/>
                <a:gd name="T35" fmla="*/ 34 h 207"/>
                <a:gd name="T36" fmla="*/ 108 w 236"/>
                <a:gd name="T37" fmla="*/ 30 h 207"/>
                <a:gd name="T38" fmla="*/ 113 w 236"/>
                <a:gd name="T39" fmla="*/ 29 h 207"/>
                <a:gd name="T40" fmla="*/ 116 w 236"/>
                <a:gd name="T41" fmla="*/ 22 h 207"/>
                <a:gd name="T42" fmla="*/ 117 w 236"/>
                <a:gd name="T43" fmla="*/ 16 h 207"/>
                <a:gd name="T44" fmla="*/ 116 w 236"/>
                <a:gd name="T45" fmla="*/ 13 h 207"/>
                <a:gd name="T46" fmla="*/ 113 w 236"/>
                <a:gd name="T47" fmla="*/ 7 h 207"/>
                <a:gd name="T48" fmla="*/ 118 w 236"/>
                <a:gd name="T49" fmla="*/ 4 h 207"/>
                <a:gd name="T50" fmla="*/ 104 w 236"/>
                <a:gd name="T51" fmla="*/ 1 h 207"/>
                <a:gd name="T52" fmla="*/ 89 w 236"/>
                <a:gd name="T53" fmla="*/ 5 h 207"/>
                <a:gd name="T54" fmla="*/ 68 w 236"/>
                <a:gd name="T55" fmla="*/ 11 h 207"/>
                <a:gd name="T56" fmla="*/ 69 w 236"/>
                <a:gd name="T57" fmla="*/ 20 h 207"/>
                <a:gd name="T58" fmla="*/ 55 w 236"/>
                <a:gd name="T59" fmla="*/ 27 h 207"/>
                <a:gd name="T60" fmla="*/ 38 w 236"/>
                <a:gd name="T61" fmla="*/ 42 h 207"/>
                <a:gd name="T62" fmla="*/ 32 w 236"/>
                <a:gd name="T63" fmla="*/ 48 h 207"/>
                <a:gd name="T64" fmla="*/ 6 w 236"/>
                <a:gd name="T65" fmla="*/ 68 h 207"/>
                <a:gd name="T66" fmla="*/ 4 w 236"/>
                <a:gd name="T67" fmla="*/ 74 h 207"/>
                <a:gd name="T68" fmla="*/ 2 w 236"/>
                <a:gd name="T69" fmla="*/ 81 h 207"/>
                <a:gd name="T70" fmla="*/ 0 w 236"/>
                <a:gd name="T71" fmla="*/ 86 h 207"/>
                <a:gd name="T72" fmla="*/ 1 w 236"/>
                <a:gd name="T73" fmla="*/ 90 h 207"/>
                <a:gd name="T74" fmla="*/ 5 w 236"/>
                <a:gd name="T75" fmla="*/ 93 h 207"/>
                <a:gd name="T76" fmla="*/ 7 w 236"/>
                <a:gd name="T77" fmla="*/ 98 h 207"/>
                <a:gd name="T78" fmla="*/ 12 w 236"/>
                <a:gd name="T79" fmla="*/ 104 h 207"/>
                <a:gd name="T80" fmla="*/ 16 w 236"/>
                <a:gd name="T81" fmla="*/ 102 h 207"/>
                <a:gd name="T82" fmla="*/ 19 w 236"/>
                <a:gd name="T83" fmla="*/ 102 h 207"/>
                <a:gd name="T84" fmla="*/ 21 w 236"/>
                <a:gd name="T85" fmla="*/ 96 h 207"/>
                <a:gd name="T86" fmla="*/ 24 w 236"/>
                <a:gd name="T87" fmla="*/ 90 h 20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36" h="207">
                  <a:moveTo>
                    <a:pt x="51" y="176"/>
                  </a:moveTo>
                  <a:lnTo>
                    <a:pt x="54" y="168"/>
                  </a:lnTo>
                  <a:lnTo>
                    <a:pt x="56" y="165"/>
                  </a:lnTo>
                  <a:lnTo>
                    <a:pt x="59" y="164"/>
                  </a:lnTo>
                  <a:lnTo>
                    <a:pt x="64" y="162"/>
                  </a:lnTo>
                  <a:lnTo>
                    <a:pt x="66" y="158"/>
                  </a:lnTo>
                  <a:lnTo>
                    <a:pt x="68" y="152"/>
                  </a:lnTo>
                  <a:lnTo>
                    <a:pt x="69" y="148"/>
                  </a:lnTo>
                  <a:lnTo>
                    <a:pt x="70" y="143"/>
                  </a:lnTo>
                  <a:lnTo>
                    <a:pt x="72" y="140"/>
                  </a:lnTo>
                  <a:lnTo>
                    <a:pt x="72" y="137"/>
                  </a:lnTo>
                  <a:lnTo>
                    <a:pt x="71" y="136"/>
                  </a:lnTo>
                  <a:lnTo>
                    <a:pt x="71" y="134"/>
                  </a:lnTo>
                  <a:lnTo>
                    <a:pt x="77" y="129"/>
                  </a:lnTo>
                  <a:lnTo>
                    <a:pt x="83" y="125"/>
                  </a:lnTo>
                  <a:lnTo>
                    <a:pt x="84" y="124"/>
                  </a:lnTo>
                  <a:lnTo>
                    <a:pt x="87" y="119"/>
                  </a:lnTo>
                  <a:lnTo>
                    <a:pt x="89" y="118"/>
                  </a:lnTo>
                  <a:lnTo>
                    <a:pt x="92" y="122"/>
                  </a:lnTo>
                  <a:lnTo>
                    <a:pt x="94" y="123"/>
                  </a:lnTo>
                  <a:lnTo>
                    <a:pt x="98" y="123"/>
                  </a:lnTo>
                  <a:lnTo>
                    <a:pt x="100" y="122"/>
                  </a:lnTo>
                  <a:lnTo>
                    <a:pt x="104" y="125"/>
                  </a:lnTo>
                  <a:lnTo>
                    <a:pt x="106" y="124"/>
                  </a:lnTo>
                  <a:lnTo>
                    <a:pt x="110" y="123"/>
                  </a:lnTo>
                  <a:lnTo>
                    <a:pt x="119" y="124"/>
                  </a:lnTo>
                  <a:lnTo>
                    <a:pt x="124" y="125"/>
                  </a:lnTo>
                  <a:lnTo>
                    <a:pt x="126" y="125"/>
                  </a:lnTo>
                  <a:lnTo>
                    <a:pt x="134" y="122"/>
                  </a:lnTo>
                  <a:lnTo>
                    <a:pt x="136" y="123"/>
                  </a:lnTo>
                  <a:lnTo>
                    <a:pt x="137" y="123"/>
                  </a:lnTo>
                  <a:lnTo>
                    <a:pt x="142" y="117"/>
                  </a:lnTo>
                  <a:lnTo>
                    <a:pt x="143" y="115"/>
                  </a:lnTo>
                  <a:lnTo>
                    <a:pt x="138" y="111"/>
                  </a:lnTo>
                  <a:lnTo>
                    <a:pt x="137" y="110"/>
                  </a:lnTo>
                  <a:lnTo>
                    <a:pt x="141" y="107"/>
                  </a:lnTo>
                  <a:lnTo>
                    <a:pt x="155" y="98"/>
                  </a:lnTo>
                  <a:lnTo>
                    <a:pt x="159" y="95"/>
                  </a:lnTo>
                  <a:lnTo>
                    <a:pt x="165" y="87"/>
                  </a:lnTo>
                  <a:lnTo>
                    <a:pt x="167" y="83"/>
                  </a:lnTo>
                  <a:lnTo>
                    <a:pt x="171" y="79"/>
                  </a:lnTo>
                  <a:lnTo>
                    <a:pt x="173" y="77"/>
                  </a:lnTo>
                  <a:lnTo>
                    <a:pt x="178" y="79"/>
                  </a:lnTo>
                  <a:lnTo>
                    <a:pt x="182" y="82"/>
                  </a:lnTo>
                  <a:lnTo>
                    <a:pt x="184" y="82"/>
                  </a:lnTo>
                  <a:lnTo>
                    <a:pt x="186" y="81"/>
                  </a:lnTo>
                  <a:lnTo>
                    <a:pt x="190" y="82"/>
                  </a:lnTo>
                  <a:lnTo>
                    <a:pt x="195" y="86"/>
                  </a:lnTo>
                  <a:lnTo>
                    <a:pt x="196" y="85"/>
                  </a:lnTo>
                  <a:lnTo>
                    <a:pt x="203" y="86"/>
                  </a:lnTo>
                  <a:lnTo>
                    <a:pt x="207" y="79"/>
                  </a:lnTo>
                  <a:lnTo>
                    <a:pt x="209" y="73"/>
                  </a:lnTo>
                  <a:lnTo>
                    <a:pt x="213" y="69"/>
                  </a:lnTo>
                  <a:lnTo>
                    <a:pt x="214" y="68"/>
                  </a:lnTo>
                  <a:lnTo>
                    <a:pt x="213" y="62"/>
                  </a:lnTo>
                  <a:lnTo>
                    <a:pt x="214" y="59"/>
                  </a:lnTo>
                  <a:lnTo>
                    <a:pt x="216" y="59"/>
                  </a:lnTo>
                  <a:lnTo>
                    <a:pt x="221" y="58"/>
                  </a:lnTo>
                  <a:lnTo>
                    <a:pt x="224" y="58"/>
                  </a:lnTo>
                  <a:lnTo>
                    <a:pt x="226" y="57"/>
                  </a:lnTo>
                  <a:lnTo>
                    <a:pt x="228" y="53"/>
                  </a:lnTo>
                  <a:lnTo>
                    <a:pt x="231" y="47"/>
                  </a:lnTo>
                  <a:lnTo>
                    <a:pt x="232" y="44"/>
                  </a:lnTo>
                  <a:lnTo>
                    <a:pt x="232" y="39"/>
                  </a:lnTo>
                  <a:lnTo>
                    <a:pt x="232" y="35"/>
                  </a:lnTo>
                  <a:lnTo>
                    <a:pt x="233" y="32"/>
                  </a:lnTo>
                  <a:lnTo>
                    <a:pt x="233" y="29"/>
                  </a:lnTo>
                  <a:lnTo>
                    <a:pt x="232" y="27"/>
                  </a:lnTo>
                  <a:lnTo>
                    <a:pt x="231" y="25"/>
                  </a:lnTo>
                  <a:lnTo>
                    <a:pt x="230" y="23"/>
                  </a:lnTo>
                  <a:lnTo>
                    <a:pt x="226" y="16"/>
                  </a:lnTo>
                  <a:lnTo>
                    <a:pt x="225" y="13"/>
                  </a:lnTo>
                  <a:lnTo>
                    <a:pt x="225" y="10"/>
                  </a:lnTo>
                  <a:lnTo>
                    <a:pt x="226" y="9"/>
                  </a:lnTo>
                  <a:lnTo>
                    <a:pt x="236" y="7"/>
                  </a:lnTo>
                  <a:lnTo>
                    <a:pt x="228" y="3"/>
                  </a:lnTo>
                  <a:lnTo>
                    <a:pt x="219" y="0"/>
                  </a:lnTo>
                  <a:lnTo>
                    <a:pt x="208" y="1"/>
                  </a:lnTo>
                  <a:lnTo>
                    <a:pt x="200" y="0"/>
                  </a:lnTo>
                  <a:lnTo>
                    <a:pt x="182" y="9"/>
                  </a:lnTo>
                  <a:lnTo>
                    <a:pt x="178" y="10"/>
                  </a:lnTo>
                  <a:lnTo>
                    <a:pt x="156" y="14"/>
                  </a:lnTo>
                  <a:lnTo>
                    <a:pt x="154" y="17"/>
                  </a:lnTo>
                  <a:lnTo>
                    <a:pt x="136" y="22"/>
                  </a:lnTo>
                  <a:lnTo>
                    <a:pt x="140" y="29"/>
                  </a:lnTo>
                  <a:lnTo>
                    <a:pt x="141" y="33"/>
                  </a:lnTo>
                  <a:lnTo>
                    <a:pt x="138" y="39"/>
                  </a:lnTo>
                  <a:lnTo>
                    <a:pt x="128" y="46"/>
                  </a:lnTo>
                  <a:lnTo>
                    <a:pt x="114" y="51"/>
                  </a:lnTo>
                  <a:lnTo>
                    <a:pt x="110" y="53"/>
                  </a:lnTo>
                  <a:lnTo>
                    <a:pt x="93" y="70"/>
                  </a:lnTo>
                  <a:lnTo>
                    <a:pt x="87" y="76"/>
                  </a:lnTo>
                  <a:lnTo>
                    <a:pt x="76" y="83"/>
                  </a:lnTo>
                  <a:lnTo>
                    <a:pt x="71" y="86"/>
                  </a:lnTo>
                  <a:lnTo>
                    <a:pt x="68" y="92"/>
                  </a:lnTo>
                  <a:lnTo>
                    <a:pt x="64" y="95"/>
                  </a:lnTo>
                  <a:lnTo>
                    <a:pt x="53" y="100"/>
                  </a:lnTo>
                  <a:lnTo>
                    <a:pt x="17" y="133"/>
                  </a:lnTo>
                  <a:lnTo>
                    <a:pt x="11" y="136"/>
                  </a:lnTo>
                  <a:lnTo>
                    <a:pt x="6" y="136"/>
                  </a:lnTo>
                  <a:lnTo>
                    <a:pt x="6" y="142"/>
                  </a:lnTo>
                  <a:lnTo>
                    <a:pt x="8" y="148"/>
                  </a:lnTo>
                  <a:lnTo>
                    <a:pt x="8" y="153"/>
                  </a:lnTo>
                  <a:lnTo>
                    <a:pt x="6" y="159"/>
                  </a:lnTo>
                  <a:lnTo>
                    <a:pt x="3" y="162"/>
                  </a:lnTo>
                  <a:lnTo>
                    <a:pt x="2" y="166"/>
                  </a:lnTo>
                  <a:lnTo>
                    <a:pt x="2" y="167"/>
                  </a:lnTo>
                  <a:lnTo>
                    <a:pt x="0" y="172"/>
                  </a:lnTo>
                  <a:lnTo>
                    <a:pt x="0" y="176"/>
                  </a:lnTo>
                  <a:lnTo>
                    <a:pt x="3" y="178"/>
                  </a:lnTo>
                  <a:lnTo>
                    <a:pt x="2" y="180"/>
                  </a:lnTo>
                  <a:lnTo>
                    <a:pt x="2" y="183"/>
                  </a:lnTo>
                  <a:lnTo>
                    <a:pt x="4" y="184"/>
                  </a:lnTo>
                  <a:lnTo>
                    <a:pt x="10" y="185"/>
                  </a:lnTo>
                  <a:lnTo>
                    <a:pt x="16" y="186"/>
                  </a:lnTo>
                  <a:lnTo>
                    <a:pt x="15" y="191"/>
                  </a:lnTo>
                  <a:lnTo>
                    <a:pt x="14" y="196"/>
                  </a:lnTo>
                  <a:lnTo>
                    <a:pt x="12" y="201"/>
                  </a:lnTo>
                  <a:lnTo>
                    <a:pt x="20" y="206"/>
                  </a:lnTo>
                  <a:lnTo>
                    <a:pt x="23" y="207"/>
                  </a:lnTo>
                  <a:lnTo>
                    <a:pt x="24" y="206"/>
                  </a:lnTo>
                  <a:lnTo>
                    <a:pt x="28" y="203"/>
                  </a:lnTo>
                  <a:lnTo>
                    <a:pt x="32" y="203"/>
                  </a:lnTo>
                  <a:lnTo>
                    <a:pt x="34" y="203"/>
                  </a:lnTo>
                  <a:lnTo>
                    <a:pt x="36" y="204"/>
                  </a:lnTo>
                  <a:lnTo>
                    <a:pt x="38" y="203"/>
                  </a:lnTo>
                  <a:lnTo>
                    <a:pt x="40" y="200"/>
                  </a:lnTo>
                  <a:lnTo>
                    <a:pt x="42" y="196"/>
                  </a:lnTo>
                  <a:lnTo>
                    <a:pt x="42" y="191"/>
                  </a:lnTo>
                  <a:lnTo>
                    <a:pt x="42" y="186"/>
                  </a:lnTo>
                  <a:lnTo>
                    <a:pt x="44" y="183"/>
                  </a:lnTo>
                  <a:lnTo>
                    <a:pt x="47" y="179"/>
                  </a:lnTo>
                  <a:lnTo>
                    <a:pt x="51" y="176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28" name="Freeform 435"/>
            <p:cNvSpPr>
              <a:spLocks/>
            </p:cNvSpPr>
            <p:nvPr/>
          </p:nvSpPr>
          <p:spPr bwMode="auto">
            <a:xfrm>
              <a:off x="4739336" y="4535814"/>
              <a:ext cx="339467" cy="321866"/>
            </a:xfrm>
            <a:custGeom>
              <a:avLst/>
              <a:gdLst>
                <a:gd name="T0" fmla="*/ 6 w 156"/>
                <a:gd name="T1" fmla="*/ 74 h 157"/>
                <a:gd name="T2" fmla="*/ 6 w 156"/>
                <a:gd name="T3" fmla="*/ 69 h 157"/>
                <a:gd name="T4" fmla="*/ 5 w 156"/>
                <a:gd name="T5" fmla="*/ 65 h 157"/>
                <a:gd name="T6" fmla="*/ 5 w 156"/>
                <a:gd name="T7" fmla="*/ 60 h 157"/>
                <a:gd name="T8" fmla="*/ 4 w 156"/>
                <a:gd name="T9" fmla="*/ 53 h 157"/>
                <a:gd name="T10" fmla="*/ 4 w 156"/>
                <a:gd name="T11" fmla="*/ 49 h 157"/>
                <a:gd name="T12" fmla="*/ 5 w 156"/>
                <a:gd name="T13" fmla="*/ 43 h 157"/>
                <a:gd name="T14" fmla="*/ 3 w 156"/>
                <a:gd name="T15" fmla="*/ 39 h 157"/>
                <a:gd name="T16" fmla="*/ 0 w 156"/>
                <a:gd name="T17" fmla="*/ 33 h 157"/>
                <a:gd name="T18" fmla="*/ 3 w 156"/>
                <a:gd name="T19" fmla="*/ 28 h 157"/>
                <a:gd name="T20" fmla="*/ 2 w 156"/>
                <a:gd name="T21" fmla="*/ 23 h 157"/>
                <a:gd name="T22" fmla="*/ 5 w 156"/>
                <a:gd name="T23" fmla="*/ 20 h 157"/>
                <a:gd name="T24" fmla="*/ 9 w 156"/>
                <a:gd name="T25" fmla="*/ 19 h 157"/>
                <a:gd name="T26" fmla="*/ 12 w 156"/>
                <a:gd name="T27" fmla="*/ 18 h 157"/>
                <a:gd name="T28" fmla="*/ 14 w 156"/>
                <a:gd name="T29" fmla="*/ 16 h 157"/>
                <a:gd name="T30" fmla="*/ 13 w 156"/>
                <a:gd name="T31" fmla="*/ 13 h 157"/>
                <a:gd name="T32" fmla="*/ 15 w 156"/>
                <a:gd name="T33" fmla="*/ 12 h 157"/>
                <a:gd name="T34" fmla="*/ 19 w 156"/>
                <a:gd name="T35" fmla="*/ 11 h 157"/>
                <a:gd name="T36" fmla="*/ 21 w 156"/>
                <a:gd name="T37" fmla="*/ 8 h 157"/>
                <a:gd name="T38" fmla="*/ 23 w 156"/>
                <a:gd name="T39" fmla="*/ 7 h 157"/>
                <a:gd name="T40" fmla="*/ 27 w 156"/>
                <a:gd name="T41" fmla="*/ 0 h 157"/>
                <a:gd name="T42" fmla="*/ 30 w 156"/>
                <a:gd name="T43" fmla="*/ 1 h 157"/>
                <a:gd name="T44" fmla="*/ 33 w 156"/>
                <a:gd name="T45" fmla="*/ 2 h 157"/>
                <a:gd name="T46" fmla="*/ 37 w 156"/>
                <a:gd name="T47" fmla="*/ 3 h 157"/>
                <a:gd name="T48" fmla="*/ 39 w 156"/>
                <a:gd name="T49" fmla="*/ 7 h 157"/>
                <a:gd name="T50" fmla="*/ 42 w 156"/>
                <a:gd name="T51" fmla="*/ 8 h 157"/>
                <a:gd name="T52" fmla="*/ 45 w 156"/>
                <a:gd name="T53" fmla="*/ 5 h 157"/>
                <a:gd name="T54" fmla="*/ 52 w 156"/>
                <a:gd name="T55" fmla="*/ 3 h 157"/>
                <a:gd name="T56" fmla="*/ 56 w 156"/>
                <a:gd name="T57" fmla="*/ 7 h 157"/>
                <a:gd name="T58" fmla="*/ 59 w 156"/>
                <a:gd name="T59" fmla="*/ 9 h 157"/>
                <a:gd name="T60" fmla="*/ 61 w 156"/>
                <a:gd name="T61" fmla="*/ 12 h 157"/>
                <a:gd name="T62" fmla="*/ 60 w 156"/>
                <a:gd name="T63" fmla="*/ 18 h 157"/>
                <a:gd name="T64" fmla="*/ 62 w 156"/>
                <a:gd name="T65" fmla="*/ 18 h 157"/>
                <a:gd name="T66" fmla="*/ 66 w 156"/>
                <a:gd name="T67" fmla="*/ 18 h 157"/>
                <a:gd name="T68" fmla="*/ 72 w 156"/>
                <a:gd name="T69" fmla="*/ 16 h 157"/>
                <a:gd name="T70" fmla="*/ 75 w 156"/>
                <a:gd name="T71" fmla="*/ 15 h 157"/>
                <a:gd name="T72" fmla="*/ 78 w 156"/>
                <a:gd name="T73" fmla="*/ 17 h 157"/>
                <a:gd name="T74" fmla="*/ 78 w 156"/>
                <a:gd name="T75" fmla="*/ 21 h 157"/>
                <a:gd name="T76" fmla="*/ 77 w 156"/>
                <a:gd name="T77" fmla="*/ 24 h 157"/>
                <a:gd name="T78" fmla="*/ 74 w 156"/>
                <a:gd name="T79" fmla="*/ 26 h 157"/>
                <a:gd name="T80" fmla="*/ 71 w 156"/>
                <a:gd name="T81" fmla="*/ 29 h 157"/>
                <a:gd name="T82" fmla="*/ 69 w 156"/>
                <a:gd name="T83" fmla="*/ 32 h 157"/>
                <a:gd name="T84" fmla="*/ 68 w 156"/>
                <a:gd name="T85" fmla="*/ 34 h 157"/>
                <a:gd name="T86" fmla="*/ 67 w 156"/>
                <a:gd name="T87" fmla="*/ 37 h 157"/>
                <a:gd name="T88" fmla="*/ 68 w 156"/>
                <a:gd name="T89" fmla="*/ 41 h 157"/>
                <a:gd name="T90" fmla="*/ 66 w 156"/>
                <a:gd name="T91" fmla="*/ 44 h 157"/>
                <a:gd name="T92" fmla="*/ 67 w 156"/>
                <a:gd name="T93" fmla="*/ 48 h 157"/>
                <a:gd name="T94" fmla="*/ 68 w 156"/>
                <a:gd name="T95" fmla="*/ 51 h 157"/>
                <a:gd name="T96" fmla="*/ 69 w 156"/>
                <a:gd name="T97" fmla="*/ 54 h 157"/>
                <a:gd name="T98" fmla="*/ 66 w 156"/>
                <a:gd name="T99" fmla="*/ 59 h 157"/>
                <a:gd name="T100" fmla="*/ 58 w 156"/>
                <a:gd name="T101" fmla="*/ 66 h 157"/>
                <a:gd name="T102" fmla="*/ 47 w 156"/>
                <a:gd name="T103" fmla="*/ 68 h 157"/>
                <a:gd name="T104" fmla="*/ 44 w 156"/>
                <a:gd name="T105" fmla="*/ 72 h 157"/>
                <a:gd name="T106" fmla="*/ 43 w 156"/>
                <a:gd name="T107" fmla="*/ 76 h 157"/>
                <a:gd name="T108" fmla="*/ 40 w 156"/>
                <a:gd name="T109" fmla="*/ 78 h 157"/>
                <a:gd name="T110" fmla="*/ 32 w 156"/>
                <a:gd name="T111" fmla="*/ 77 h 157"/>
                <a:gd name="T112" fmla="*/ 30 w 156"/>
                <a:gd name="T113" fmla="*/ 78 h 157"/>
                <a:gd name="T114" fmla="*/ 21 w 156"/>
                <a:gd name="T115" fmla="*/ 74 h 157"/>
                <a:gd name="T116" fmla="*/ 15 w 156"/>
                <a:gd name="T117" fmla="*/ 75 h 15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56" h="157">
                  <a:moveTo>
                    <a:pt x="12" y="151"/>
                  </a:moveTo>
                  <a:lnTo>
                    <a:pt x="11" y="147"/>
                  </a:lnTo>
                  <a:lnTo>
                    <a:pt x="12" y="142"/>
                  </a:lnTo>
                  <a:lnTo>
                    <a:pt x="12" y="138"/>
                  </a:lnTo>
                  <a:lnTo>
                    <a:pt x="11" y="133"/>
                  </a:lnTo>
                  <a:lnTo>
                    <a:pt x="10" y="129"/>
                  </a:lnTo>
                  <a:lnTo>
                    <a:pt x="7" y="125"/>
                  </a:lnTo>
                  <a:lnTo>
                    <a:pt x="9" y="120"/>
                  </a:lnTo>
                  <a:lnTo>
                    <a:pt x="9" y="115"/>
                  </a:lnTo>
                  <a:lnTo>
                    <a:pt x="7" y="105"/>
                  </a:lnTo>
                  <a:lnTo>
                    <a:pt x="7" y="100"/>
                  </a:lnTo>
                  <a:lnTo>
                    <a:pt x="7" y="97"/>
                  </a:lnTo>
                  <a:lnTo>
                    <a:pt x="9" y="91"/>
                  </a:lnTo>
                  <a:lnTo>
                    <a:pt x="9" y="86"/>
                  </a:lnTo>
                  <a:lnTo>
                    <a:pt x="6" y="82"/>
                  </a:lnTo>
                  <a:lnTo>
                    <a:pt x="5" y="77"/>
                  </a:lnTo>
                  <a:lnTo>
                    <a:pt x="1" y="71"/>
                  </a:lnTo>
                  <a:lnTo>
                    <a:pt x="0" y="66"/>
                  </a:lnTo>
                  <a:lnTo>
                    <a:pt x="1" y="62"/>
                  </a:lnTo>
                  <a:lnTo>
                    <a:pt x="5" y="56"/>
                  </a:lnTo>
                  <a:lnTo>
                    <a:pt x="5" y="52"/>
                  </a:lnTo>
                  <a:lnTo>
                    <a:pt x="3" y="46"/>
                  </a:lnTo>
                  <a:lnTo>
                    <a:pt x="6" y="42"/>
                  </a:lnTo>
                  <a:lnTo>
                    <a:pt x="9" y="40"/>
                  </a:lnTo>
                  <a:lnTo>
                    <a:pt x="13" y="38"/>
                  </a:lnTo>
                  <a:lnTo>
                    <a:pt x="17" y="38"/>
                  </a:lnTo>
                  <a:lnTo>
                    <a:pt x="19" y="36"/>
                  </a:lnTo>
                  <a:lnTo>
                    <a:pt x="23" y="35"/>
                  </a:lnTo>
                  <a:lnTo>
                    <a:pt x="25" y="34"/>
                  </a:lnTo>
                  <a:lnTo>
                    <a:pt x="27" y="32"/>
                  </a:lnTo>
                  <a:lnTo>
                    <a:pt x="25" y="28"/>
                  </a:lnTo>
                  <a:lnTo>
                    <a:pt x="25" y="26"/>
                  </a:lnTo>
                  <a:lnTo>
                    <a:pt x="27" y="26"/>
                  </a:lnTo>
                  <a:lnTo>
                    <a:pt x="30" y="24"/>
                  </a:lnTo>
                  <a:lnTo>
                    <a:pt x="35" y="23"/>
                  </a:lnTo>
                  <a:lnTo>
                    <a:pt x="37" y="22"/>
                  </a:lnTo>
                  <a:lnTo>
                    <a:pt x="40" y="18"/>
                  </a:lnTo>
                  <a:lnTo>
                    <a:pt x="42" y="16"/>
                  </a:lnTo>
                  <a:lnTo>
                    <a:pt x="43" y="16"/>
                  </a:lnTo>
                  <a:lnTo>
                    <a:pt x="46" y="14"/>
                  </a:lnTo>
                  <a:lnTo>
                    <a:pt x="52" y="2"/>
                  </a:lnTo>
                  <a:lnTo>
                    <a:pt x="54" y="0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4" y="2"/>
                  </a:lnTo>
                  <a:lnTo>
                    <a:pt x="66" y="3"/>
                  </a:lnTo>
                  <a:lnTo>
                    <a:pt x="70" y="4"/>
                  </a:lnTo>
                  <a:lnTo>
                    <a:pt x="73" y="6"/>
                  </a:lnTo>
                  <a:lnTo>
                    <a:pt x="77" y="10"/>
                  </a:lnTo>
                  <a:lnTo>
                    <a:pt x="78" y="14"/>
                  </a:lnTo>
                  <a:lnTo>
                    <a:pt x="79" y="16"/>
                  </a:lnTo>
                  <a:lnTo>
                    <a:pt x="83" y="15"/>
                  </a:lnTo>
                  <a:lnTo>
                    <a:pt x="88" y="11"/>
                  </a:lnTo>
                  <a:lnTo>
                    <a:pt x="90" y="10"/>
                  </a:lnTo>
                  <a:lnTo>
                    <a:pt x="101" y="5"/>
                  </a:lnTo>
                  <a:lnTo>
                    <a:pt x="103" y="5"/>
                  </a:lnTo>
                  <a:lnTo>
                    <a:pt x="103" y="9"/>
                  </a:lnTo>
                  <a:lnTo>
                    <a:pt x="112" y="14"/>
                  </a:lnTo>
                  <a:lnTo>
                    <a:pt x="115" y="15"/>
                  </a:lnTo>
                  <a:lnTo>
                    <a:pt x="118" y="17"/>
                  </a:lnTo>
                  <a:lnTo>
                    <a:pt x="121" y="22"/>
                  </a:lnTo>
                  <a:lnTo>
                    <a:pt x="121" y="24"/>
                  </a:lnTo>
                  <a:lnTo>
                    <a:pt x="119" y="33"/>
                  </a:lnTo>
                  <a:lnTo>
                    <a:pt x="120" y="35"/>
                  </a:lnTo>
                  <a:lnTo>
                    <a:pt x="121" y="36"/>
                  </a:lnTo>
                  <a:lnTo>
                    <a:pt x="124" y="35"/>
                  </a:lnTo>
                  <a:lnTo>
                    <a:pt x="127" y="36"/>
                  </a:lnTo>
                  <a:lnTo>
                    <a:pt x="132" y="35"/>
                  </a:lnTo>
                  <a:lnTo>
                    <a:pt x="135" y="36"/>
                  </a:lnTo>
                  <a:lnTo>
                    <a:pt x="143" y="32"/>
                  </a:lnTo>
                  <a:lnTo>
                    <a:pt x="147" y="29"/>
                  </a:lnTo>
                  <a:lnTo>
                    <a:pt x="150" y="29"/>
                  </a:lnTo>
                  <a:lnTo>
                    <a:pt x="155" y="29"/>
                  </a:lnTo>
                  <a:lnTo>
                    <a:pt x="155" y="34"/>
                  </a:lnTo>
                  <a:lnTo>
                    <a:pt x="156" y="38"/>
                  </a:lnTo>
                  <a:lnTo>
                    <a:pt x="156" y="41"/>
                  </a:lnTo>
                  <a:lnTo>
                    <a:pt x="155" y="44"/>
                  </a:lnTo>
                  <a:lnTo>
                    <a:pt x="153" y="47"/>
                  </a:lnTo>
                  <a:lnTo>
                    <a:pt x="149" y="50"/>
                  </a:lnTo>
                  <a:lnTo>
                    <a:pt x="148" y="52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3"/>
                  </a:lnTo>
                  <a:lnTo>
                    <a:pt x="137" y="64"/>
                  </a:lnTo>
                  <a:lnTo>
                    <a:pt x="136" y="66"/>
                  </a:lnTo>
                  <a:lnTo>
                    <a:pt x="136" y="68"/>
                  </a:lnTo>
                  <a:lnTo>
                    <a:pt x="135" y="71"/>
                  </a:lnTo>
                  <a:lnTo>
                    <a:pt x="133" y="74"/>
                  </a:lnTo>
                  <a:lnTo>
                    <a:pt x="133" y="76"/>
                  </a:lnTo>
                  <a:lnTo>
                    <a:pt x="135" y="81"/>
                  </a:lnTo>
                  <a:lnTo>
                    <a:pt x="135" y="83"/>
                  </a:lnTo>
                  <a:lnTo>
                    <a:pt x="132" y="88"/>
                  </a:lnTo>
                  <a:lnTo>
                    <a:pt x="133" y="90"/>
                  </a:lnTo>
                  <a:lnTo>
                    <a:pt x="133" y="96"/>
                  </a:lnTo>
                  <a:lnTo>
                    <a:pt x="135" y="101"/>
                  </a:lnTo>
                  <a:lnTo>
                    <a:pt x="136" y="102"/>
                  </a:lnTo>
                  <a:lnTo>
                    <a:pt x="138" y="106"/>
                  </a:lnTo>
                  <a:lnTo>
                    <a:pt x="138" y="108"/>
                  </a:lnTo>
                  <a:lnTo>
                    <a:pt x="139" y="114"/>
                  </a:lnTo>
                  <a:lnTo>
                    <a:pt x="131" y="117"/>
                  </a:lnTo>
                  <a:lnTo>
                    <a:pt x="126" y="119"/>
                  </a:lnTo>
                  <a:lnTo>
                    <a:pt x="115" y="131"/>
                  </a:lnTo>
                  <a:lnTo>
                    <a:pt x="112" y="133"/>
                  </a:lnTo>
                  <a:lnTo>
                    <a:pt x="93" y="136"/>
                  </a:lnTo>
                  <a:lnTo>
                    <a:pt x="90" y="138"/>
                  </a:lnTo>
                  <a:lnTo>
                    <a:pt x="88" y="143"/>
                  </a:lnTo>
                  <a:lnTo>
                    <a:pt x="87" y="148"/>
                  </a:lnTo>
                  <a:lnTo>
                    <a:pt x="85" y="151"/>
                  </a:lnTo>
                  <a:lnTo>
                    <a:pt x="83" y="154"/>
                  </a:lnTo>
                  <a:lnTo>
                    <a:pt x="79" y="155"/>
                  </a:lnTo>
                  <a:lnTo>
                    <a:pt x="66" y="153"/>
                  </a:lnTo>
                  <a:lnTo>
                    <a:pt x="64" y="154"/>
                  </a:lnTo>
                  <a:lnTo>
                    <a:pt x="63" y="157"/>
                  </a:lnTo>
                  <a:lnTo>
                    <a:pt x="60" y="156"/>
                  </a:lnTo>
                  <a:lnTo>
                    <a:pt x="46" y="148"/>
                  </a:lnTo>
                  <a:lnTo>
                    <a:pt x="42" y="148"/>
                  </a:lnTo>
                  <a:lnTo>
                    <a:pt x="34" y="150"/>
                  </a:lnTo>
                  <a:lnTo>
                    <a:pt x="30" y="150"/>
                  </a:lnTo>
                  <a:lnTo>
                    <a:pt x="12" y="151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29" name="Freeform 436"/>
            <p:cNvSpPr>
              <a:spLocks/>
            </p:cNvSpPr>
            <p:nvPr/>
          </p:nvSpPr>
          <p:spPr bwMode="auto">
            <a:xfrm>
              <a:off x="4351995" y="4596927"/>
              <a:ext cx="413454" cy="325941"/>
            </a:xfrm>
            <a:custGeom>
              <a:avLst/>
              <a:gdLst>
                <a:gd name="T0" fmla="*/ 10 w 188"/>
                <a:gd name="T1" fmla="*/ 72 h 161"/>
                <a:gd name="T2" fmla="*/ 18 w 188"/>
                <a:gd name="T3" fmla="*/ 68 h 161"/>
                <a:gd name="T4" fmla="*/ 23 w 188"/>
                <a:gd name="T5" fmla="*/ 68 h 161"/>
                <a:gd name="T6" fmla="*/ 25 w 188"/>
                <a:gd name="T7" fmla="*/ 72 h 161"/>
                <a:gd name="T8" fmla="*/ 25 w 188"/>
                <a:gd name="T9" fmla="*/ 75 h 161"/>
                <a:gd name="T10" fmla="*/ 28 w 188"/>
                <a:gd name="T11" fmla="*/ 80 h 161"/>
                <a:gd name="T12" fmla="*/ 31 w 188"/>
                <a:gd name="T13" fmla="*/ 77 h 161"/>
                <a:gd name="T14" fmla="*/ 40 w 188"/>
                <a:gd name="T15" fmla="*/ 76 h 161"/>
                <a:gd name="T16" fmla="*/ 43 w 188"/>
                <a:gd name="T17" fmla="*/ 75 h 161"/>
                <a:gd name="T18" fmla="*/ 48 w 188"/>
                <a:gd name="T19" fmla="*/ 71 h 161"/>
                <a:gd name="T20" fmla="*/ 52 w 188"/>
                <a:gd name="T21" fmla="*/ 71 h 161"/>
                <a:gd name="T22" fmla="*/ 55 w 188"/>
                <a:gd name="T23" fmla="*/ 69 h 161"/>
                <a:gd name="T24" fmla="*/ 67 w 188"/>
                <a:gd name="T25" fmla="*/ 67 h 161"/>
                <a:gd name="T26" fmla="*/ 82 w 188"/>
                <a:gd name="T27" fmla="*/ 63 h 161"/>
                <a:gd name="T28" fmla="*/ 85 w 188"/>
                <a:gd name="T29" fmla="*/ 65 h 161"/>
                <a:gd name="T30" fmla="*/ 89 w 188"/>
                <a:gd name="T31" fmla="*/ 65 h 161"/>
                <a:gd name="T32" fmla="*/ 95 w 188"/>
                <a:gd name="T33" fmla="*/ 60 h 161"/>
                <a:gd name="T34" fmla="*/ 95 w 188"/>
                <a:gd name="T35" fmla="*/ 56 h 161"/>
                <a:gd name="T36" fmla="*/ 94 w 188"/>
                <a:gd name="T37" fmla="*/ 51 h 161"/>
                <a:gd name="T38" fmla="*/ 92 w 188"/>
                <a:gd name="T39" fmla="*/ 47 h 161"/>
                <a:gd name="T40" fmla="*/ 93 w 188"/>
                <a:gd name="T41" fmla="*/ 42 h 161"/>
                <a:gd name="T42" fmla="*/ 92 w 188"/>
                <a:gd name="T43" fmla="*/ 35 h 161"/>
                <a:gd name="T44" fmla="*/ 93 w 188"/>
                <a:gd name="T45" fmla="*/ 30 h 161"/>
                <a:gd name="T46" fmla="*/ 92 w 188"/>
                <a:gd name="T47" fmla="*/ 26 h 161"/>
                <a:gd name="T48" fmla="*/ 89 w 188"/>
                <a:gd name="T49" fmla="*/ 20 h 161"/>
                <a:gd name="T50" fmla="*/ 89 w 188"/>
                <a:gd name="T51" fmla="*/ 16 h 161"/>
                <a:gd name="T52" fmla="*/ 91 w 188"/>
                <a:gd name="T53" fmla="*/ 11 h 161"/>
                <a:gd name="T54" fmla="*/ 89 w 188"/>
                <a:gd name="T55" fmla="*/ 6 h 161"/>
                <a:gd name="T56" fmla="*/ 84 w 188"/>
                <a:gd name="T57" fmla="*/ 4 h 161"/>
                <a:gd name="T58" fmla="*/ 77 w 188"/>
                <a:gd name="T59" fmla="*/ 4 h 161"/>
                <a:gd name="T60" fmla="*/ 73 w 188"/>
                <a:gd name="T61" fmla="*/ 4 h 161"/>
                <a:gd name="T62" fmla="*/ 68 w 188"/>
                <a:gd name="T63" fmla="*/ 2 h 161"/>
                <a:gd name="T64" fmla="*/ 66 w 188"/>
                <a:gd name="T65" fmla="*/ 2 h 161"/>
                <a:gd name="T66" fmla="*/ 62 w 188"/>
                <a:gd name="T67" fmla="*/ 0 h 161"/>
                <a:gd name="T68" fmla="*/ 59 w 188"/>
                <a:gd name="T69" fmla="*/ 3 h 161"/>
                <a:gd name="T70" fmla="*/ 55 w 188"/>
                <a:gd name="T71" fmla="*/ 9 h 161"/>
                <a:gd name="T72" fmla="*/ 45 w 188"/>
                <a:gd name="T73" fmla="*/ 15 h 161"/>
                <a:gd name="T74" fmla="*/ 44 w 188"/>
                <a:gd name="T75" fmla="*/ 17 h 161"/>
                <a:gd name="T76" fmla="*/ 46 w 188"/>
                <a:gd name="T77" fmla="*/ 20 h 161"/>
                <a:gd name="T78" fmla="*/ 43 w 188"/>
                <a:gd name="T79" fmla="*/ 23 h 161"/>
                <a:gd name="T80" fmla="*/ 38 w 188"/>
                <a:gd name="T81" fmla="*/ 24 h 161"/>
                <a:gd name="T82" fmla="*/ 34 w 188"/>
                <a:gd name="T83" fmla="*/ 23 h 161"/>
                <a:gd name="T84" fmla="*/ 28 w 188"/>
                <a:gd name="T85" fmla="*/ 23 h 161"/>
                <a:gd name="T86" fmla="*/ 25 w 188"/>
                <a:gd name="T87" fmla="*/ 22 h 161"/>
                <a:gd name="T88" fmla="*/ 22 w 188"/>
                <a:gd name="T89" fmla="*/ 23 h 161"/>
                <a:gd name="T90" fmla="*/ 19 w 188"/>
                <a:gd name="T91" fmla="*/ 20 h 161"/>
                <a:gd name="T92" fmla="*/ 17 w 188"/>
                <a:gd name="T93" fmla="*/ 23 h 161"/>
                <a:gd name="T94" fmla="*/ 13 w 188"/>
                <a:gd name="T95" fmla="*/ 26 h 161"/>
                <a:gd name="T96" fmla="*/ 10 w 188"/>
                <a:gd name="T97" fmla="*/ 29 h 161"/>
                <a:gd name="T98" fmla="*/ 11 w 188"/>
                <a:gd name="T99" fmla="*/ 31 h 161"/>
                <a:gd name="T100" fmla="*/ 9 w 188"/>
                <a:gd name="T101" fmla="*/ 35 h 161"/>
                <a:gd name="T102" fmla="*/ 8 w 188"/>
                <a:gd name="T103" fmla="*/ 40 h 161"/>
                <a:gd name="T104" fmla="*/ 4 w 188"/>
                <a:gd name="T105" fmla="*/ 43 h 161"/>
                <a:gd name="T106" fmla="*/ 2 w 188"/>
                <a:gd name="T107" fmla="*/ 45 h 161"/>
                <a:gd name="T108" fmla="*/ 1 w 188"/>
                <a:gd name="T109" fmla="*/ 55 h 161"/>
                <a:gd name="T110" fmla="*/ 2 w 188"/>
                <a:gd name="T111" fmla="*/ 60 h 161"/>
                <a:gd name="T112" fmla="*/ 4 w 188"/>
                <a:gd name="T113" fmla="*/ 65 h 161"/>
                <a:gd name="T114" fmla="*/ 4 w 188"/>
                <a:gd name="T115" fmla="*/ 69 h 161"/>
                <a:gd name="T116" fmla="*/ 6 w 188"/>
                <a:gd name="T117" fmla="*/ 72 h 161"/>
                <a:gd name="T118" fmla="*/ 10 w 188"/>
                <a:gd name="T119" fmla="*/ 73 h 16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88" h="161">
                  <a:moveTo>
                    <a:pt x="19" y="148"/>
                  </a:moveTo>
                  <a:lnTo>
                    <a:pt x="20" y="144"/>
                  </a:lnTo>
                  <a:lnTo>
                    <a:pt x="30" y="141"/>
                  </a:lnTo>
                  <a:lnTo>
                    <a:pt x="36" y="136"/>
                  </a:lnTo>
                  <a:lnTo>
                    <a:pt x="41" y="135"/>
                  </a:lnTo>
                  <a:lnTo>
                    <a:pt x="45" y="136"/>
                  </a:lnTo>
                  <a:lnTo>
                    <a:pt x="47" y="139"/>
                  </a:lnTo>
                  <a:lnTo>
                    <a:pt x="49" y="145"/>
                  </a:lnTo>
                  <a:lnTo>
                    <a:pt x="49" y="147"/>
                  </a:lnTo>
                  <a:lnTo>
                    <a:pt x="50" y="151"/>
                  </a:lnTo>
                  <a:lnTo>
                    <a:pt x="53" y="156"/>
                  </a:lnTo>
                  <a:lnTo>
                    <a:pt x="56" y="161"/>
                  </a:lnTo>
                  <a:lnTo>
                    <a:pt x="57" y="160"/>
                  </a:lnTo>
                  <a:lnTo>
                    <a:pt x="62" y="154"/>
                  </a:lnTo>
                  <a:lnTo>
                    <a:pt x="66" y="153"/>
                  </a:lnTo>
                  <a:lnTo>
                    <a:pt x="79" y="153"/>
                  </a:lnTo>
                  <a:lnTo>
                    <a:pt x="83" y="153"/>
                  </a:lnTo>
                  <a:lnTo>
                    <a:pt x="85" y="151"/>
                  </a:lnTo>
                  <a:lnTo>
                    <a:pt x="89" y="149"/>
                  </a:lnTo>
                  <a:lnTo>
                    <a:pt x="95" y="142"/>
                  </a:lnTo>
                  <a:lnTo>
                    <a:pt x="97" y="141"/>
                  </a:lnTo>
                  <a:lnTo>
                    <a:pt x="102" y="142"/>
                  </a:lnTo>
                  <a:lnTo>
                    <a:pt x="104" y="141"/>
                  </a:lnTo>
                  <a:lnTo>
                    <a:pt x="108" y="138"/>
                  </a:lnTo>
                  <a:lnTo>
                    <a:pt x="128" y="136"/>
                  </a:lnTo>
                  <a:lnTo>
                    <a:pt x="133" y="135"/>
                  </a:lnTo>
                  <a:lnTo>
                    <a:pt x="150" y="131"/>
                  </a:lnTo>
                  <a:lnTo>
                    <a:pt x="163" y="126"/>
                  </a:lnTo>
                  <a:lnTo>
                    <a:pt x="167" y="129"/>
                  </a:lnTo>
                  <a:lnTo>
                    <a:pt x="169" y="131"/>
                  </a:lnTo>
                  <a:lnTo>
                    <a:pt x="174" y="133"/>
                  </a:lnTo>
                  <a:lnTo>
                    <a:pt x="176" y="131"/>
                  </a:lnTo>
                  <a:lnTo>
                    <a:pt x="182" y="121"/>
                  </a:lnTo>
                  <a:lnTo>
                    <a:pt x="188" y="121"/>
                  </a:lnTo>
                  <a:lnTo>
                    <a:pt x="187" y="117"/>
                  </a:lnTo>
                  <a:lnTo>
                    <a:pt x="188" y="112"/>
                  </a:lnTo>
                  <a:lnTo>
                    <a:pt x="188" y="108"/>
                  </a:lnTo>
                  <a:lnTo>
                    <a:pt x="187" y="103"/>
                  </a:lnTo>
                  <a:lnTo>
                    <a:pt x="186" y="99"/>
                  </a:lnTo>
                  <a:lnTo>
                    <a:pt x="183" y="95"/>
                  </a:lnTo>
                  <a:lnTo>
                    <a:pt x="185" y="90"/>
                  </a:lnTo>
                  <a:lnTo>
                    <a:pt x="185" y="85"/>
                  </a:lnTo>
                  <a:lnTo>
                    <a:pt x="183" y="75"/>
                  </a:lnTo>
                  <a:lnTo>
                    <a:pt x="183" y="70"/>
                  </a:lnTo>
                  <a:lnTo>
                    <a:pt x="183" y="67"/>
                  </a:lnTo>
                  <a:lnTo>
                    <a:pt x="185" y="61"/>
                  </a:lnTo>
                  <a:lnTo>
                    <a:pt x="185" y="56"/>
                  </a:lnTo>
                  <a:lnTo>
                    <a:pt x="182" y="52"/>
                  </a:lnTo>
                  <a:lnTo>
                    <a:pt x="181" y="47"/>
                  </a:lnTo>
                  <a:lnTo>
                    <a:pt x="177" y="41"/>
                  </a:lnTo>
                  <a:lnTo>
                    <a:pt x="176" y="36"/>
                  </a:lnTo>
                  <a:lnTo>
                    <a:pt x="177" y="32"/>
                  </a:lnTo>
                  <a:lnTo>
                    <a:pt x="181" y="26"/>
                  </a:lnTo>
                  <a:lnTo>
                    <a:pt x="181" y="22"/>
                  </a:lnTo>
                  <a:lnTo>
                    <a:pt x="179" y="16"/>
                  </a:lnTo>
                  <a:lnTo>
                    <a:pt x="176" y="12"/>
                  </a:lnTo>
                  <a:lnTo>
                    <a:pt x="171" y="10"/>
                  </a:lnTo>
                  <a:lnTo>
                    <a:pt x="167" y="8"/>
                  </a:lnTo>
                  <a:lnTo>
                    <a:pt x="161" y="5"/>
                  </a:lnTo>
                  <a:lnTo>
                    <a:pt x="152" y="9"/>
                  </a:lnTo>
                  <a:lnTo>
                    <a:pt x="145" y="8"/>
                  </a:lnTo>
                  <a:lnTo>
                    <a:pt x="144" y="9"/>
                  </a:lnTo>
                  <a:lnTo>
                    <a:pt x="139" y="5"/>
                  </a:lnTo>
                  <a:lnTo>
                    <a:pt x="135" y="4"/>
                  </a:lnTo>
                  <a:lnTo>
                    <a:pt x="133" y="5"/>
                  </a:lnTo>
                  <a:lnTo>
                    <a:pt x="131" y="5"/>
                  </a:lnTo>
                  <a:lnTo>
                    <a:pt x="127" y="2"/>
                  </a:lnTo>
                  <a:lnTo>
                    <a:pt x="122" y="0"/>
                  </a:lnTo>
                  <a:lnTo>
                    <a:pt x="120" y="2"/>
                  </a:lnTo>
                  <a:lnTo>
                    <a:pt x="116" y="6"/>
                  </a:lnTo>
                  <a:lnTo>
                    <a:pt x="114" y="10"/>
                  </a:lnTo>
                  <a:lnTo>
                    <a:pt x="108" y="18"/>
                  </a:lnTo>
                  <a:lnTo>
                    <a:pt x="104" y="21"/>
                  </a:lnTo>
                  <a:lnTo>
                    <a:pt x="90" y="30"/>
                  </a:lnTo>
                  <a:lnTo>
                    <a:pt x="86" y="33"/>
                  </a:lnTo>
                  <a:lnTo>
                    <a:pt x="87" y="34"/>
                  </a:lnTo>
                  <a:lnTo>
                    <a:pt x="92" y="38"/>
                  </a:lnTo>
                  <a:lnTo>
                    <a:pt x="91" y="40"/>
                  </a:lnTo>
                  <a:lnTo>
                    <a:pt x="86" y="46"/>
                  </a:lnTo>
                  <a:lnTo>
                    <a:pt x="85" y="46"/>
                  </a:lnTo>
                  <a:lnTo>
                    <a:pt x="83" y="45"/>
                  </a:lnTo>
                  <a:lnTo>
                    <a:pt x="75" y="48"/>
                  </a:lnTo>
                  <a:lnTo>
                    <a:pt x="73" y="48"/>
                  </a:lnTo>
                  <a:lnTo>
                    <a:pt x="68" y="47"/>
                  </a:lnTo>
                  <a:lnTo>
                    <a:pt x="59" y="46"/>
                  </a:lnTo>
                  <a:lnTo>
                    <a:pt x="55" y="47"/>
                  </a:lnTo>
                  <a:lnTo>
                    <a:pt x="53" y="48"/>
                  </a:lnTo>
                  <a:lnTo>
                    <a:pt x="49" y="45"/>
                  </a:lnTo>
                  <a:lnTo>
                    <a:pt x="47" y="46"/>
                  </a:lnTo>
                  <a:lnTo>
                    <a:pt x="43" y="46"/>
                  </a:lnTo>
                  <a:lnTo>
                    <a:pt x="41" y="45"/>
                  </a:lnTo>
                  <a:lnTo>
                    <a:pt x="38" y="41"/>
                  </a:lnTo>
                  <a:lnTo>
                    <a:pt x="36" y="42"/>
                  </a:lnTo>
                  <a:lnTo>
                    <a:pt x="33" y="47"/>
                  </a:lnTo>
                  <a:lnTo>
                    <a:pt x="32" y="48"/>
                  </a:lnTo>
                  <a:lnTo>
                    <a:pt x="26" y="52"/>
                  </a:lnTo>
                  <a:lnTo>
                    <a:pt x="20" y="57"/>
                  </a:lnTo>
                  <a:lnTo>
                    <a:pt x="20" y="59"/>
                  </a:lnTo>
                  <a:lnTo>
                    <a:pt x="21" y="60"/>
                  </a:lnTo>
                  <a:lnTo>
                    <a:pt x="21" y="63"/>
                  </a:lnTo>
                  <a:lnTo>
                    <a:pt x="19" y="66"/>
                  </a:lnTo>
                  <a:lnTo>
                    <a:pt x="18" y="71"/>
                  </a:lnTo>
                  <a:lnTo>
                    <a:pt x="17" y="75"/>
                  </a:lnTo>
                  <a:lnTo>
                    <a:pt x="15" y="81"/>
                  </a:lnTo>
                  <a:lnTo>
                    <a:pt x="13" y="85"/>
                  </a:lnTo>
                  <a:lnTo>
                    <a:pt x="8" y="87"/>
                  </a:lnTo>
                  <a:lnTo>
                    <a:pt x="5" y="88"/>
                  </a:lnTo>
                  <a:lnTo>
                    <a:pt x="3" y="91"/>
                  </a:lnTo>
                  <a:lnTo>
                    <a:pt x="0" y="99"/>
                  </a:lnTo>
                  <a:lnTo>
                    <a:pt x="2" y="111"/>
                  </a:lnTo>
                  <a:lnTo>
                    <a:pt x="2" y="117"/>
                  </a:lnTo>
                  <a:lnTo>
                    <a:pt x="3" y="120"/>
                  </a:lnTo>
                  <a:lnTo>
                    <a:pt x="7" y="126"/>
                  </a:lnTo>
                  <a:lnTo>
                    <a:pt x="8" y="130"/>
                  </a:lnTo>
                  <a:lnTo>
                    <a:pt x="8" y="133"/>
                  </a:lnTo>
                  <a:lnTo>
                    <a:pt x="8" y="139"/>
                  </a:lnTo>
                  <a:lnTo>
                    <a:pt x="9" y="142"/>
                  </a:lnTo>
                  <a:lnTo>
                    <a:pt x="12" y="144"/>
                  </a:lnTo>
                  <a:lnTo>
                    <a:pt x="17" y="147"/>
                  </a:lnTo>
                  <a:lnTo>
                    <a:pt x="19" y="147"/>
                  </a:lnTo>
                  <a:lnTo>
                    <a:pt x="19" y="148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30" name="Freeform 437"/>
            <p:cNvSpPr>
              <a:spLocks/>
            </p:cNvSpPr>
            <p:nvPr/>
          </p:nvSpPr>
          <p:spPr bwMode="auto">
            <a:xfrm>
              <a:off x="4430334" y="4894348"/>
              <a:ext cx="47874" cy="61114"/>
            </a:xfrm>
            <a:custGeom>
              <a:avLst/>
              <a:gdLst>
                <a:gd name="T0" fmla="*/ 7 w 20"/>
                <a:gd name="T1" fmla="*/ 3 h 32"/>
                <a:gd name="T2" fmla="*/ 8 w 20"/>
                <a:gd name="T3" fmla="*/ 4 h 32"/>
                <a:gd name="T4" fmla="*/ 8 w 20"/>
                <a:gd name="T5" fmla="*/ 5 h 32"/>
                <a:gd name="T6" fmla="*/ 9 w 20"/>
                <a:gd name="T7" fmla="*/ 7 h 32"/>
                <a:gd name="T8" fmla="*/ 10 w 20"/>
                <a:gd name="T9" fmla="*/ 8 h 32"/>
                <a:gd name="T10" fmla="*/ 10 w 20"/>
                <a:gd name="T11" fmla="*/ 8 h 32"/>
                <a:gd name="T12" fmla="*/ 11 w 20"/>
                <a:gd name="T13" fmla="*/ 9 h 32"/>
                <a:gd name="T14" fmla="*/ 11 w 20"/>
                <a:gd name="T15" fmla="*/ 10 h 32"/>
                <a:gd name="T16" fmla="*/ 11 w 20"/>
                <a:gd name="T17" fmla="*/ 10 h 32"/>
                <a:gd name="T18" fmla="*/ 10 w 20"/>
                <a:gd name="T19" fmla="*/ 11 h 32"/>
                <a:gd name="T20" fmla="*/ 10 w 20"/>
                <a:gd name="T21" fmla="*/ 13 h 32"/>
                <a:gd name="T22" fmla="*/ 10 w 20"/>
                <a:gd name="T23" fmla="*/ 14 h 32"/>
                <a:gd name="T24" fmla="*/ 8 w 20"/>
                <a:gd name="T25" fmla="*/ 14 h 32"/>
                <a:gd name="T26" fmla="*/ 8 w 20"/>
                <a:gd name="T27" fmla="*/ 15 h 32"/>
                <a:gd name="T28" fmla="*/ 7 w 20"/>
                <a:gd name="T29" fmla="*/ 14 h 32"/>
                <a:gd name="T30" fmla="*/ 6 w 20"/>
                <a:gd name="T31" fmla="*/ 14 h 32"/>
                <a:gd name="T32" fmla="*/ 4 w 20"/>
                <a:gd name="T33" fmla="*/ 12 h 32"/>
                <a:gd name="T34" fmla="*/ 3 w 20"/>
                <a:gd name="T35" fmla="*/ 10 h 32"/>
                <a:gd name="T36" fmla="*/ 2 w 20"/>
                <a:gd name="T37" fmla="*/ 8 h 32"/>
                <a:gd name="T38" fmla="*/ 1 w 20"/>
                <a:gd name="T39" fmla="*/ 7 h 32"/>
                <a:gd name="T40" fmla="*/ 0 w 20"/>
                <a:gd name="T41" fmla="*/ 5 h 32"/>
                <a:gd name="T42" fmla="*/ 0 w 20"/>
                <a:gd name="T43" fmla="*/ 4 h 32"/>
                <a:gd name="T44" fmla="*/ 0 w 20"/>
                <a:gd name="T45" fmla="*/ 3 h 32"/>
                <a:gd name="T46" fmla="*/ 1 w 20"/>
                <a:gd name="T47" fmla="*/ 2 h 32"/>
                <a:gd name="T48" fmla="*/ 1 w 20"/>
                <a:gd name="T49" fmla="*/ 1 h 32"/>
                <a:gd name="T50" fmla="*/ 3 w 20"/>
                <a:gd name="T51" fmla="*/ 0 h 32"/>
                <a:gd name="T52" fmla="*/ 4 w 20"/>
                <a:gd name="T53" fmla="*/ 0 h 32"/>
                <a:gd name="T54" fmla="*/ 5 w 20"/>
                <a:gd name="T55" fmla="*/ 0 h 32"/>
                <a:gd name="T56" fmla="*/ 6 w 20"/>
                <a:gd name="T57" fmla="*/ 0 h 32"/>
                <a:gd name="T58" fmla="*/ 7 w 20"/>
                <a:gd name="T59" fmla="*/ 1 h 32"/>
                <a:gd name="T60" fmla="*/ 7 w 20"/>
                <a:gd name="T61" fmla="*/ 3 h 3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0" h="32">
                  <a:moveTo>
                    <a:pt x="13" y="6"/>
                  </a:moveTo>
                  <a:lnTo>
                    <a:pt x="14" y="9"/>
                  </a:lnTo>
                  <a:lnTo>
                    <a:pt x="15" y="11"/>
                  </a:lnTo>
                  <a:lnTo>
                    <a:pt x="17" y="14"/>
                  </a:lnTo>
                  <a:lnTo>
                    <a:pt x="18" y="16"/>
                  </a:lnTo>
                  <a:lnTo>
                    <a:pt x="19" y="18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2"/>
                  </a:lnTo>
                  <a:lnTo>
                    <a:pt x="19" y="24"/>
                  </a:lnTo>
                  <a:lnTo>
                    <a:pt x="19" y="28"/>
                  </a:lnTo>
                  <a:lnTo>
                    <a:pt x="18" y="29"/>
                  </a:lnTo>
                  <a:lnTo>
                    <a:pt x="15" y="30"/>
                  </a:lnTo>
                  <a:lnTo>
                    <a:pt x="15" y="32"/>
                  </a:lnTo>
                  <a:lnTo>
                    <a:pt x="13" y="30"/>
                  </a:lnTo>
                  <a:lnTo>
                    <a:pt x="11" y="29"/>
                  </a:lnTo>
                  <a:lnTo>
                    <a:pt x="8" y="26"/>
                  </a:lnTo>
                  <a:lnTo>
                    <a:pt x="5" y="21"/>
                  </a:lnTo>
                  <a:lnTo>
                    <a:pt x="3" y="18"/>
                  </a:lnTo>
                  <a:lnTo>
                    <a:pt x="1" y="15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6"/>
                  </a:lnTo>
                  <a:lnTo>
                    <a:pt x="1" y="4"/>
                  </a:lnTo>
                  <a:lnTo>
                    <a:pt x="2" y="3"/>
                  </a:lnTo>
                  <a:lnTo>
                    <a:pt x="6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2" y="3"/>
                  </a:lnTo>
                  <a:lnTo>
                    <a:pt x="13" y="6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31" name="Freeform 438"/>
            <p:cNvSpPr>
              <a:spLocks/>
            </p:cNvSpPr>
            <p:nvPr/>
          </p:nvSpPr>
          <p:spPr bwMode="auto">
            <a:xfrm>
              <a:off x="4795913" y="4869902"/>
              <a:ext cx="274185" cy="134451"/>
            </a:xfrm>
            <a:custGeom>
              <a:avLst/>
              <a:gdLst>
                <a:gd name="T0" fmla="*/ 7 w 125"/>
                <a:gd name="T1" fmla="*/ 33 h 67"/>
                <a:gd name="T2" fmla="*/ 5 w 125"/>
                <a:gd name="T3" fmla="*/ 30 h 67"/>
                <a:gd name="T4" fmla="*/ 1 w 125"/>
                <a:gd name="T5" fmla="*/ 27 h 67"/>
                <a:gd name="T6" fmla="*/ 4 w 125"/>
                <a:gd name="T7" fmla="*/ 23 h 67"/>
                <a:gd name="T8" fmla="*/ 2 w 125"/>
                <a:gd name="T9" fmla="*/ 17 h 67"/>
                <a:gd name="T10" fmla="*/ 0 w 125"/>
                <a:gd name="T11" fmla="*/ 11 h 67"/>
                <a:gd name="T12" fmla="*/ 10 w 125"/>
                <a:gd name="T13" fmla="*/ 11 h 67"/>
                <a:gd name="T14" fmla="*/ 21 w 125"/>
                <a:gd name="T15" fmla="*/ 4 h 67"/>
                <a:gd name="T16" fmla="*/ 26 w 125"/>
                <a:gd name="T17" fmla="*/ 4 h 67"/>
                <a:gd name="T18" fmla="*/ 45 w 125"/>
                <a:gd name="T19" fmla="*/ 2 h 67"/>
                <a:gd name="T20" fmla="*/ 49 w 125"/>
                <a:gd name="T21" fmla="*/ 8 h 67"/>
                <a:gd name="T22" fmla="*/ 53 w 125"/>
                <a:gd name="T23" fmla="*/ 13 h 67"/>
                <a:gd name="T24" fmla="*/ 58 w 125"/>
                <a:gd name="T25" fmla="*/ 13 h 67"/>
                <a:gd name="T26" fmla="*/ 61 w 125"/>
                <a:gd name="T27" fmla="*/ 17 h 67"/>
                <a:gd name="T28" fmla="*/ 63 w 125"/>
                <a:gd name="T29" fmla="*/ 20 h 67"/>
                <a:gd name="T30" fmla="*/ 59 w 125"/>
                <a:gd name="T31" fmla="*/ 21 h 67"/>
                <a:gd name="T32" fmla="*/ 54 w 125"/>
                <a:gd name="T33" fmla="*/ 19 h 67"/>
                <a:gd name="T34" fmla="*/ 51 w 125"/>
                <a:gd name="T35" fmla="*/ 17 h 67"/>
                <a:gd name="T36" fmla="*/ 46 w 125"/>
                <a:gd name="T37" fmla="*/ 17 h 67"/>
                <a:gd name="T38" fmla="*/ 43 w 125"/>
                <a:gd name="T39" fmla="*/ 19 h 67"/>
                <a:gd name="T40" fmla="*/ 41 w 125"/>
                <a:gd name="T41" fmla="*/ 21 h 67"/>
                <a:gd name="T42" fmla="*/ 39 w 125"/>
                <a:gd name="T43" fmla="*/ 20 h 67"/>
                <a:gd name="T44" fmla="*/ 37 w 125"/>
                <a:gd name="T45" fmla="*/ 22 h 67"/>
                <a:gd name="T46" fmla="*/ 34 w 125"/>
                <a:gd name="T47" fmla="*/ 23 h 67"/>
                <a:gd name="T48" fmla="*/ 30 w 125"/>
                <a:gd name="T49" fmla="*/ 24 h 67"/>
                <a:gd name="T50" fmla="*/ 27 w 125"/>
                <a:gd name="T51" fmla="*/ 23 h 67"/>
                <a:gd name="T52" fmla="*/ 23 w 125"/>
                <a:gd name="T53" fmla="*/ 23 h 67"/>
                <a:gd name="T54" fmla="*/ 20 w 125"/>
                <a:gd name="T55" fmla="*/ 25 h 67"/>
                <a:gd name="T56" fmla="*/ 16 w 125"/>
                <a:gd name="T57" fmla="*/ 27 h 67"/>
                <a:gd name="T58" fmla="*/ 12 w 125"/>
                <a:gd name="T59" fmla="*/ 30 h 67"/>
                <a:gd name="T60" fmla="*/ 10 w 125"/>
                <a:gd name="T61" fmla="*/ 32 h 67"/>
                <a:gd name="T62" fmla="*/ 8 w 125"/>
                <a:gd name="T63" fmla="*/ 33 h 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25" h="67">
                  <a:moveTo>
                    <a:pt x="15" y="67"/>
                  </a:moveTo>
                  <a:lnTo>
                    <a:pt x="14" y="66"/>
                  </a:lnTo>
                  <a:lnTo>
                    <a:pt x="12" y="64"/>
                  </a:lnTo>
                  <a:lnTo>
                    <a:pt x="9" y="61"/>
                  </a:lnTo>
                  <a:lnTo>
                    <a:pt x="6" y="59"/>
                  </a:lnTo>
                  <a:lnTo>
                    <a:pt x="1" y="54"/>
                  </a:lnTo>
                  <a:lnTo>
                    <a:pt x="5" y="49"/>
                  </a:lnTo>
                  <a:lnTo>
                    <a:pt x="7" y="46"/>
                  </a:lnTo>
                  <a:lnTo>
                    <a:pt x="6" y="41"/>
                  </a:lnTo>
                  <a:lnTo>
                    <a:pt x="3" y="35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2" y="20"/>
                  </a:lnTo>
                  <a:lnTo>
                    <a:pt x="20" y="22"/>
                  </a:lnTo>
                  <a:lnTo>
                    <a:pt x="29" y="15"/>
                  </a:lnTo>
                  <a:lnTo>
                    <a:pt x="41" y="8"/>
                  </a:lnTo>
                  <a:lnTo>
                    <a:pt x="45" y="6"/>
                  </a:lnTo>
                  <a:lnTo>
                    <a:pt x="51" y="8"/>
                  </a:lnTo>
                  <a:lnTo>
                    <a:pt x="79" y="0"/>
                  </a:lnTo>
                  <a:lnTo>
                    <a:pt x="89" y="5"/>
                  </a:lnTo>
                  <a:lnTo>
                    <a:pt x="95" y="12"/>
                  </a:lnTo>
                  <a:lnTo>
                    <a:pt x="98" y="17"/>
                  </a:lnTo>
                  <a:lnTo>
                    <a:pt x="102" y="22"/>
                  </a:lnTo>
                  <a:lnTo>
                    <a:pt x="105" y="26"/>
                  </a:lnTo>
                  <a:lnTo>
                    <a:pt x="110" y="26"/>
                  </a:lnTo>
                  <a:lnTo>
                    <a:pt x="116" y="26"/>
                  </a:lnTo>
                  <a:lnTo>
                    <a:pt x="119" y="27"/>
                  </a:lnTo>
                  <a:lnTo>
                    <a:pt x="121" y="34"/>
                  </a:lnTo>
                  <a:lnTo>
                    <a:pt x="125" y="39"/>
                  </a:lnTo>
                  <a:lnTo>
                    <a:pt x="125" y="40"/>
                  </a:lnTo>
                  <a:lnTo>
                    <a:pt x="121" y="44"/>
                  </a:lnTo>
                  <a:lnTo>
                    <a:pt x="117" y="42"/>
                  </a:lnTo>
                  <a:lnTo>
                    <a:pt x="113" y="40"/>
                  </a:lnTo>
                  <a:lnTo>
                    <a:pt x="108" y="38"/>
                  </a:lnTo>
                  <a:lnTo>
                    <a:pt x="103" y="35"/>
                  </a:lnTo>
                  <a:lnTo>
                    <a:pt x="101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89" y="36"/>
                  </a:lnTo>
                  <a:lnTo>
                    <a:pt x="86" y="39"/>
                  </a:lnTo>
                  <a:lnTo>
                    <a:pt x="84" y="41"/>
                  </a:lnTo>
                  <a:lnTo>
                    <a:pt x="81" y="42"/>
                  </a:lnTo>
                  <a:lnTo>
                    <a:pt x="78" y="42"/>
                  </a:lnTo>
                  <a:lnTo>
                    <a:pt x="77" y="41"/>
                  </a:lnTo>
                  <a:lnTo>
                    <a:pt x="75" y="44"/>
                  </a:lnTo>
                  <a:lnTo>
                    <a:pt x="74" y="45"/>
                  </a:lnTo>
                  <a:lnTo>
                    <a:pt x="71" y="46"/>
                  </a:lnTo>
                  <a:lnTo>
                    <a:pt x="68" y="47"/>
                  </a:lnTo>
                  <a:lnTo>
                    <a:pt x="62" y="48"/>
                  </a:lnTo>
                  <a:lnTo>
                    <a:pt x="60" y="48"/>
                  </a:lnTo>
                  <a:lnTo>
                    <a:pt x="59" y="46"/>
                  </a:lnTo>
                  <a:lnTo>
                    <a:pt x="53" y="47"/>
                  </a:lnTo>
                  <a:lnTo>
                    <a:pt x="49" y="47"/>
                  </a:lnTo>
                  <a:lnTo>
                    <a:pt x="45" y="47"/>
                  </a:lnTo>
                  <a:lnTo>
                    <a:pt x="42" y="49"/>
                  </a:lnTo>
                  <a:lnTo>
                    <a:pt x="39" y="51"/>
                  </a:lnTo>
                  <a:lnTo>
                    <a:pt x="32" y="54"/>
                  </a:lnTo>
                  <a:lnTo>
                    <a:pt x="31" y="54"/>
                  </a:lnTo>
                  <a:lnTo>
                    <a:pt x="26" y="59"/>
                  </a:lnTo>
                  <a:lnTo>
                    <a:pt x="24" y="61"/>
                  </a:lnTo>
                  <a:lnTo>
                    <a:pt x="21" y="63"/>
                  </a:lnTo>
                  <a:lnTo>
                    <a:pt x="20" y="64"/>
                  </a:lnTo>
                  <a:lnTo>
                    <a:pt x="18" y="64"/>
                  </a:lnTo>
                  <a:lnTo>
                    <a:pt x="15" y="67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32" name="Freeform 439"/>
            <p:cNvSpPr>
              <a:spLocks/>
            </p:cNvSpPr>
            <p:nvPr/>
          </p:nvSpPr>
          <p:spPr bwMode="auto">
            <a:xfrm>
              <a:off x="4291065" y="4939165"/>
              <a:ext cx="544017" cy="415573"/>
            </a:xfrm>
            <a:custGeom>
              <a:avLst/>
              <a:gdLst>
                <a:gd name="T0" fmla="*/ 33 w 250"/>
                <a:gd name="T1" fmla="*/ 102 h 205"/>
                <a:gd name="T2" fmla="*/ 28 w 250"/>
                <a:gd name="T3" fmla="*/ 96 h 205"/>
                <a:gd name="T4" fmla="*/ 29 w 250"/>
                <a:gd name="T5" fmla="*/ 91 h 205"/>
                <a:gd name="T6" fmla="*/ 23 w 250"/>
                <a:gd name="T7" fmla="*/ 90 h 205"/>
                <a:gd name="T8" fmla="*/ 27 w 250"/>
                <a:gd name="T9" fmla="*/ 87 h 205"/>
                <a:gd name="T10" fmla="*/ 27 w 250"/>
                <a:gd name="T11" fmla="*/ 75 h 205"/>
                <a:gd name="T12" fmla="*/ 30 w 250"/>
                <a:gd name="T13" fmla="*/ 70 h 205"/>
                <a:gd name="T14" fmla="*/ 30 w 250"/>
                <a:gd name="T15" fmla="*/ 67 h 205"/>
                <a:gd name="T16" fmla="*/ 24 w 250"/>
                <a:gd name="T17" fmla="*/ 62 h 205"/>
                <a:gd name="T18" fmla="*/ 25 w 250"/>
                <a:gd name="T19" fmla="*/ 53 h 205"/>
                <a:gd name="T20" fmla="*/ 3 w 250"/>
                <a:gd name="T21" fmla="*/ 59 h 205"/>
                <a:gd name="T22" fmla="*/ 5 w 250"/>
                <a:gd name="T23" fmla="*/ 57 h 205"/>
                <a:gd name="T24" fmla="*/ 19 w 250"/>
                <a:gd name="T25" fmla="*/ 51 h 205"/>
                <a:gd name="T26" fmla="*/ 33 w 250"/>
                <a:gd name="T27" fmla="*/ 42 h 205"/>
                <a:gd name="T28" fmla="*/ 42 w 250"/>
                <a:gd name="T29" fmla="*/ 38 h 205"/>
                <a:gd name="T30" fmla="*/ 50 w 250"/>
                <a:gd name="T31" fmla="*/ 28 h 205"/>
                <a:gd name="T32" fmla="*/ 54 w 250"/>
                <a:gd name="T33" fmla="*/ 17 h 205"/>
                <a:gd name="T34" fmla="*/ 58 w 250"/>
                <a:gd name="T35" fmla="*/ 10 h 205"/>
                <a:gd name="T36" fmla="*/ 71 w 250"/>
                <a:gd name="T37" fmla="*/ 0 h 205"/>
                <a:gd name="T38" fmla="*/ 77 w 250"/>
                <a:gd name="T39" fmla="*/ 7 h 205"/>
                <a:gd name="T40" fmla="*/ 88 w 250"/>
                <a:gd name="T41" fmla="*/ 17 h 205"/>
                <a:gd name="T42" fmla="*/ 99 w 250"/>
                <a:gd name="T43" fmla="*/ 15 h 205"/>
                <a:gd name="T44" fmla="*/ 115 w 250"/>
                <a:gd name="T45" fmla="*/ 12 h 205"/>
                <a:gd name="T46" fmla="*/ 121 w 250"/>
                <a:gd name="T47" fmla="*/ 13 h 205"/>
                <a:gd name="T48" fmla="*/ 124 w 250"/>
                <a:gd name="T49" fmla="*/ 16 h 205"/>
                <a:gd name="T50" fmla="*/ 124 w 250"/>
                <a:gd name="T51" fmla="*/ 21 h 205"/>
                <a:gd name="T52" fmla="*/ 124 w 250"/>
                <a:gd name="T53" fmla="*/ 27 h 205"/>
                <a:gd name="T54" fmla="*/ 117 w 250"/>
                <a:gd name="T55" fmla="*/ 30 h 205"/>
                <a:gd name="T56" fmla="*/ 109 w 250"/>
                <a:gd name="T57" fmla="*/ 31 h 205"/>
                <a:gd name="T58" fmla="*/ 100 w 250"/>
                <a:gd name="T59" fmla="*/ 31 h 205"/>
                <a:gd name="T60" fmla="*/ 93 w 250"/>
                <a:gd name="T61" fmla="*/ 30 h 205"/>
                <a:gd name="T62" fmla="*/ 85 w 250"/>
                <a:gd name="T63" fmla="*/ 36 h 205"/>
                <a:gd name="T64" fmla="*/ 80 w 250"/>
                <a:gd name="T65" fmla="*/ 42 h 205"/>
                <a:gd name="T66" fmla="*/ 78 w 250"/>
                <a:gd name="T67" fmla="*/ 48 h 205"/>
                <a:gd name="T68" fmla="*/ 75 w 250"/>
                <a:gd name="T69" fmla="*/ 54 h 205"/>
                <a:gd name="T70" fmla="*/ 68 w 250"/>
                <a:gd name="T71" fmla="*/ 56 h 205"/>
                <a:gd name="T72" fmla="*/ 61 w 250"/>
                <a:gd name="T73" fmla="*/ 57 h 205"/>
                <a:gd name="T74" fmla="*/ 64 w 250"/>
                <a:gd name="T75" fmla="*/ 63 h 205"/>
                <a:gd name="T76" fmla="*/ 63 w 250"/>
                <a:gd name="T77" fmla="*/ 70 h 205"/>
                <a:gd name="T78" fmla="*/ 55 w 250"/>
                <a:gd name="T79" fmla="*/ 77 h 205"/>
                <a:gd name="T80" fmla="*/ 51 w 250"/>
                <a:gd name="T81" fmla="*/ 83 h 205"/>
                <a:gd name="T82" fmla="*/ 46 w 250"/>
                <a:gd name="T83" fmla="*/ 81 h 205"/>
                <a:gd name="T84" fmla="*/ 47 w 250"/>
                <a:gd name="T85" fmla="*/ 88 h 205"/>
                <a:gd name="T86" fmla="*/ 47 w 250"/>
                <a:gd name="T87" fmla="*/ 96 h 20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50" h="205">
                  <a:moveTo>
                    <a:pt x="90" y="205"/>
                  </a:moveTo>
                  <a:lnTo>
                    <a:pt x="89" y="204"/>
                  </a:lnTo>
                  <a:lnTo>
                    <a:pt x="66" y="204"/>
                  </a:lnTo>
                  <a:lnTo>
                    <a:pt x="60" y="204"/>
                  </a:lnTo>
                  <a:lnTo>
                    <a:pt x="56" y="200"/>
                  </a:lnTo>
                  <a:lnTo>
                    <a:pt x="56" y="193"/>
                  </a:lnTo>
                  <a:lnTo>
                    <a:pt x="59" y="189"/>
                  </a:lnTo>
                  <a:lnTo>
                    <a:pt x="59" y="185"/>
                  </a:lnTo>
                  <a:lnTo>
                    <a:pt x="58" y="183"/>
                  </a:lnTo>
                  <a:lnTo>
                    <a:pt x="52" y="183"/>
                  </a:lnTo>
                  <a:lnTo>
                    <a:pt x="47" y="183"/>
                  </a:lnTo>
                  <a:lnTo>
                    <a:pt x="46" y="181"/>
                  </a:lnTo>
                  <a:lnTo>
                    <a:pt x="47" y="179"/>
                  </a:lnTo>
                  <a:lnTo>
                    <a:pt x="49" y="175"/>
                  </a:lnTo>
                  <a:lnTo>
                    <a:pt x="53" y="175"/>
                  </a:lnTo>
                  <a:lnTo>
                    <a:pt x="55" y="174"/>
                  </a:lnTo>
                  <a:lnTo>
                    <a:pt x="55" y="170"/>
                  </a:lnTo>
                  <a:lnTo>
                    <a:pt x="54" y="151"/>
                  </a:lnTo>
                  <a:lnTo>
                    <a:pt x="61" y="150"/>
                  </a:lnTo>
                  <a:lnTo>
                    <a:pt x="61" y="145"/>
                  </a:lnTo>
                  <a:lnTo>
                    <a:pt x="60" y="141"/>
                  </a:lnTo>
                  <a:lnTo>
                    <a:pt x="61" y="139"/>
                  </a:lnTo>
                  <a:lnTo>
                    <a:pt x="60" y="137"/>
                  </a:lnTo>
                  <a:lnTo>
                    <a:pt x="59" y="135"/>
                  </a:lnTo>
                  <a:lnTo>
                    <a:pt x="50" y="134"/>
                  </a:lnTo>
                  <a:lnTo>
                    <a:pt x="49" y="132"/>
                  </a:lnTo>
                  <a:lnTo>
                    <a:pt x="48" y="125"/>
                  </a:lnTo>
                  <a:lnTo>
                    <a:pt x="48" y="118"/>
                  </a:lnTo>
                  <a:lnTo>
                    <a:pt x="50" y="114"/>
                  </a:lnTo>
                  <a:lnTo>
                    <a:pt x="49" y="107"/>
                  </a:lnTo>
                  <a:lnTo>
                    <a:pt x="38" y="113"/>
                  </a:lnTo>
                  <a:lnTo>
                    <a:pt x="17" y="122"/>
                  </a:lnTo>
                  <a:lnTo>
                    <a:pt x="6" y="119"/>
                  </a:lnTo>
                  <a:lnTo>
                    <a:pt x="0" y="120"/>
                  </a:lnTo>
                  <a:lnTo>
                    <a:pt x="0" y="119"/>
                  </a:lnTo>
                  <a:lnTo>
                    <a:pt x="10" y="114"/>
                  </a:lnTo>
                  <a:lnTo>
                    <a:pt x="17" y="108"/>
                  </a:lnTo>
                  <a:lnTo>
                    <a:pt x="28" y="106"/>
                  </a:lnTo>
                  <a:lnTo>
                    <a:pt x="37" y="103"/>
                  </a:lnTo>
                  <a:lnTo>
                    <a:pt x="53" y="95"/>
                  </a:lnTo>
                  <a:lnTo>
                    <a:pt x="59" y="90"/>
                  </a:lnTo>
                  <a:lnTo>
                    <a:pt x="65" y="84"/>
                  </a:lnTo>
                  <a:lnTo>
                    <a:pt x="67" y="82"/>
                  </a:lnTo>
                  <a:lnTo>
                    <a:pt x="74" y="79"/>
                  </a:lnTo>
                  <a:lnTo>
                    <a:pt x="83" y="76"/>
                  </a:lnTo>
                  <a:lnTo>
                    <a:pt x="92" y="66"/>
                  </a:lnTo>
                  <a:lnTo>
                    <a:pt x="98" y="59"/>
                  </a:lnTo>
                  <a:lnTo>
                    <a:pt x="100" y="56"/>
                  </a:lnTo>
                  <a:lnTo>
                    <a:pt x="101" y="49"/>
                  </a:lnTo>
                  <a:lnTo>
                    <a:pt x="102" y="46"/>
                  </a:lnTo>
                  <a:lnTo>
                    <a:pt x="108" y="35"/>
                  </a:lnTo>
                  <a:lnTo>
                    <a:pt x="110" y="29"/>
                  </a:lnTo>
                  <a:lnTo>
                    <a:pt x="113" y="24"/>
                  </a:lnTo>
                  <a:lnTo>
                    <a:pt x="115" y="20"/>
                  </a:lnTo>
                  <a:lnTo>
                    <a:pt x="128" y="12"/>
                  </a:lnTo>
                  <a:lnTo>
                    <a:pt x="138" y="4"/>
                  </a:lnTo>
                  <a:lnTo>
                    <a:pt x="142" y="0"/>
                  </a:lnTo>
                  <a:lnTo>
                    <a:pt x="144" y="1"/>
                  </a:lnTo>
                  <a:lnTo>
                    <a:pt x="152" y="10"/>
                  </a:lnTo>
                  <a:lnTo>
                    <a:pt x="154" y="14"/>
                  </a:lnTo>
                  <a:lnTo>
                    <a:pt x="161" y="31"/>
                  </a:lnTo>
                  <a:lnTo>
                    <a:pt x="167" y="35"/>
                  </a:lnTo>
                  <a:lnTo>
                    <a:pt x="175" y="35"/>
                  </a:lnTo>
                  <a:lnTo>
                    <a:pt x="185" y="30"/>
                  </a:lnTo>
                  <a:lnTo>
                    <a:pt x="190" y="29"/>
                  </a:lnTo>
                  <a:lnTo>
                    <a:pt x="197" y="30"/>
                  </a:lnTo>
                  <a:lnTo>
                    <a:pt x="215" y="31"/>
                  </a:lnTo>
                  <a:lnTo>
                    <a:pt x="218" y="31"/>
                  </a:lnTo>
                  <a:lnTo>
                    <a:pt x="229" y="24"/>
                  </a:lnTo>
                  <a:lnTo>
                    <a:pt x="234" y="19"/>
                  </a:lnTo>
                  <a:lnTo>
                    <a:pt x="239" y="24"/>
                  </a:lnTo>
                  <a:lnTo>
                    <a:pt x="242" y="26"/>
                  </a:lnTo>
                  <a:lnTo>
                    <a:pt x="245" y="29"/>
                  </a:lnTo>
                  <a:lnTo>
                    <a:pt x="247" y="31"/>
                  </a:lnTo>
                  <a:lnTo>
                    <a:pt x="248" y="32"/>
                  </a:lnTo>
                  <a:lnTo>
                    <a:pt x="248" y="34"/>
                  </a:lnTo>
                  <a:lnTo>
                    <a:pt x="250" y="36"/>
                  </a:lnTo>
                  <a:lnTo>
                    <a:pt x="248" y="42"/>
                  </a:lnTo>
                  <a:lnTo>
                    <a:pt x="250" y="43"/>
                  </a:lnTo>
                  <a:lnTo>
                    <a:pt x="250" y="53"/>
                  </a:lnTo>
                  <a:lnTo>
                    <a:pt x="247" y="54"/>
                  </a:lnTo>
                  <a:lnTo>
                    <a:pt x="242" y="55"/>
                  </a:lnTo>
                  <a:lnTo>
                    <a:pt x="236" y="60"/>
                  </a:lnTo>
                  <a:lnTo>
                    <a:pt x="233" y="60"/>
                  </a:lnTo>
                  <a:lnTo>
                    <a:pt x="228" y="61"/>
                  </a:lnTo>
                  <a:lnTo>
                    <a:pt x="223" y="62"/>
                  </a:lnTo>
                  <a:lnTo>
                    <a:pt x="218" y="62"/>
                  </a:lnTo>
                  <a:lnTo>
                    <a:pt x="212" y="61"/>
                  </a:lnTo>
                  <a:lnTo>
                    <a:pt x="209" y="60"/>
                  </a:lnTo>
                  <a:lnTo>
                    <a:pt x="200" y="62"/>
                  </a:lnTo>
                  <a:lnTo>
                    <a:pt x="194" y="64"/>
                  </a:lnTo>
                  <a:lnTo>
                    <a:pt x="190" y="62"/>
                  </a:lnTo>
                  <a:lnTo>
                    <a:pt x="185" y="61"/>
                  </a:lnTo>
                  <a:lnTo>
                    <a:pt x="180" y="62"/>
                  </a:lnTo>
                  <a:lnTo>
                    <a:pt x="175" y="66"/>
                  </a:lnTo>
                  <a:lnTo>
                    <a:pt x="170" y="72"/>
                  </a:lnTo>
                  <a:lnTo>
                    <a:pt x="167" y="77"/>
                  </a:lnTo>
                  <a:lnTo>
                    <a:pt x="163" y="80"/>
                  </a:lnTo>
                  <a:lnTo>
                    <a:pt x="160" y="84"/>
                  </a:lnTo>
                  <a:lnTo>
                    <a:pt x="158" y="86"/>
                  </a:lnTo>
                  <a:lnTo>
                    <a:pt x="157" y="92"/>
                  </a:lnTo>
                  <a:lnTo>
                    <a:pt x="156" y="96"/>
                  </a:lnTo>
                  <a:lnTo>
                    <a:pt x="152" y="101"/>
                  </a:lnTo>
                  <a:lnTo>
                    <a:pt x="150" y="106"/>
                  </a:lnTo>
                  <a:lnTo>
                    <a:pt x="149" y="109"/>
                  </a:lnTo>
                  <a:lnTo>
                    <a:pt x="144" y="112"/>
                  </a:lnTo>
                  <a:lnTo>
                    <a:pt x="139" y="114"/>
                  </a:lnTo>
                  <a:lnTo>
                    <a:pt x="136" y="113"/>
                  </a:lnTo>
                  <a:lnTo>
                    <a:pt x="130" y="113"/>
                  </a:lnTo>
                  <a:lnTo>
                    <a:pt x="127" y="113"/>
                  </a:lnTo>
                  <a:lnTo>
                    <a:pt x="122" y="114"/>
                  </a:lnTo>
                  <a:lnTo>
                    <a:pt x="121" y="119"/>
                  </a:lnTo>
                  <a:lnTo>
                    <a:pt x="122" y="122"/>
                  </a:lnTo>
                  <a:lnTo>
                    <a:pt x="127" y="127"/>
                  </a:lnTo>
                  <a:lnTo>
                    <a:pt x="130" y="134"/>
                  </a:lnTo>
                  <a:lnTo>
                    <a:pt x="128" y="137"/>
                  </a:lnTo>
                  <a:lnTo>
                    <a:pt x="125" y="140"/>
                  </a:lnTo>
                  <a:lnTo>
                    <a:pt x="115" y="146"/>
                  </a:lnTo>
                  <a:lnTo>
                    <a:pt x="113" y="150"/>
                  </a:lnTo>
                  <a:lnTo>
                    <a:pt x="110" y="155"/>
                  </a:lnTo>
                  <a:lnTo>
                    <a:pt x="106" y="158"/>
                  </a:lnTo>
                  <a:lnTo>
                    <a:pt x="104" y="161"/>
                  </a:lnTo>
                  <a:lnTo>
                    <a:pt x="102" y="167"/>
                  </a:lnTo>
                  <a:lnTo>
                    <a:pt x="97" y="164"/>
                  </a:lnTo>
                  <a:lnTo>
                    <a:pt x="92" y="162"/>
                  </a:lnTo>
                  <a:lnTo>
                    <a:pt x="91" y="162"/>
                  </a:lnTo>
                  <a:lnTo>
                    <a:pt x="91" y="164"/>
                  </a:lnTo>
                  <a:lnTo>
                    <a:pt x="92" y="170"/>
                  </a:lnTo>
                  <a:lnTo>
                    <a:pt x="94" y="177"/>
                  </a:lnTo>
                  <a:lnTo>
                    <a:pt x="92" y="182"/>
                  </a:lnTo>
                  <a:lnTo>
                    <a:pt x="92" y="187"/>
                  </a:lnTo>
                  <a:lnTo>
                    <a:pt x="94" y="192"/>
                  </a:lnTo>
                  <a:lnTo>
                    <a:pt x="92" y="200"/>
                  </a:lnTo>
                  <a:lnTo>
                    <a:pt x="90" y="205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33" name="Freeform 440"/>
            <p:cNvSpPr>
              <a:spLocks/>
            </p:cNvSpPr>
            <p:nvPr/>
          </p:nvSpPr>
          <p:spPr bwMode="auto">
            <a:xfrm>
              <a:off x="4465151" y="5045095"/>
              <a:ext cx="548369" cy="382980"/>
            </a:xfrm>
            <a:custGeom>
              <a:avLst/>
              <a:gdLst>
                <a:gd name="T0" fmla="*/ 8 w 252"/>
                <a:gd name="T1" fmla="*/ 70 h 187"/>
                <a:gd name="T2" fmla="*/ 8 w 252"/>
                <a:gd name="T3" fmla="*/ 62 h 187"/>
                <a:gd name="T4" fmla="*/ 6 w 252"/>
                <a:gd name="T5" fmla="*/ 55 h 187"/>
                <a:gd name="T6" fmla="*/ 12 w 252"/>
                <a:gd name="T7" fmla="*/ 57 h 187"/>
                <a:gd name="T8" fmla="*/ 16 w 252"/>
                <a:gd name="T9" fmla="*/ 51 h 187"/>
                <a:gd name="T10" fmla="*/ 23 w 252"/>
                <a:gd name="T11" fmla="*/ 44 h 187"/>
                <a:gd name="T12" fmla="*/ 24 w 252"/>
                <a:gd name="T13" fmla="*/ 37 h 187"/>
                <a:gd name="T14" fmla="*/ 22 w 252"/>
                <a:gd name="T15" fmla="*/ 31 h 187"/>
                <a:gd name="T16" fmla="*/ 29 w 252"/>
                <a:gd name="T17" fmla="*/ 30 h 187"/>
                <a:gd name="T18" fmla="*/ 35 w 252"/>
                <a:gd name="T19" fmla="*/ 28 h 187"/>
                <a:gd name="T20" fmla="*/ 39 w 252"/>
                <a:gd name="T21" fmla="*/ 22 h 187"/>
                <a:gd name="T22" fmla="*/ 41 w 252"/>
                <a:gd name="T23" fmla="*/ 16 h 187"/>
                <a:gd name="T24" fmla="*/ 46 w 252"/>
                <a:gd name="T25" fmla="*/ 10 h 187"/>
                <a:gd name="T26" fmla="*/ 53 w 252"/>
                <a:gd name="T27" fmla="*/ 4 h 187"/>
                <a:gd name="T28" fmla="*/ 61 w 252"/>
                <a:gd name="T29" fmla="*/ 5 h 187"/>
                <a:gd name="T30" fmla="*/ 70 w 252"/>
                <a:gd name="T31" fmla="*/ 5 h 187"/>
                <a:gd name="T32" fmla="*/ 77 w 252"/>
                <a:gd name="T33" fmla="*/ 4 h 187"/>
                <a:gd name="T34" fmla="*/ 84 w 252"/>
                <a:gd name="T35" fmla="*/ 1 h 187"/>
                <a:gd name="T36" fmla="*/ 87 w 252"/>
                <a:gd name="T37" fmla="*/ 0 h 187"/>
                <a:gd name="T38" fmla="*/ 93 w 252"/>
                <a:gd name="T39" fmla="*/ 6 h 187"/>
                <a:gd name="T40" fmla="*/ 98 w 252"/>
                <a:gd name="T41" fmla="*/ 6 h 187"/>
                <a:gd name="T42" fmla="*/ 102 w 252"/>
                <a:gd name="T43" fmla="*/ 9 h 187"/>
                <a:gd name="T44" fmla="*/ 108 w 252"/>
                <a:gd name="T45" fmla="*/ 7 h 187"/>
                <a:gd name="T46" fmla="*/ 112 w 252"/>
                <a:gd name="T47" fmla="*/ 12 h 187"/>
                <a:gd name="T48" fmla="*/ 112 w 252"/>
                <a:gd name="T49" fmla="*/ 19 h 187"/>
                <a:gd name="T50" fmla="*/ 116 w 252"/>
                <a:gd name="T51" fmla="*/ 21 h 187"/>
                <a:gd name="T52" fmla="*/ 118 w 252"/>
                <a:gd name="T53" fmla="*/ 25 h 187"/>
                <a:gd name="T54" fmla="*/ 118 w 252"/>
                <a:gd name="T55" fmla="*/ 28 h 187"/>
                <a:gd name="T56" fmla="*/ 122 w 252"/>
                <a:gd name="T57" fmla="*/ 30 h 187"/>
                <a:gd name="T58" fmla="*/ 126 w 252"/>
                <a:gd name="T59" fmla="*/ 33 h 187"/>
                <a:gd name="T60" fmla="*/ 116 w 252"/>
                <a:gd name="T61" fmla="*/ 53 h 187"/>
                <a:gd name="T62" fmla="*/ 94 w 252"/>
                <a:gd name="T63" fmla="*/ 34 h 187"/>
                <a:gd name="T64" fmla="*/ 71 w 252"/>
                <a:gd name="T65" fmla="*/ 33 h 187"/>
                <a:gd name="T66" fmla="*/ 51 w 252"/>
                <a:gd name="T67" fmla="*/ 43 h 187"/>
                <a:gd name="T68" fmla="*/ 44 w 252"/>
                <a:gd name="T69" fmla="*/ 59 h 187"/>
                <a:gd name="T70" fmla="*/ 36 w 252"/>
                <a:gd name="T71" fmla="*/ 68 h 187"/>
                <a:gd name="T72" fmla="*/ 26 w 252"/>
                <a:gd name="T73" fmla="*/ 74 h 187"/>
                <a:gd name="T74" fmla="*/ 25 w 252"/>
                <a:gd name="T75" fmla="*/ 82 h 187"/>
                <a:gd name="T76" fmla="*/ 27 w 252"/>
                <a:gd name="T77" fmla="*/ 88 h 187"/>
                <a:gd name="T78" fmla="*/ 24 w 252"/>
                <a:gd name="T79" fmla="*/ 92 h 187"/>
                <a:gd name="T80" fmla="*/ 11 w 252"/>
                <a:gd name="T81" fmla="*/ 89 h 187"/>
                <a:gd name="T82" fmla="*/ 0 w 252"/>
                <a:gd name="T83" fmla="*/ 86 h 187"/>
                <a:gd name="T84" fmla="*/ 6 w 252"/>
                <a:gd name="T85" fmla="*/ 76 h 18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52" h="187">
                  <a:moveTo>
                    <a:pt x="11" y="152"/>
                  </a:moveTo>
                  <a:lnTo>
                    <a:pt x="13" y="147"/>
                  </a:lnTo>
                  <a:lnTo>
                    <a:pt x="15" y="139"/>
                  </a:lnTo>
                  <a:lnTo>
                    <a:pt x="13" y="134"/>
                  </a:lnTo>
                  <a:lnTo>
                    <a:pt x="13" y="129"/>
                  </a:lnTo>
                  <a:lnTo>
                    <a:pt x="15" y="124"/>
                  </a:lnTo>
                  <a:lnTo>
                    <a:pt x="13" y="117"/>
                  </a:lnTo>
                  <a:lnTo>
                    <a:pt x="12" y="111"/>
                  </a:lnTo>
                  <a:lnTo>
                    <a:pt x="12" y="109"/>
                  </a:lnTo>
                  <a:lnTo>
                    <a:pt x="13" y="109"/>
                  </a:lnTo>
                  <a:lnTo>
                    <a:pt x="18" y="111"/>
                  </a:lnTo>
                  <a:lnTo>
                    <a:pt x="23" y="114"/>
                  </a:lnTo>
                  <a:lnTo>
                    <a:pt x="25" y="108"/>
                  </a:lnTo>
                  <a:lnTo>
                    <a:pt x="27" y="105"/>
                  </a:lnTo>
                  <a:lnTo>
                    <a:pt x="31" y="102"/>
                  </a:lnTo>
                  <a:lnTo>
                    <a:pt x="34" y="97"/>
                  </a:lnTo>
                  <a:lnTo>
                    <a:pt x="36" y="93"/>
                  </a:lnTo>
                  <a:lnTo>
                    <a:pt x="46" y="87"/>
                  </a:lnTo>
                  <a:lnTo>
                    <a:pt x="49" y="84"/>
                  </a:lnTo>
                  <a:lnTo>
                    <a:pt x="51" y="81"/>
                  </a:lnTo>
                  <a:lnTo>
                    <a:pt x="48" y="74"/>
                  </a:lnTo>
                  <a:lnTo>
                    <a:pt x="43" y="69"/>
                  </a:lnTo>
                  <a:lnTo>
                    <a:pt x="42" y="66"/>
                  </a:lnTo>
                  <a:lnTo>
                    <a:pt x="43" y="61"/>
                  </a:lnTo>
                  <a:lnTo>
                    <a:pt x="48" y="60"/>
                  </a:lnTo>
                  <a:lnTo>
                    <a:pt x="51" y="60"/>
                  </a:lnTo>
                  <a:lnTo>
                    <a:pt x="57" y="60"/>
                  </a:lnTo>
                  <a:lnTo>
                    <a:pt x="60" y="61"/>
                  </a:lnTo>
                  <a:lnTo>
                    <a:pt x="65" y="59"/>
                  </a:lnTo>
                  <a:lnTo>
                    <a:pt x="70" y="56"/>
                  </a:lnTo>
                  <a:lnTo>
                    <a:pt x="71" y="53"/>
                  </a:lnTo>
                  <a:lnTo>
                    <a:pt x="73" y="48"/>
                  </a:lnTo>
                  <a:lnTo>
                    <a:pt x="77" y="43"/>
                  </a:lnTo>
                  <a:lnTo>
                    <a:pt x="78" y="39"/>
                  </a:lnTo>
                  <a:lnTo>
                    <a:pt x="79" y="33"/>
                  </a:lnTo>
                  <a:lnTo>
                    <a:pt x="81" y="31"/>
                  </a:lnTo>
                  <a:lnTo>
                    <a:pt x="84" y="27"/>
                  </a:lnTo>
                  <a:lnTo>
                    <a:pt x="88" y="24"/>
                  </a:lnTo>
                  <a:lnTo>
                    <a:pt x="91" y="19"/>
                  </a:lnTo>
                  <a:lnTo>
                    <a:pt x="96" y="13"/>
                  </a:lnTo>
                  <a:lnTo>
                    <a:pt x="101" y="9"/>
                  </a:lnTo>
                  <a:lnTo>
                    <a:pt x="106" y="8"/>
                  </a:lnTo>
                  <a:lnTo>
                    <a:pt x="111" y="9"/>
                  </a:lnTo>
                  <a:lnTo>
                    <a:pt x="115" y="11"/>
                  </a:lnTo>
                  <a:lnTo>
                    <a:pt x="121" y="9"/>
                  </a:lnTo>
                  <a:lnTo>
                    <a:pt x="130" y="7"/>
                  </a:lnTo>
                  <a:lnTo>
                    <a:pt x="133" y="8"/>
                  </a:lnTo>
                  <a:lnTo>
                    <a:pt x="139" y="9"/>
                  </a:lnTo>
                  <a:lnTo>
                    <a:pt x="144" y="9"/>
                  </a:lnTo>
                  <a:lnTo>
                    <a:pt x="149" y="8"/>
                  </a:lnTo>
                  <a:lnTo>
                    <a:pt x="154" y="7"/>
                  </a:lnTo>
                  <a:lnTo>
                    <a:pt x="157" y="7"/>
                  </a:lnTo>
                  <a:lnTo>
                    <a:pt x="163" y="2"/>
                  </a:lnTo>
                  <a:lnTo>
                    <a:pt x="168" y="1"/>
                  </a:lnTo>
                  <a:lnTo>
                    <a:pt x="171" y="0"/>
                  </a:lnTo>
                  <a:lnTo>
                    <a:pt x="172" y="0"/>
                  </a:lnTo>
                  <a:lnTo>
                    <a:pt x="174" y="0"/>
                  </a:lnTo>
                  <a:lnTo>
                    <a:pt x="177" y="0"/>
                  </a:lnTo>
                  <a:lnTo>
                    <a:pt x="179" y="6"/>
                  </a:lnTo>
                  <a:lnTo>
                    <a:pt x="186" y="12"/>
                  </a:lnTo>
                  <a:lnTo>
                    <a:pt x="189" y="12"/>
                  </a:lnTo>
                  <a:lnTo>
                    <a:pt x="195" y="11"/>
                  </a:lnTo>
                  <a:lnTo>
                    <a:pt x="196" y="11"/>
                  </a:lnTo>
                  <a:lnTo>
                    <a:pt x="199" y="13"/>
                  </a:lnTo>
                  <a:lnTo>
                    <a:pt x="202" y="17"/>
                  </a:lnTo>
                  <a:lnTo>
                    <a:pt x="204" y="17"/>
                  </a:lnTo>
                  <a:lnTo>
                    <a:pt x="210" y="15"/>
                  </a:lnTo>
                  <a:lnTo>
                    <a:pt x="214" y="13"/>
                  </a:lnTo>
                  <a:lnTo>
                    <a:pt x="216" y="13"/>
                  </a:lnTo>
                  <a:lnTo>
                    <a:pt x="220" y="17"/>
                  </a:lnTo>
                  <a:lnTo>
                    <a:pt x="223" y="20"/>
                  </a:lnTo>
                  <a:lnTo>
                    <a:pt x="223" y="24"/>
                  </a:lnTo>
                  <a:lnTo>
                    <a:pt x="222" y="29"/>
                  </a:lnTo>
                  <a:lnTo>
                    <a:pt x="221" y="31"/>
                  </a:lnTo>
                  <a:lnTo>
                    <a:pt x="223" y="37"/>
                  </a:lnTo>
                  <a:lnTo>
                    <a:pt x="225" y="39"/>
                  </a:lnTo>
                  <a:lnTo>
                    <a:pt x="228" y="41"/>
                  </a:lnTo>
                  <a:lnTo>
                    <a:pt x="232" y="41"/>
                  </a:lnTo>
                  <a:lnTo>
                    <a:pt x="233" y="43"/>
                  </a:lnTo>
                  <a:lnTo>
                    <a:pt x="235" y="47"/>
                  </a:lnTo>
                  <a:lnTo>
                    <a:pt x="235" y="49"/>
                  </a:lnTo>
                  <a:lnTo>
                    <a:pt x="233" y="53"/>
                  </a:lnTo>
                  <a:lnTo>
                    <a:pt x="233" y="55"/>
                  </a:lnTo>
                  <a:lnTo>
                    <a:pt x="235" y="56"/>
                  </a:lnTo>
                  <a:lnTo>
                    <a:pt x="239" y="59"/>
                  </a:lnTo>
                  <a:lnTo>
                    <a:pt x="241" y="60"/>
                  </a:lnTo>
                  <a:lnTo>
                    <a:pt x="244" y="60"/>
                  </a:lnTo>
                  <a:lnTo>
                    <a:pt x="247" y="62"/>
                  </a:lnTo>
                  <a:lnTo>
                    <a:pt x="252" y="65"/>
                  </a:lnTo>
                  <a:lnTo>
                    <a:pt x="251" y="66"/>
                  </a:lnTo>
                  <a:lnTo>
                    <a:pt x="240" y="81"/>
                  </a:lnTo>
                  <a:lnTo>
                    <a:pt x="235" y="90"/>
                  </a:lnTo>
                  <a:lnTo>
                    <a:pt x="231" y="105"/>
                  </a:lnTo>
                  <a:lnTo>
                    <a:pt x="228" y="115"/>
                  </a:lnTo>
                  <a:lnTo>
                    <a:pt x="207" y="87"/>
                  </a:lnTo>
                  <a:lnTo>
                    <a:pt x="187" y="68"/>
                  </a:lnTo>
                  <a:lnTo>
                    <a:pt x="167" y="62"/>
                  </a:lnTo>
                  <a:lnTo>
                    <a:pt x="154" y="61"/>
                  </a:lnTo>
                  <a:lnTo>
                    <a:pt x="141" y="66"/>
                  </a:lnTo>
                  <a:lnTo>
                    <a:pt x="117" y="78"/>
                  </a:lnTo>
                  <a:lnTo>
                    <a:pt x="113" y="79"/>
                  </a:lnTo>
                  <a:lnTo>
                    <a:pt x="102" y="85"/>
                  </a:lnTo>
                  <a:lnTo>
                    <a:pt x="100" y="90"/>
                  </a:lnTo>
                  <a:lnTo>
                    <a:pt x="94" y="106"/>
                  </a:lnTo>
                  <a:lnTo>
                    <a:pt x="88" y="117"/>
                  </a:lnTo>
                  <a:lnTo>
                    <a:pt x="81" y="123"/>
                  </a:lnTo>
                  <a:lnTo>
                    <a:pt x="77" y="129"/>
                  </a:lnTo>
                  <a:lnTo>
                    <a:pt x="72" y="136"/>
                  </a:lnTo>
                  <a:lnTo>
                    <a:pt x="69" y="141"/>
                  </a:lnTo>
                  <a:lnTo>
                    <a:pt x="51" y="145"/>
                  </a:lnTo>
                  <a:lnTo>
                    <a:pt x="51" y="147"/>
                  </a:lnTo>
                  <a:lnTo>
                    <a:pt x="54" y="158"/>
                  </a:lnTo>
                  <a:lnTo>
                    <a:pt x="53" y="160"/>
                  </a:lnTo>
                  <a:lnTo>
                    <a:pt x="49" y="163"/>
                  </a:lnTo>
                  <a:lnTo>
                    <a:pt x="48" y="166"/>
                  </a:lnTo>
                  <a:lnTo>
                    <a:pt x="52" y="170"/>
                  </a:lnTo>
                  <a:lnTo>
                    <a:pt x="54" y="175"/>
                  </a:lnTo>
                  <a:lnTo>
                    <a:pt x="58" y="183"/>
                  </a:lnTo>
                  <a:lnTo>
                    <a:pt x="55" y="187"/>
                  </a:lnTo>
                  <a:lnTo>
                    <a:pt x="48" y="184"/>
                  </a:lnTo>
                  <a:lnTo>
                    <a:pt x="40" y="178"/>
                  </a:lnTo>
                  <a:lnTo>
                    <a:pt x="34" y="177"/>
                  </a:lnTo>
                  <a:lnTo>
                    <a:pt x="21" y="178"/>
                  </a:lnTo>
                  <a:lnTo>
                    <a:pt x="12" y="176"/>
                  </a:lnTo>
                  <a:lnTo>
                    <a:pt x="1" y="175"/>
                  </a:lnTo>
                  <a:lnTo>
                    <a:pt x="0" y="171"/>
                  </a:lnTo>
                  <a:lnTo>
                    <a:pt x="1" y="166"/>
                  </a:lnTo>
                  <a:lnTo>
                    <a:pt x="10" y="156"/>
                  </a:lnTo>
                  <a:lnTo>
                    <a:pt x="11" y="152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34" name="Freeform 441"/>
            <p:cNvSpPr>
              <a:spLocks/>
            </p:cNvSpPr>
            <p:nvPr/>
          </p:nvSpPr>
          <p:spPr bwMode="auto">
            <a:xfrm>
              <a:off x="3934190" y="5057318"/>
              <a:ext cx="352523" cy="350386"/>
            </a:xfrm>
            <a:custGeom>
              <a:avLst/>
              <a:gdLst>
                <a:gd name="T0" fmla="*/ 67 w 161"/>
                <a:gd name="T1" fmla="*/ 84 h 172"/>
                <a:gd name="T2" fmla="*/ 66 w 161"/>
                <a:gd name="T3" fmla="*/ 79 h 172"/>
                <a:gd name="T4" fmla="*/ 61 w 161"/>
                <a:gd name="T5" fmla="*/ 76 h 172"/>
                <a:gd name="T6" fmla="*/ 57 w 161"/>
                <a:gd name="T7" fmla="*/ 78 h 172"/>
                <a:gd name="T8" fmla="*/ 52 w 161"/>
                <a:gd name="T9" fmla="*/ 81 h 172"/>
                <a:gd name="T10" fmla="*/ 48 w 161"/>
                <a:gd name="T11" fmla="*/ 82 h 172"/>
                <a:gd name="T12" fmla="*/ 43 w 161"/>
                <a:gd name="T13" fmla="*/ 81 h 172"/>
                <a:gd name="T14" fmla="*/ 42 w 161"/>
                <a:gd name="T15" fmla="*/ 74 h 172"/>
                <a:gd name="T16" fmla="*/ 37 w 161"/>
                <a:gd name="T17" fmla="*/ 75 h 172"/>
                <a:gd name="T18" fmla="*/ 33 w 161"/>
                <a:gd name="T19" fmla="*/ 74 h 172"/>
                <a:gd name="T20" fmla="*/ 29 w 161"/>
                <a:gd name="T21" fmla="*/ 70 h 172"/>
                <a:gd name="T22" fmla="*/ 25 w 161"/>
                <a:gd name="T23" fmla="*/ 63 h 172"/>
                <a:gd name="T24" fmla="*/ 25 w 161"/>
                <a:gd name="T25" fmla="*/ 56 h 172"/>
                <a:gd name="T26" fmla="*/ 23 w 161"/>
                <a:gd name="T27" fmla="*/ 48 h 172"/>
                <a:gd name="T28" fmla="*/ 19 w 161"/>
                <a:gd name="T29" fmla="*/ 40 h 172"/>
                <a:gd name="T30" fmla="*/ 12 w 161"/>
                <a:gd name="T31" fmla="*/ 39 h 172"/>
                <a:gd name="T32" fmla="*/ 11 w 161"/>
                <a:gd name="T33" fmla="*/ 47 h 172"/>
                <a:gd name="T34" fmla="*/ 9 w 161"/>
                <a:gd name="T35" fmla="*/ 52 h 172"/>
                <a:gd name="T36" fmla="*/ 2 w 161"/>
                <a:gd name="T37" fmla="*/ 48 h 172"/>
                <a:gd name="T38" fmla="*/ 1 w 161"/>
                <a:gd name="T39" fmla="*/ 43 h 172"/>
                <a:gd name="T40" fmla="*/ 1 w 161"/>
                <a:gd name="T41" fmla="*/ 37 h 172"/>
                <a:gd name="T42" fmla="*/ 2 w 161"/>
                <a:gd name="T43" fmla="*/ 32 h 172"/>
                <a:gd name="T44" fmla="*/ 3 w 161"/>
                <a:gd name="T45" fmla="*/ 28 h 172"/>
                <a:gd name="T46" fmla="*/ 5 w 161"/>
                <a:gd name="T47" fmla="*/ 20 h 172"/>
                <a:gd name="T48" fmla="*/ 10 w 161"/>
                <a:gd name="T49" fmla="*/ 12 h 172"/>
                <a:gd name="T50" fmla="*/ 16 w 161"/>
                <a:gd name="T51" fmla="*/ 10 h 172"/>
                <a:gd name="T52" fmla="*/ 22 w 161"/>
                <a:gd name="T53" fmla="*/ 12 h 172"/>
                <a:gd name="T54" fmla="*/ 25 w 161"/>
                <a:gd name="T55" fmla="*/ 8 h 172"/>
                <a:gd name="T56" fmla="*/ 26 w 161"/>
                <a:gd name="T57" fmla="*/ 3 h 172"/>
                <a:gd name="T58" fmla="*/ 39 w 161"/>
                <a:gd name="T59" fmla="*/ 8 h 172"/>
                <a:gd name="T60" fmla="*/ 47 w 161"/>
                <a:gd name="T61" fmla="*/ 3 h 172"/>
                <a:gd name="T62" fmla="*/ 55 w 161"/>
                <a:gd name="T63" fmla="*/ 0 h 172"/>
                <a:gd name="T64" fmla="*/ 64 w 161"/>
                <a:gd name="T65" fmla="*/ 7 h 172"/>
                <a:gd name="T66" fmla="*/ 64 w 161"/>
                <a:gd name="T67" fmla="*/ 20 h 172"/>
                <a:gd name="T68" fmla="*/ 60 w 161"/>
                <a:gd name="T69" fmla="*/ 26 h 172"/>
                <a:gd name="T70" fmla="*/ 53 w 161"/>
                <a:gd name="T71" fmla="*/ 30 h 172"/>
                <a:gd name="T72" fmla="*/ 54 w 161"/>
                <a:gd name="T73" fmla="*/ 36 h 172"/>
                <a:gd name="T74" fmla="*/ 63 w 161"/>
                <a:gd name="T75" fmla="*/ 39 h 172"/>
                <a:gd name="T76" fmla="*/ 75 w 161"/>
                <a:gd name="T77" fmla="*/ 38 h 172"/>
                <a:gd name="T78" fmla="*/ 67 w 161"/>
                <a:gd name="T79" fmla="*/ 49 h 172"/>
                <a:gd name="T80" fmla="*/ 76 w 161"/>
                <a:gd name="T81" fmla="*/ 56 h 172"/>
                <a:gd name="T82" fmla="*/ 79 w 161"/>
                <a:gd name="T83" fmla="*/ 65 h 172"/>
                <a:gd name="T84" fmla="*/ 79 w 161"/>
                <a:gd name="T85" fmla="*/ 79 h 172"/>
                <a:gd name="T86" fmla="*/ 69 w 161"/>
                <a:gd name="T87" fmla="*/ 85 h 1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61" h="172">
                  <a:moveTo>
                    <a:pt x="135" y="172"/>
                  </a:moveTo>
                  <a:lnTo>
                    <a:pt x="135" y="170"/>
                  </a:lnTo>
                  <a:lnTo>
                    <a:pt x="133" y="167"/>
                  </a:lnTo>
                  <a:lnTo>
                    <a:pt x="133" y="164"/>
                  </a:lnTo>
                  <a:lnTo>
                    <a:pt x="132" y="159"/>
                  </a:lnTo>
                  <a:lnTo>
                    <a:pt x="132" y="158"/>
                  </a:lnTo>
                  <a:lnTo>
                    <a:pt x="131" y="155"/>
                  </a:lnTo>
                  <a:lnTo>
                    <a:pt x="125" y="153"/>
                  </a:lnTo>
                  <a:lnTo>
                    <a:pt x="121" y="152"/>
                  </a:lnTo>
                  <a:lnTo>
                    <a:pt x="115" y="151"/>
                  </a:lnTo>
                  <a:lnTo>
                    <a:pt x="114" y="152"/>
                  </a:lnTo>
                  <a:lnTo>
                    <a:pt x="113" y="155"/>
                  </a:lnTo>
                  <a:lnTo>
                    <a:pt x="111" y="158"/>
                  </a:lnTo>
                  <a:lnTo>
                    <a:pt x="107" y="160"/>
                  </a:lnTo>
                  <a:lnTo>
                    <a:pt x="104" y="161"/>
                  </a:lnTo>
                  <a:lnTo>
                    <a:pt x="97" y="160"/>
                  </a:lnTo>
                  <a:lnTo>
                    <a:pt x="96" y="161"/>
                  </a:lnTo>
                  <a:lnTo>
                    <a:pt x="95" y="164"/>
                  </a:lnTo>
                  <a:lnTo>
                    <a:pt x="91" y="164"/>
                  </a:lnTo>
                  <a:lnTo>
                    <a:pt x="89" y="163"/>
                  </a:lnTo>
                  <a:lnTo>
                    <a:pt x="86" y="161"/>
                  </a:lnTo>
                  <a:lnTo>
                    <a:pt x="85" y="159"/>
                  </a:lnTo>
                  <a:lnTo>
                    <a:pt x="84" y="152"/>
                  </a:lnTo>
                  <a:lnTo>
                    <a:pt x="83" y="148"/>
                  </a:lnTo>
                  <a:lnTo>
                    <a:pt x="80" y="148"/>
                  </a:lnTo>
                  <a:lnTo>
                    <a:pt x="77" y="148"/>
                  </a:lnTo>
                  <a:lnTo>
                    <a:pt x="74" y="149"/>
                  </a:lnTo>
                  <a:lnTo>
                    <a:pt x="69" y="151"/>
                  </a:lnTo>
                  <a:lnTo>
                    <a:pt x="68" y="149"/>
                  </a:lnTo>
                  <a:lnTo>
                    <a:pt x="65" y="147"/>
                  </a:lnTo>
                  <a:lnTo>
                    <a:pt x="62" y="143"/>
                  </a:lnTo>
                  <a:lnTo>
                    <a:pt x="57" y="142"/>
                  </a:lnTo>
                  <a:lnTo>
                    <a:pt x="57" y="139"/>
                  </a:lnTo>
                  <a:lnTo>
                    <a:pt x="55" y="134"/>
                  </a:lnTo>
                  <a:lnTo>
                    <a:pt x="51" y="130"/>
                  </a:lnTo>
                  <a:lnTo>
                    <a:pt x="50" y="125"/>
                  </a:lnTo>
                  <a:lnTo>
                    <a:pt x="50" y="121"/>
                  </a:lnTo>
                  <a:lnTo>
                    <a:pt x="50" y="116"/>
                  </a:lnTo>
                  <a:lnTo>
                    <a:pt x="50" y="112"/>
                  </a:lnTo>
                  <a:lnTo>
                    <a:pt x="49" y="107"/>
                  </a:lnTo>
                  <a:lnTo>
                    <a:pt x="47" y="103"/>
                  </a:lnTo>
                  <a:lnTo>
                    <a:pt x="45" y="95"/>
                  </a:lnTo>
                  <a:lnTo>
                    <a:pt x="43" y="89"/>
                  </a:lnTo>
                  <a:lnTo>
                    <a:pt x="42" y="83"/>
                  </a:lnTo>
                  <a:lnTo>
                    <a:pt x="38" y="80"/>
                  </a:lnTo>
                  <a:lnTo>
                    <a:pt x="33" y="76"/>
                  </a:lnTo>
                  <a:lnTo>
                    <a:pt x="29" y="75"/>
                  </a:lnTo>
                  <a:lnTo>
                    <a:pt x="23" y="77"/>
                  </a:lnTo>
                  <a:lnTo>
                    <a:pt x="21" y="82"/>
                  </a:lnTo>
                  <a:lnTo>
                    <a:pt x="21" y="87"/>
                  </a:lnTo>
                  <a:lnTo>
                    <a:pt x="21" y="93"/>
                  </a:lnTo>
                  <a:lnTo>
                    <a:pt x="21" y="98"/>
                  </a:lnTo>
                  <a:lnTo>
                    <a:pt x="20" y="101"/>
                  </a:lnTo>
                  <a:lnTo>
                    <a:pt x="18" y="103"/>
                  </a:lnTo>
                  <a:lnTo>
                    <a:pt x="13" y="101"/>
                  </a:lnTo>
                  <a:lnTo>
                    <a:pt x="8" y="98"/>
                  </a:lnTo>
                  <a:lnTo>
                    <a:pt x="3" y="95"/>
                  </a:lnTo>
                  <a:lnTo>
                    <a:pt x="0" y="92"/>
                  </a:lnTo>
                  <a:lnTo>
                    <a:pt x="0" y="91"/>
                  </a:lnTo>
                  <a:lnTo>
                    <a:pt x="2" y="86"/>
                  </a:lnTo>
                  <a:lnTo>
                    <a:pt x="2" y="82"/>
                  </a:lnTo>
                  <a:lnTo>
                    <a:pt x="3" y="79"/>
                  </a:lnTo>
                  <a:lnTo>
                    <a:pt x="2" y="74"/>
                  </a:lnTo>
                  <a:lnTo>
                    <a:pt x="2" y="71"/>
                  </a:lnTo>
                  <a:lnTo>
                    <a:pt x="3" y="68"/>
                  </a:lnTo>
                  <a:lnTo>
                    <a:pt x="3" y="64"/>
                  </a:lnTo>
                  <a:lnTo>
                    <a:pt x="3" y="61"/>
                  </a:lnTo>
                  <a:lnTo>
                    <a:pt x="5" y="58"/>
                  </a:lnTo>
                  <a:lnTo>
                    <a:pt x="6" y="56"/>
                  </a:lnTo>
                  <a:lnTo>
                    <a:pt x="7" y="52"/>
                  </a:lnTo>
                  <a:lnTo>
                    <a:pt x="7" y="46"/>
                  </a:lnTo>
                  <a:lnTo>
                    <a:pt x="9" y="39"/>
                  </a:lnTo>
                  <a:lnTo>
                    <a:pt x="12" y="33"/>
                  </a:lnTo>
                  <a:lnTo>
                    <a:pt x="15" y="28"/>
                  </a:lnTo>
                  <a:lnTo>
                    <a:pt x="20" y="24"/>
                  </a:lnTo>
                  <a:lnTo>
                    <a:pt x="23" y="21"/>
                  </a:lnTo>
                  <a:lnTo>
                    <a:pt x="29" y="20"/>
                  </a:lnTo>
                  <a:lnTo>
                    <a:pt x="32" y="19"/>
                  </a:lnTo>
                  <a:lnTo>
                    <a:pt x="38" y="20"/>
                  </a:lnTo>
                  <a:lnTo>
                    <a:pt x="42" y="22"/>
                  </a:lnTo>
                  <a:lnTo>
                    <a:pt x="44" y="24"/>
                  </a:lnTo>
                  <a:lnTo>
                    <a:pt x="47" y="22"/>
                  </a:lnTo>
                  <a:lnTo>
                    <a:pt x="49" y="20"/>
                  </a:lnTo>
                  <a:lnTo>
                    <a:pt x="49" y="16"/>
                  </a:lnTo>
                  <a:lnTo>
                    <a:pt x="49" y="12"/>
                  </a:lnTo>
                  <a:lnTo>
                    <a:pt x="50" y="9"/>
                  </a:lnTo>
                  <a:lnTo>
                    <a:pt x="51" y="6"/>
                  </a:lnTo>
                  <a:lnTo>
                    <a:pt x="53" y="4"/>
                  </a:lnTo>
                  <a:lnTo>
                    <a:pt x="60" y="8"/>
                  </a:lnTo>
                  <a:lnTo>
                    <a:pt x="77" y="15"/>
                  </a:lnTo>
                  <a:lnTo>
                    <a:pt x="84" y="14"/>
                  </a:lnTo>
                  <a:lnTo>
                    <a:pt x="89" y="10"/>
                  </a:lnTo>
                  <a:lnTo>
                    <a:pt x="93" y="6"/>
                  </a:lnTo>
                  <a:lnTo>
                    <a:pt x="97" y="2"/>
                  </a:lnTo>
                  <a:lnTo>
                    <a:pt x="103" y="0"/>
                  </a:lnTo>
                  <a:lnTo>
                    <a:pt x="109" y="0"/>
                  </a:lnTo>
                  <a:lnTo>
                    <a:pt x="114" y="1"/>
                  </a:lnTo>
                  <a:lnTo>
                    <a:pt x="119" y="6"/>
                  </a:lnTo>
                  <a:lnTo>
                    <a:pt x="127" y="14"/>
                  </a:lnTo>
                  <a:lnTo>
                    <a:pt x="131" y="22"/>
                  </a:lnTo>
                  <a:lnTo>
                    <a:pt x="129" y="31"/>
                  </a:lnTo>
                  <a:lnTo>
                    <a:pt x="127" y="40"/>
                  </a:lnTo>
                  <a:lnTo>
                    <a:pt x="126" y="46"/>
                  </a:lnTo>
                  <a:lnTo>
                    <a:pt x="125" y="51"/>
                  </a:lnTo>
                  <a:lnTo>
                    <a:pt x="120" y="52"/>
                  </a:lnTo>
                  <a:lnTo>
                    <a:pt x="115" y="51"/>
                  </a:lnTo>
                  <a:lnTo>
                    <a:pt x="110" y="54"/>
                  </a:lnTo>
                  <a:lnTo>
                    <a:pt x="105" y="60"/>
                  </a:lnTo>
                  <a:lnTo>
                    <a:pt x="103" y="66"/>
                  </a:lnTo>
                  <a:lnTo>
                    <a:pt x="105" y="69"/>
                  </a:lnTo>
                  <a:lnTo>
                    <a:pt x="108" y="71"/>
                  </a:lnTo>
                  <a:lnTo>
                    <a:pt x="113" y="71"/>
                  </a:lnTo>
                  <a:lnTo>
                    <a:pt x="119" y="74"/>
                  </a:lnTo>
                  <a:lnTo>
                    <a:pt x="126" y="77"/>
                  </a:lnTo>
                  <a:lnTo>
                    <a:pt x="131" y="79"/>
                  </a:lnTo>
                  <a:lnTo>
                    <a:pt x="137" y="77"/>
                  </a:lnTo>
                  <a:lnTo>
                    <a:pt x="149" y="75"/>
                  </a:lnTo>
                  <a:lnTo>
                    <a:pt x="146" y="83"/>
                  </a:lnTo>
                  <a:lnTo>
                    <a:pt x="137" y="92"/>
                  </a:lnTo>
                  <a:lnTo>
                    <a:pt x="134" y="97"/>
                  </a:lnTo>
                  <a:lnTo>
                    <a:pt x="146" y="100"/>
                  </a:lnTo>
                  <a:lnTo>
                    <a:pt x="150" y="109"/>
                  </a:lnTo>
                  <a:lnTo>
                    <a:pt x="152" y="112"/>
                  </a:lnTo>
                  <a:lnTo>
                    <a:pt x="152" y="118"/>
                  </a:lnTo>
                  <a:lnTo>
                    <a:pt x="155" y="127"/>
                  </a:lnTo>
                  <a:lnTo>
                    <a:pt x="157" y="129"/>
                  </a:lnTo>
                  <a:lnTo>
                    <a:pt x="161" y="137"/>
                  </a:lnTo>
                  <a:lnTo>
                    <a:pt x="159" y="143"/>
                  </a:lnTo>
                  <a:lnTo>
                    <a:pt x="157" y="157"/>
                  </a:lnTo>
                  <a:lnTo>
                    <a:pt x="153" y="159"/>
                  </a:lnTo>
                  <a:lnTo>
                    <a:pt x="139" y="166"/>
                  </a:lnTo>
                  <a:lnTo>
                    <a:pt x="138" y="169"/>
                  </a:lnTo>
                  <a:lnTo>
                    <a:pt x="135" y="172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35" name="Freeform 442"/>
            <p:cNvSpPr>
              <a:spLocks/>
            </p:cNvSpPr>
            <p:nvPr/>
          </p:nvSpPr>
          <p:spPr bwMode="auto">
            <a:xfrm>
              <a:off x="3703527" y="4947313"/>
              <a:ext cx="348171" cy="317792"/>
            </a:xfrm>
            <a:custGeom>
              <a:avLst/>
              <a:gdLst>
                <a:gd name="T0" fmla="*/ 15 w 160"/>
                <a:gd name="T1" fmla="*/ 69 h 156"/>
                <a:gd name="T2" fmla="*/ 17 w 160"/>
                <a:gd name="T3" fmla="*/ 62 h 156"/>
                <a:gd name="T4" fmla="*/ 19 w 160"/>
                <a:gd name="T5" fmla="*/ 58 h 156"/>
                <a:gd name="T6" fmla="*/ 24 w 160"/>
                <a:gd name="T7" fmla="*/ 55 h 156"/>
                <a:gd name="T8" fmla="*/ 27 w 160"/>
                <a:gd name="T9" fmla="*/ 51 h 156"/>
                <a:gd name="T10" fmla="*/ 30 w 160"/>
                <a:gd name="T11" fmla="*/ 48 h 156"/>
                <a:gd name="T12" fmla="*/ 33 w 160"/>
                <a:gd name="T13" fmla="*/ 43 h 156"/>
                <a:gd name="T14" fmla="*/ 29 w 160"/>
                <a:gd name="T15" fmla="*/ 39 h 156"/>
                <a:gd name="T16" fmla="*/ 25 w 160"/>
                <a:gd name="T17" fmla="*/ 41 h 156"/>
                <a:gd name="T18" fmla="*/ 19 w 160"/>
                <a:gd name="T19" fmla="*/ 40 h 156"/>
                <a:gd name="T20" fmla="*/ 13 w 160"/>
                <a:gd name="T21" fmla="*/ 37 h 156"/>
                <a:gd name="T22" fmla="*/ 4 w 160"/>
                <a:gd name="T23" fmla="*/ 35 h 156"/>
                <a:gd name="T24" fmla="*/ 1 w 160"/>
                <a:gd name="T25" fmla="*/ 33 h 156"/>
                <a:gd name="T26" fmla="*/ 2 w 160"/>
                <a:gd name="T27" fmla="*/ 27 h 156"/>
                <a:gd name="T28" fmla="*/ 19 w 160"/>
                <a:gd name="T29" fmla="*/ 19 h 156"/>
                <a:gd name="T30" fmla="*/ 28 w 160"/>
                <a:gd name="T31" fmla="*/ 12 h 156"/>
                <a:gd name="T32" fmla="*/ 30 w 160"/>
                <a:gd name="T33" fmla="*/ 5 h 156"/>
                <a:gd name="T34" fmla="*/ 38 w 160"/>
                <a:gd name="T35" fmla="*/ 3 h 156"/>
                <a:gd name="T36" fmla="*/ 44 w 160"/>
                <a:gd name="T37" fmla="*/ 2 h 156"/>
                <a:gd name="T38" fmla="*/ 48 w 160"/>
                <a:gd name="T39" fmla="*/ 3 h 156"/>
                <a:gd name="T40" fmla="*/ 52 w 160"/>
                <a:gd name="T41" fmla="*/ 1 h 156"/>
                <a:gd name="T42" fmla="*/ 58 w 160"/>
                <a:gd name="T43" fmla="*/ 1 h 156"/>
                <a:gd name="T44" fmla="*/ 63 w 160"/>
                <a:gd name="T45" fmla="*/ 3 h 156"/>
                <a:gd name="T46" fmla="*/ 65 w 160"/>
                <a:gd name="T47" fmla="*/ 2 h 156"/>
                <a:gd name="T48" fmla="*/ 69 w 160"/>
                <a:gd name="T49" fmla="*/ 4 h 156"/>
                <a:gd name="T50" fmla="*/ 70 w 160"/>
                <a:gd name="T51" fmla="*/ 22 h 156"/>
                <a:gd name="T52" fmla="*/ 79 w 160"/>
                <a:gd name="T53" fmla="*/ 30 h 156"/>
                <a:gd name="T54" fmla="*/ 78 w 160"/>
                <a:gd name="T55" fmla="*/ 35 h 156"/>
                <a:gd name="T56" fmla="*/ 76 w 160"/>
                <a:gd name="T57" fmla="*/ 39 h 156"/>
                <a:gd name="T58" fmla="*/ 70 w 160"/>
                <a:gd name="T59" fmla="*/ 36 h 156"/>
                <a:gd name="T60" fmla="*/ 64 w 160"/>
                <a:gd name="T61" fmla="*/ 39 h 156"/>
                <a:gd name="T62" fmla="*/ 58 w 160"/>
                <a:gd name="T63" fmla="*/ 46 h 156"/>
                <a:gd name="T64" fmla="*/ 57 w 160"/>
                <a:gd name="T65" fmla="*/ 55 h 156"/>
                <a:gd name="T66" fmla="*/ 55 w 160"/>
                <a:gd name="T67" fmla="*/ 59 h 156"/>
                <a:gd name="T68" fmla="*/ 55 w 160"/>
                <a:gd name="T69" fmla="*/ 64 h 156"/>
                <a:gd name="T70" fmla="*/ 55 w 160"/>
                <a:gd name="T71" fmla="*/ 70 h 156"/>
                <a:gd name="T72" fmla="*/ 48 w 160"/>
                <a:gd name="T73" fmla="*/ 70 h 156"/>
                <a:gd name="T74" fmla="*/ 36 w 160"/>
                <a:gd name="T75" fmla="*/ 64 h 156"/>
                <a:gd name="T76" fmla="*/ 33 w 160"/>
                <a:gd name="T77" fmla="*/ 68 h 156"/>
                <a:gd name="T78" fmla="*/ 30 w 160"/>
                <a:gd name="T79" fmla="*/ 70 h 156"/>
                <a:gd name="T80" fmla="*/ 24 w 160"/>
                <a:gd name="T81" fmla="*/ 73 h 156"/>
                <a:gd name="T82" fmla="*/ 24 w 160"/>
                <a:gd name="T83" fmla="*/ 77 h 156"/>
                <a:gd name="T84" fmla="*/ 19 w 160"/>
                <a:gd name="T85" fmla="*/ 78 h 15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60" h="156">
                  <a:moveTo>
                    <a:pt x="32" y="154"/>
                  </a:moveTo>
                  <a:lnTo>
                    <a:pt x="30" y="142"/>
                  </a:lnTo>
                  <a:lnTo>
                    <a:pt x="29" y="138"/>
                  </a:lnTo>
                  <a:lnTo>
                    <a:pt x="31" y="134"/>
                  </a:lnTo>
                  <a:lnTo>
                    <a:pt x="32" y="129"/>
                  </a:lnTo>
                  <a:lnTo>
                    <a:pt x="34" y="124"/>
                  </a:lnTo>
                  <a:lnTo>
                    <a:pt x="35" y="121"/>
                  </a:lnTo>
                  <a:lnTo>
                    <a:pt x="35" y="119"/>
                  </a:lnTo>
                  <a:lnTo>
                    <a:pt x="38" y="116"/>
                  </a:lnTo>
                  <a:lnTo>
                    <a:pt x="41" y="114"/>
                  </a:lnTo>
                  <a:lnTo>
                    <a:pt x="44" y="111"/>
                  </a:lnTo>
                  <a:lnTo>
                    <a:pt x="48" y="110"/>
                  </a:lnTo>
                  <a:lnTo>
                    <a:pt x="50" y="107"/>
                  </a:lnTo>
                  <a:lnTo>
                    <a:pt x="53" y="104"/>
                  </a:lnTo>
                  <a:lnTo>
                    <a:pt x="54" y="101"/>
                  </a:lnTo>
                  <a:lnTo>
                    <a:pt x="55" y="98"/>
                  </a:lnTo>
                  <a:lnTo>
                    <a:pt x="59" y="97"/>
                  </a:lnTo>
                  <a:lnTo>
                    <a:pt x="60" y="95"/>
                  </a:lnTo>
                  <a:lnTo>
                    <a:pt x="61" y="93"/>
                  </a:lnTo>
                  <a:lnTo>
                    <a:pt x="62" y="90"/>
                  </a:lnTo>
                  <a:lnTo>
                    <a:pt x="65" y="85"/>
                  </a:lnTo>
                  <a:lnTo>
                    <a:pt x="64" y="81"/>
                  </a:lnTo>
                  <a:lnTo>
                    <a:pt x="60" y="78"/>
                  </a:lnTo>
                  <a:lnTo>
                    <a:pt x="58" y="78"/>
                  </a:lnTo>
                  <a:lnTo>
                    <a:pt x="55" y="78"/>
                  </a:lnTo>
                  <a:lnTo>
                    <a:pt x="52" y="80"/>
                  </a:lnTo>
                  <a:lnTo>
                    <a:pt x="49" y="81"/>
                  </a:lnTo>
                  <a:lnTo>
                    <a:pt x="46" y="81"/>
                  </a:lnTo>
                  <a:lnTo>
                    <a:pt x="42" y="81"/>
                  </a:lnTo>
                  <a:lnTo>
                    <a:pt x="38" y="79"/>
                  </a:lnTo>
                  <a:lnTo>
                    <a:pt x="36" y="78"/>
                  </a:lnTo>
                  <a:lnTo>
                    <a:pt x="31" y="75"/>
                  </a:lnTo>
                  <a:lnTo>
                    <a:pt x="25" y="73"/>
                  </a:lnTo>
                  <a:lnTo>
                    <a:pt x="20" y="72"/>
                  </a:lnTo>
                  <a:lnTo>
                    <a:pt x="13" y="71"/>
                  </a:lnTo>
                  <a:lnTo>
                    <a:pt x="7" y="69"/>
                  </a:lnTo>
                  <a:lnTo>
                    <a:pt x="5" y="67"/>
                  </a:lnTo>
                  <a:lnTo>
                    <a:pt x="2" y="67"/>
                  </a:lnTo>
                  <a:lnTo>
                    <a:pt x="1" y="65"/>
                  </a:lnTo>
                  <a:lnTo>
                    <a:pt x="0" y="62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30" y="39"/>
                  </a:lnTo>
                  <a:lnTo>
                    <a:pt x="32" y="37"/>
                  </a:lnTo>
                  <a:lnTo>
                    <a:pt x="38" y="37"/>
                  </a:lnTo>
                  <a:lnTo>
                    <a:pt x="49" y="32"/>
                  </a:lnTo>
                  <a:lnTo>
                    <a:pt x="53" y="27"/>
                  </a:lnTo>
                  <a:lnTo>
                    <a:pt x="55" y="23"/>
                  </a:lnTo>
                  <a:lnTo>
                    <a:pt x="55" y="18"/>
                  </a:lnTo>
                  <a:lnTo>
                    <a:pt x="58" y="14"/>
                  </a:lnTo>
                  <a:lnTo>
                    <a:pt x="60" y="9"/>
                  </a:lnTo>
                  <a:lnTo>
                    <a:pt x="61" y="7"/>
                  </a:lnTo>
                  <a:lnTo>
                    <a:pt x="66" y="5"/>
                  </a:lnTo>
                  <a:lnTo>
                    <a:pt x="76" y="6"/>
                  </a:lnTo>
                  <a:lnTo>
                    <a:pt x="82" y="6"/>
                  </a:lnTo>
                  <a:lnTo>
                    <a:pt x="85" y="5"/>
                  </a:lnTo>
                  <a:lnTo>
                    <a:pt x="88" y="4"/>
                  </a:lnTo>
                  <a:lnTo>
                    <a:pt x="90" y="4"/>
                  </a:lnTo>
                  <a:lnTo>
                    <a:pt x="92" y="5"/>
                  </a:lnTo>
                  <a:lnTo>
                    <a:pt x="95" y="6"/>
                  </a:lnTo>
                  <a:lnTo>
                    <a:pt x="97" y="6"/>
                  </a:lnTo>
                  <a:lnTo>
                    <a:pt x="100" y="5"/>
                  </a:lnTo>
                  <a:lnTo>
                    <a:pt x="104" y="2"/>
                  </a:lnTo>
                  <a:lnTo>
                    <a:pt x="108" y="1"/>
                  </a:lnTo>
                  <a:lnTo>
                    <a:pt x="112" y="1"/>
                  </a:lnTo>
                  <a:lnTo>
                    <a:pt x="115" y="2"/>
                  </a:lnTo>
                  <a:lnTo>
                    <a:pt x="118" y="4"/>
                  </a:lnTo>
                  <a:lnTo>
                    <a:pt x="121" y="5"/>
                  </a:lnTo>
                  <a:lnTo>
                    <a:pt x="125" y="6"/>
                  </a:lnTo>
                  <a:lnTo>
                    <a:pt x="126" y="5"/>
                  </a:lnTo>
                  <a:lnTo>
                    <a:pt x="128" y="4"/>
                  </a:lnTo>
                  <a:lnTo>
                    <a:pt x="130" y="4"/>
                  </a:lnTo>
                  <a:lnTo>
                    <a:pt x="133" y="0"/>
                  </a:lnTo>
                  <a:lnTo>
                    <a:pt x="136" y="2"/>
                  </a:lnTo>
                  <a:lnTo>
                    <a:pt x="137" y="8"/>
                  </a:lnTo>
                  <a:lnTo>
                    <a:pt x="136" y="21"/>
                  </a:lnTo>
                  <a:lnTo>
                    <a:pt x="136" y="33"/>
                  </a:lnTo>
                  <a:lnTo>
                    <a:pt x="139" y="43"/>
                  </a:lnTo>
                  <a:lnTo>
                    <a:pt x="146" y="50"/>
                  </a:lnTo>
                  <a:lnTo>
                    <a:pt x="160" y="57"/>
                  </a:lnTo>
                  <a:lnTo>
                    <a:pt x="158" y="59"/>
                  </a:lnTo>
                  <a:lnTo>
                    <a:pt x="157" y="62"/>
                  </a:lnTo>
                  <a:lnTo>
                    <a:pt x="156" y="65"/>
                  </a:lnTo>
                  <a:lnTo>
                    <a:pt x="156" y="69"/>
                  </a:lnTo>
                  <a:lnTo>
                    <a:pt x="156" y="73"/>
                  </a:lnTo>
                  <a:lnTo>
                    <a:pt x="154" y="75"/>
                  </a:lnTo>
                  <a:lnTo>
                    <a:pt x="151" y="77"/>
                  </a:lnTo>
                  <a:lnTo>
                    <a:pt x="149" y="75"/>
                  </a:lnTo>
                  <a:lnTo>
                    <a:pt x="145" y="73"/>
                  </a:lnTo>
                  <a:lnTo>
                    <a:pt x="139" y="72"/>
                  </a:lnTo>
                  <a:lnTo>
                    <a:pt x="136" y="73"/>
                  </a:lnTo>
                  <a:lnTo>
                    <a:pt x="130" y="74"/>
                  </a:lnTo>
                  <a:lnTo>
                    <a:pt x="127" y="77"/>
                  </a:lnTo>
                  <a:lnTo>
                    <a:pt x="122" y="81"/>
                  </a:lnTo>
                  <a:lnTo>
                    <a:pt x="119" y="86"/>
                  </a:lnTo>
                  <a:lnTo>
                    <a:pt x="116" y="92"/>
                  </a:lnTo>
                  <a:lnTo>
                    <a:pt x="114" y="99"/>
                  </a:lnTo>
                  <a:lnTo>
                    <a:pt x="114" y="105"/>
                  </a:lnTo>
                  <a:lnTo>
                    <a:pt x="113" y="109"/>
                  </a:lnTo>
                  <a:lnTo>
                    <a:pt x="112" y="111"/>
                  </a:lnTo>
                  <a:lnTo>
                    <a:pt x="110" y="114"/>
                  </a:lnTo>
                  <a:lnTo>
                    <a:pt x="110" y="117"/>
                  </a:lnTo>
                  <a:lnTo>
                    <a:pt x="110" y="121"/>
                  </a:lnTo>
                  <a:lnTo>
                    <a:pt x="109" y="124"/>
                  </a:lnTo>
                  <a:lnTo>
                    <a:pt x="109" y="127"/>
                  </a:lnTo>
                  <a:lnTo>
                    <a:pt x="110" y="132"/>
                  </a:lnTo>
                  <a:lnTo>
                    <a:pt x="109" y="135"/>
                  </a:lnTo>
                  <a:lnTo>
                    <a:pt x="109" y="139"/>
                  </a:lnTo>
                  <a:lnTo>
                    <a:pt x="107" y="144"/>
                  </a:lnTo>
                  <a:lnTo>
                    <a:pt x="102" y="141"/>
                  </a:lnTo>
                  <a:lnTo>
                    <a:pt x="95" y="139"/>
                  </a:lnTo>
                  <a:lnTo>
                    <a:pt x="89" y="134"/>
                  </a:lnTo>
                  <a:lnTo>
                    <a:pt x="78" y="129"/>
                  </a:lnTo>
                  <a:lnTo>
                    <a:pt x="72" y="128"/>
                  </a:lnTo>
                  <a:lnTo>
                    <a:pt x="70" y="129"/>
                  </a:lnTo>
                  <a:lnTo>
                    <a:pt x="68" y="132"/>
                  </a:lnTo>
                  <a:lnTo>
                    <a:pt x="66" y="136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9" y="140"/>
                  </a:lnTo>
                  <a:lnTo>
                    <a:pt x="55" y="141"/>
                  </a:lnTo>
                  <a:lnTo>
                    <a:pt x="53" y="144"/>
                  </a:lnTo>
                  <a:lnTo>
                    <a:pt x="48" y="146"/>
                  </a:lnTo>
                  <a:lnTo>
                    <a:pt x="48" y="147"/>
                  </a:lnTo>
                  <a:lnTo>
                    <a:pt x="48" y="151"/>
                  </a:lnTo>
                  <a:lnTo>
                    <a:pt x="47" y="154"/>
                  </a:lnTo>
                  <a:lnTo>
                    <a:pt x="44" y="154"/>
                  </a:lnTo>
                  <a:lnTo>
                    <a:pt x="42" y="156"/>
                  </a:lnTo>
                  <a:lnTo>
                    <a:pt x="38" y="156"/>
                  </a:lnTo>
                  <a:lnTo>
                    <a:pt x="32" y="154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36" name="Freeform 443"/>
            <p:cNvSpPr>
              <a:spLocks/>
            </p:cNvSpPr>
            <p:nvPr/>
          </p:nvSpPr>
          <p:spPr bwMode="auto">
            <a:xfrm>
              <a:off x="3603427" y="5045095"/>
              <a:ext cx="239368" cy="232232"/>
            </a:xfrm>
            <a:custGeom>
              <a:avLst/>
              <a:gdLst>
                <a:gd name="T0" fmla="*/ 25 w 111"/>
                <a:gd name="T1" fmla="*/ 55 h 113"/>
                <a:gd name="T2" fmla="*/ 18 w 111"/>
                <a:gd name="T3" fmla="*/ 53 h 113"/>
                <a:gd name="T4" fmla="*/ 12 w 111"/>
                <a:gd name="T5" fmla="*/ 46 h 113"/>
                <a:gd name="T6" fmla="*/ 9 w 111"/>
                <a:gd name="T7" fmla="*/ 43 h 113"/>
                <a:gd name="T8" fmla="*/ 10 w 111"/>
                <a:gd name="T9" fmla="*/ 40 h 113"/>
                <a:gd name="T10" fmla="*/ 8 w 111"/>
                <a:gd name="T11" fmla="*/ 37 h 113"/>
                <a:gd name="T12" fmla="*/ 5 w 111"/>
                <a:gd name="T13" fmla="*/ 37 h 113"/>
                <a:gd name="T14" fmla="*/ 2 w 111"/>
                <a:gd name="T15" fmla="*/ 34 h 113"/>
                <a:gd name="T16" fmla="*/ 1 w 111"/>
                <a:gd name="T17" fmla="*/ 23 h 113"/>
                <a:gd name="T18" fmla="*/ 5 w 111"/>
                <a:gd name="T19" fmla="*/ 19 h 113"/>
                <a:gd name="T20" fmla="*/ 4 w 111"/>
                <a:gd name="T21" fmla="*/ 17 h 113"/>
                <a:gd name="T22" fmla="*/ 1 w 111"/>
                <a:gd name="T23" fmla="*/ 11 h 113"/>
                <a:gd name="T24" fmla="*/ 2 w 111"/>
                <a:gd name="T25" fmla="*/ 7 h 113"/>
                <a:gd name="T26" fmla="*/ 10 w 111"/>
                <a:gd name="T27" fmla="*/ 0 h 113"/>
                <a:gd name="T28" fmla="*/ 16 w 111"/>
                <a:gd name="T29" fmla="*/ 7 h 113"/>
                <a:gd name="T30" fmla="*/ 23 w 111"/>
                <a:gd name="T31" fmla="*/ 8 h 113"/>
                <a:gd name="T32" fmla="*/ 24 w 111"/>
                <a:gd name="T33" fmla="*/ 10 h 113"/>
                <a:gd name="T34" fmla="*/ 26 w 111"/>
                <a:gd name="T35" fmla="*/ 11 h 113"/>
                <a:gd name="T36" fmla="*/ 33 w 111"/>
                <a:gd name="T37" fmla="*/ 13 h 113"/>
                <a:gd name="T38" fmla="*/ 38 w 111"/>
                <a:gd name="T39" fmla="*/ 14 h 113"/>
                <a:gd name="T40" fmla="*/ 42 w 111"/>
                <a:gd name="T41" fmla="*/ 16 h 113"/>
                <a:gd name="T42" fmla="*/ 46 w 111"/>
                <a:gd name="T43" fmla="*/ 17 h 113"/>
                <a:gd name="T44" fmla="*/ 49 w 111"/>
                <a:gd name="T45" fmla="*/ 17 h 113"/>
                <a:gd name="T46" fmla="*/ 52 w 111"/>
                <a:gd name="T47" fmla="*/ 16 h 113"/>
                <a:gd name="T48" fmla="*/ 55 w 111"/>
                <a:gd name="T49" fmla="*/ 17 h 113"/>
                <a:gd name="T50" fmla="*/ 54 w 111"/>
                <a:gd name="T51" fmla="*/ 22 h 113"/>
                <a:gd name="T52" fmla="*/ 53 w 111"/>
                <a:gd name="T53" fmla="*/ 24 h 113"/>
                <a:gd name="T54" fmla="*/ 50 w 111"/>
                <a:gd name="T55" fmla="*/ 26 h 113"/>
                <a:gd name="T56" fmla="*/ 49 w 111"/>
                <a:gd name="T57" fmla="*/ 29 h 113"/>
                <a:gd name="T58" fmla="*/ 47 w 111"/>
                <a:gd name="T59" fmla="*/ 32 h 113"/>
                <a:gd name="T60" fmla="*/ 43 w 111"/>
                <a:gd name="T61" fmla="*/ 34 h 113"/>
                <a:gd name="T62" fmla="*/ 40 w 111"/>
                <a:gd name="T63" fmla="*/ 36 h 113"/>
                <a:gd name="T64" fmla="*/ 40 w 111"/>
                <a:gd name="T65" fmla="*/ 39 h 113"/>
                <a:gd name="T66" fmla="*/ 38 w 111"/>
                <a:gd name="T67" fmla="*/ 44 h 113"/>
                <a:gd name="T68" fmla="*/ 37 w 111"/>
                <a:gd name="T69" fmla="*/ 46 h 113"/>
                <a:gd name="T70" fmla="*/ 28 w 111"/>
                <a:gd name="T71" fmla="*/ 39 h 113"/>
                <a:gd name="T72" fmla="*/ 23 w 111"/>
                <a:gd name="T73" fmla="*/ 42 h 113"/>
                <a:gd name="T74" fmla="*/ 23 w 111"/>
                <a:gd name="T75" fmla="*/ 46 h 113"/>
                <a:gd name="T76" fmla="*/ 26 w 111"/>
                <a:gd name="T77" fmla="*/ 50 h 113"/>
                <a:gd name="T78" fmla="*/ 27 w 111"/>
                <a:gd name="T79" fmla="*/ 57 h 11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11" h="113">
                  <a:moveTo>
                    <a:pt x="54" y="113"/>
                  </a:moveTo>
                  <a:lnTo>
                    <a:pt x="50" y="110"/>
                  </a:lnTo>
                  <a:lnTo>
                    <a:pt x="42" y="107"/>
                  </a:lnTo>
                  <a:lnTo>
                    <a:pt x="36" y="105"/>
                  </a:lnTo>
                  <a:lnTo>
                    <a:pt x="33" y="103"/>
                  </a:lnTo>
                  <a:lnTo>
                    <a:pt x="24" y="92"/>
                  </a:lnTo>
                  <a:lnTo>
                    <a:pt x="20" y="88"/>
                  </a:lnTo>
                  <a:lnTo>
                    <a:pt x="18" y="86"/>
                  </a:lnTo>
                  <a:lnTo>
                    <a:pt x="18" y="83"/>
                  </a:lnTo>
                  <a:lnTo>
                    <a:pt x="20" y="79"/>
                  </a:lnTo>
                  <a:lnTo>
                    <a:pt x="20" y="76"/>
                  </a:lnTo>
                  <a:lnTo>
                    <a:pt x="17" y="74"/>
                  </a:lnTo>
                  <a:lnTo>
                    <a:pt x="16" y="73"/>
                  </a:lnTo>
                  <a:lnTo>
                    <a:pt x="11" y="73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0" y="49"/>
                  </a:lnTo>
                  <a:lnTo>
                    <a:pt x="3" y="45"/>
                  </a:lnTo>
                  <a:lnTo>
                    <a:pt x="9" y="40"/>
                  </a:lnTo>
                  <a:lnTo>
                    <a:pt x="11" y="38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3" y="26"/>
                  </a:lnTo>
                  <a:lnTo>
                    <a:pt x="2" y="21"/>
                  </a:lnTo>
                  <a:lnTo>
                    <a:pt x="3" y="15"/>
                  </a:lnTo>
                  <a:lnTo>
                    <a:pt x="5" y="14"/>
                  </a:lnTo>
                  <a:lnTo>
                    <a:pt x="10" y="9"/>
                  </a:lnTo>
                  <a:lnTo>
                    <a:pt x="20" y="0"/>
                  </a:lnTo>
                  <a:lnTo>
                    <a:pt x="23" y="3"/>
                  </a:lnTo>
                  <a:lnTo>
                    <a:pt x="32" y="14"/>
                  </a:lnTo>
                  <a:lnTo>
                    <a:pt x="38" y="16"/>
                  </a:lnTo>
                  <a:lnTo>
                    <a:pt x="46" y="15"/>
                  </a:lnTo>
                  <a:lnTo>
                    <a:pt x="47" y="18"/>
                  </a:lnTo>
                  <a:lnTo>
                    <a:pt x="48" y="20"/>
                  </a:lnTo>
                  <a:lnTo>
                    <a:pt x="51" y="20"/>
                  </a:lnTo>
                  <a:lnTo>
                    <a:pt x="53" y="22"/>
                  </a:lnTo>
                  <a:lnTo>
                    <a:pt x="59" y="24"/>
                  </a:lnTo>
                  <a:lnTo>
                    <a:pt x="66" y="25"/>
                  </a:lnTo>
                  <a:lnTo>
                    <a:pt x="71" y="26"/>
                  </a:lnTo>
                  <a:lnTo>
                    <a:pt x="77" y="28"/>
                  </a:lnTo>
                  <a:lnTo>
                    <a:pt x="82" y="31"/>
                  </a:lnTo>
                  <a:lnTo>
                    <a:pt x="84" y="32"/>
                  </a:lnTo>
                  <a:lnTo>
                    <a:pt x="88" y="34"/>
                  </a:lnTo>
                  <a:lnTo>
                    <a:pt x="92" y="34"/>
                  </a:lnTo>
                  <a:lnTo>
                    <a:pt x="95" y="34"/>
                  </a:lnTo>
                  <a:lnTo>
                    <a:pt x="98" y="33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06" y="31"/>
                  </a:lnTo>
                  <a:lnTo>
                    <a:pt x="110" y="34"/>
                  </a:lnTo>
                  <a:lnTo>
                    <a:pt x="111" y="38"/>
                  </a:lnTo>
                  <a:lnTo>
                    <a:pt x="108" y="43"/>
                  </a:lnTo>
                  <a:lnTo>
                    <a:pt x="107" y="46"/>
                  </a:lnTo>
                  <a:lnTo>
                    <a:pt x="106" y="48"/>
                  </a:lnTo>
                  <a:lnTo>
                    <a:pt x="105" y="50"/>
                  </a:lnTo>
                  <a:lnTo>
                    <a:pt x="101" y="51"/>
                  </a:lnTo>
                  <a:lnTo>
                    <a:pt x="100" y="54"/>
                  </a:lnTo>
                  <a:lnTo>
                    <a:pt x="99" y="57"/>
                  </a:lnTo>
                  <a:lnTo>
                    <a:pt x="96" y="60"/>
                  </a:lnTo>
                  <a:lnTo>
                    <a:pt x="94" y="63"/>
                  </a:lnTo>
                  <a:lnTo>
                    <a:pt x="90" y="64"/>
                  </a:lnTo>
                  <a:lnTo>
                    <a:pt x="87" y="67"/>
                  </a:lnTo>
                  <a:lnTo>
                    <a:pt x="84" y="69"/>
                  </a:lnTo>
                  <a:lnTo>
                    <a:pt x="81" y="72"/>
                  </a:lnTo>
                  <a:lnTo>
                    <a:pt x="81" y="74"/>
                  </a:lnTo>
                  <a:lnTo>
                    <a:pt x="80" y="77"/>
                  </a:lnTo>
                  <a:lnTo>
                    <a:pt x="78" y="82"/>
                  </a:lnTo>
                  <a:lnTo>
                    <a:pt x="77" y="87"/>
                  </a:lnTo>
                  <a:lnTo>
                    <a:pt x="75" y="91"/>
                  </a:lnTo>
                  <a:lnTo>
                    <a:pt x="74" y="91"/>
                  </a:lnTo>
                  <a:lnTo>
                    <a:pt x="63" y="80"/>
                  </a:lnTo>
                  <a:lnTo>
                    <a:pt x="56" y="77"/>
                  </a:lnTo>
                  <a:lnTo>
                    <a:pt x="51" y="79"/>
                  </a:lnTo>
                  <a:lnTo>
                    <a:pt x="47" y="83"/>
                  </a:lnTo>
                  <a:lnTo>
                    <a:pt x="47" y="87"/>
                  </a:lnTo>
                  <a:lnTo>
                    <a:pt x="46" y="91"/>
                  </a:lnTo>
                  <a:lnTo>
                    <a:pt x="51" y="95"/>
                  </a:lnTo>
                  <a:lnTo>
                    <a:pt x="53" y="99"/>
                  </a:lnTo>
                  <a:lnTo>
                    <a:pt x="54" y="104"/>
                  </a:lnTo>
                  <a:lnTo>
                    <a:pt x="54" y="113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37" name="Freeform 444"/>
            <p:cNvSpPr>
              <a:spLocks/>
            </p:cNvSpPr>
            <p:nvPr/>
          </p:nvSpPr>
          <p:spPr bwMode="auto">
            <a:xfrm>
              <a:off x="3516384" y="5077689"/>
              <a:ext cx="252424" cy="330014"/>
            </a:xfrm>
            <a:custGeom>
              <a:avLst/>
              <a:gdLst>
                <a:gd name="T0" fmla="*/ 45 w 115"/>
                <a:gd name="T1" fmla="*/ 47 h 163"/>
                <a:gd name="T2" fmla="*/ 38 w 115"/>
                <a:gd name="T3" fmla="*/ 45 h 163"/>
                <a:gd name="T4" fmla="*/ 32 w 115"/>
                <a:gd name="T5" fmla="*/ 38 h 163"/>
                <a:gd name="T6" fmla="*/ 29 w 115"/>
                <a:gd name="T7" fmla="*/ 35 h 163"/>
                <a:gd name="T8" fmla="*/ 30 w 115"/>
                <a:gd name="T9" fmla="*/ 32 h 163"/>
                <a:gd name="T10" fmla="*/ 28 w 115"/>
                <a:gd name="T11" fmla="*/ 29 h 163"/>
                <a:gd name="T12" fmla="*/ 25 w 115"/>
                <a:gd name="T13" fmla="*/ 29 h 163"/>
                <a:gd name="T14" fmla="*/ 22 w 115"/>
                <a:gd name="T15" fmla="*/ 26 h 163"/>
                <a:gd name="T16" fmla="*/ 21 w 115"/>
                <a:gd name="T17" fmla="*/ 15 h 163"/>
                <a:gd name="T18" fmla="*/ 25 w 115"/>
                <a:gd name="T19" fmla="*/ 11 h 163"/>
                <a:gd name="T20" fmla="*/ 24 w 115"/>
                <a:gd name="T21" fmla="*/ 9 h 163"/>
                <a:gd name="T22" fmla="*/ 21 w 115"/>
                <a:gd name="T23" fmla="*/ 3 h 163"/>
                <a:gd name="T24" fmla="*/ 18 w 115"/>
                <a:gd name="T25" fmla="*/ 0 h 163"/>
                <a:gd name="T26" fmla="*/ 9 w 115"/>
                <a:gd name="T27" fmla="*/ 6 h 163"/>
                <a:gd name="T28" fmla="*/ 4 w 115"/>
                <a:gd name="T29" fmla="*/ 9 h 163"/>
                <a:gd name="T30" fmla="*/ 1 w 115"/>
                <a:gd name="T31" fmla="*/ 19 h 163"/>
                <a:gd name="T32" fmla="*/ 6 w 115"/>
                <a:gd name="T33" fmla="*/ 26 h 163"/>
                <a:gd name="T34" fmla="*/ 10 w 115"/>
                <a:gd name="T35" fmla="*/ 30 h 163"/>
                <a:gd name="T36" fmla="*/ 9 w 115"/>
                <a:gd name="T37" fmla="*/ 35 h 163"/>
                <a:gd name="T38" fmla="*/ 10 w 115"/>
                <a:gd name="T39" fmla="*/ 38 h 163"/>
                <a:gd name="T40" fmla="*/ 16 w 115"/>
                <a:gd name="T41" fmla="*/ 39 h 163"/>
                <a:gd name="T42" fmla="*/ 21 w 115"/>
                <a:gd name="T43" fmla="*/ 39 h 163"/>
                <a:gd name="T44" fmla="*/ 24 w 115"/>
                <a:gd name="T45" fmla="*/ 44 h 163"/>
                <a:gd name="T46" fmla="*/ 23 w 115"/>
                <a:gd name="T47" fmla="*/ 50 h 163"/>
                <a:gd name="T48" fmla="*/ 21 w 115"/>
                <a:gd name="T49" fmla="*/ 53 h 163"/>
                <a:gd name="T50" fmla="*/ 16 w 115"/>
                <a:gd name="T51" fmla="*/ 54 h 163"/>
                <a:gd name="T52" fmla="*/ 18 w 115"/>
                <a:gd name="T53" fmla="*/ 42 h 163"/>
                <a:gd name="T54" fmla="*/ 16 w 115"/>
                <a:gd name="T55" fmla="*/ 41 h 163"/>
                <a:gd name="T56" fmla="*/ 14 w 115"/>
                <a:gd name="T57" fmla="*/ 41 h 163"/>
                <a:gd name="T58" fmla="*/ 12 w 115"/>
                <a:gd name="T59" fmla="*/ 41 h 163"/>
                <a:gd name="T60" fmla="*/ 9 w 115"/>
                <a:gd name="T61" fmla="*/ 38 h 163"/>
                <a:gd name="T62" fmla="*/ 5 w 115"/>
                <a:gd name="T63" fmla="*/ 35 h 163"/>
                <a:gd name="T64" fmla="*/ 1 w 115"/>
                <a:gd name="T65" fmla="*/ 35 h 163"/>
                <a:gd name="T66" fmla="*/ 0 w 115"/>
                <a:gd name="T67" fmla="*/ 38 h 163"/>
                <a:gd name="T68" fmla="*/ 2 w 115"/>
                <a:gd name="T69" fmla="*/ 41 h 163"/>
                <a:gd name="T70" fmla="*/ 3 w 115"/>
                <a:gd name="T71" fmla="*/ 44 h 163"/>
                <a:gd name="T72" fmla="*/ 4 w 115"/>
                <a:gd name="T73" fmla="*/ 51 h 163"/>
                <a:gd name="T74" fmla="*/ 9 w 115"/>
                <a:gd name="T75" fmla="*/ 57 h 163"/>
                <a:gd name="T76" fmla="*/ 10 w 115"/>
                <a:gd name="T77" fmla="*/ 69 h 163"/>
                <a:gd name="T78" fmla="*/ 9 w 115"/>
                <a:gd name="T79" fmla="*/ 73 h 163"/>
                <a:gd name="T80" fmla="*/ 7 w 115"/>
                <a:gd name="T81" fmla="*/ 77 h 163"/>
                <a:gd name="T82" fmla="*/ 11 w 115"/>
                <a:gd name="T83" fmla="*/ 78 h 163"/>
                <a:gd name="T84" fmla="*/ 21 w 115"/>
                <a:gd name="T85" fmla="*/ 72 h 163"/>
                <a:gd name="T86" fmla="*/ 26 w 115"/>
                <a:gd name="T87" fmla="*/ 66 h 163"/>
                <a:gd name="T88" fmla="*/ 39 w 115"/>
                <a:gd name="T89" fmla="*/ 65 h 163"/>
                <a:gd name="T90" fmla="*/ 40 w 115"/>
                <a:gd name="T91" fmla="*/ 68 h 163"/>
                <a:gd name="T92" fmla="*/ 37 w 115"/>
                <a:gd name="T93" fmla="*/ 71 h 163"/>
                <a:gd name="T94" fmla="*/ 35 w 115"/>
                <a:gd name="T95" fmla="*/ 77 h 163"/>
                <a:gd name="T96" fmla="*/ 38 w 115"/>
                <a:gd name="T97" fmla="*/ 81 h 163"/>
                <a:gd name="T98" fmla="*/ 49 w 115"/>
                <a:gd name="T99" fmla="*/ 80 h 163"/>
                <a:gd name="T100" fmla="*/ 56 w 115"/>
                <a:gd name="T101" fmla="*/ 72 h 163"/>
                <a:gd name="T102" fmla="*/ 57 w 115"/>
                <a:gd name="T103" fmla="*/ 59 h 163"/>
                <a:gd name="T104" fmla="*/ 52 w 115"/>
                <a:gd name="T105" fmla="*/ 54 h 163"/>
                <a:gd name="T106" fmla="*/ 46 w 115"/>
                <a:gd name="T107" fmla="*/ 55 h 163"/>
                <a:gd name="T108" fmla="*/ 43 w 115"/>
                <a:gd name="T109" fmla="*/ 56 h 163"/>
                <a:gd name="T110" fmla="*/ 39 w 115"/>
                <a:gd name="T111" fmla="*/ 57 h 163"/>
                <a:gd name="T112" fmla="*/ 38 w 115"/>
                <a:gd name="T113" fmla="*/ 56 h 163"/>
                <a:gd name="T114" fmla="*/ 42 w 115"/>
                <a:gd name="T115" fmla="*/ 54 h 163"/>
                <a:gd name="T116" fmla="*/ 46 w 115"/>
                <a:gd name="T117" fmla="*/ 53 h 163"/>
                <a:gd name="T118" fmla="*/ 47 w 115"/>
                <a:gd name="T119" fmla="*/ 50 h 16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15" h="163">
                  <a:moveTo>
                    <a:pt x="93" y="98"/>
                  </a:moveTo>
                  <a:lnTo>
                    <a:pt x="89" y="95"/>
                  </a:lnTo>
                  <a:lnTo>
                    <a:pt x="81" y="92"/>
                  </a:lnTo>
                  <a:lnTo>
                    <a:pt x="75" y="90"/>
                  </a:lnTo>
                  <a:lnTo>
                    <a:pt x="72" y="88"/>
                  </a:lnTo>
                  <a:lnTo>
                    <a:pt x="63" y="77"/>
                  </a:lnTo>
                  <a:lnTo>
                    <a:pt x="59" y="73"/>
                  </a:lnTo>
                  <a:lnTo>
                    <a:pt x="57" y="71"/>
                  </a:lnTo>
                  <a:lnTo>
                    <a:pt x="57" y="68"/>
                  </a:lnTo>
                  <a:lnTo>
                    <a:pt x="59" y="64"/>
                  </a:lnTo>
                  <a:lnTo>
                    <a:pt x="59" y="61"/>
                  </a:lnTo>
                  <a:lnTo>
                    <a:pt x="56" y="59"/>
                  </a:lnTo>
                  <a:lnTo>
                    <a:pt x="55" y="58"/>
                  </a:lnTo>
                  <a:lnTo>
                    <a:pt x="50" y="58"/>
                  </a:lnTo>
                  <a:lnTo>
                    <a:pt x="47" y="57"/>
                  </a:lnTo>
                  <a:lnTo>
                    <a:pt x="43" y="53"/>
                  </a:lnTo>
                  <a:lnTo>
                    <a:pt x="39" y="34"/>
                  </a:lnTo>
                  <a:lnTo>
                    <a:pt x="42" y="30"/>
                  </a:lnTo>
                  <a:lnTo>
                    <a:pt x="48" y="25"/>
                  </a:lnTo>
                  <a:lnTo>
                    <a:pt x="50" y="23"/>
                  </a:lnTo>
                  <a:lnTo>
                    <a:pt x="49" y="19"/>
                  </a:lnTo>
                  <a:lnTo>
                    <a:pt x="48" y="18"/>
                  </a:lnTo>
                  <a:lnTo>
                    <a:pt x="42" y="11"/>
                  </a:lnTo>
                  <a:lnTo>
                    <a:pt x="41" y="6"/>
                  </a:lnTo>
                  <a:lnTo>
                    <a:pt x="42" y="0"/>
                  </a:lnTo>
                  <a:lnTo>
                    <a:pt x="36" y="1"/>
                  </a:lnTo>
                  <a:lnTo>
                    <a:pt x="29" y="7"/>
                  </a:lnTo>
                  <a:lnTo>
                    <a:pt x="18" y="13"/>
                  </a:lnTo>
                  <a:lnTo>
                    <a:pt x="11" y="15"/>
                  </a:lnTo>
                  <a:lnTo>
                    <a:pt x="8" y="19"/>
                  </a:lnTo>
                  <a:lnTo>
                    <a:pt x="7" y="24"/>
                  </a:lnTo>
                  <a:lnTo>
                    <a:pt x="2" y="39"/>
                  </a:lnTo>
                  <a:lnTo>
                    <a:pt x="3" y="46"/>
                  </a:lnTo>
                  <a:lnTo>
                    <a:pt x="11" y="52"/>
                  </a:lnTo>
                  <a:lnTo>
                    <a:pt x="19" y="55"/>
                  </a:lnTo>
                  <a:lnTo>
                    <a:pt x="19" y="60"/>
                  </a:lnTo>
                  <a:lnTo>
                    <a:pt x="18" y="64"/>
                  </a:lnTo>
                  <a:lnTo>
                    <a:pt x="17" y="70"/>
                  </a:lnTo>
                  <a:lnTo>
                    <a:pt x="17" y="73"/>
                  </a:lnTo>
                  <a:lnTo>
                    <a:pt x="19" y="76"/>
                  </a:lnTo>
                  <a:lnTo>
                    <a:pt x="25" y="78"/>
                  </a:lnTo>
                  <a:lnTo>
                    <a:pt x="31" y="79"/>
                  </a:lnTo>
                  <a:lnTo>
                    <a:pt x="37" y="79"/>
                  </a:lnTo>
                  <a:lnTo>
                    <a:pt x="42" y="79"/>
                  </a:lnTo>
                  <a:lnTo>
                    <a:pt x="44" y="82"/>
                  </a:lnTo>
                  <a:lnTo>
                    <a:pt x="48" y="89"/>
                  </a:lnTo>
                  <a:lnTo>
                    <a:pt x="47" y="96"/>
                  </a:lnTo>
                  <a:lnTo>
                    <a:pt x="45" y="101"/>
                  </a:lnTo>
                  <a:lnTo>
                    <a:pt x="50" y="110"/>
                  </a:lnTo>
                  <a:lnTo>
                    <a:pt x="41" y="107"/>
                  </a:lnTo>
                  <a:lnTo>
                    <a:pt x="35" y="108"/>
                  </a:lnTo>
                  <a:lnTo>
                    <a:pt x="32" y="108"/>
                  </a:lnTo>
                  <a:lnTo>
                    <a:pt x="33" y="98"/>
                  </a:lnTo>
                  <a:lnTo>
                    <a:pt x="35" y="85"/>
                  </a:lnTo>
                  <a:lnTo>
                    <a:pt x="32" y="83"/>
                  </a:lnTo>
                  <a:lnTo>
                    <a:pt x="31" y="82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5" y="82"/>
                  </a:lnTo>
                  <a:lnTo>
                    <a:pt x="24" y="82"/>
                  </a:lnTo>
                  <a:lnTo>
                    <a:pt x="21" y="80"/>
                  </a:lnTo>
                  <a:lnTo>
                    <a:pt x="17" y="77"/>
                  </a:lnTo>
                  <a:lnTo>
                    <a:pt x="13" y="72"/>
                  </a:lnTo>
                  <a:lnTo>
                    <a:pt x="9" y="70"/>
                  </a:lnTo>
                  <a:lnTo>
                    <a:pt x="7" y="67"/>
                  </a:lnTo>
                  <a:lnTo>
                    <a:pt x="2" y="70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79"/>
                  </a:lnTo>
                  <a:lnTo>
                    <a:pt x="3" y="83"/>
                  </a:lnTo>
                  <a:lnTo>
                    <a:pt x="6" y="84"/>
                  </a:lnTo>
                  <a:lnTo>
                    <a:pt x="5" y="88"/>
                  </a:lnTo>
                  <a:lnTo>
                    <a:pt x="5" y="94"/>
                  </a:lnTo>
                  <a:lnTo>
                    <a:pt x="7" y="103"/>
                  </a:lnTo>
                  <a:lnTo>
                    <a:pt x="13" y="110"/>
                  </a:lnTo>
                  <a:lnTo>
                    <a:pt x="18" y="115"/>
                  </a:lnTo>
                  <a:lnTo>
                    <a:pt x="20" y="120"/>
                  </a:lnTo>
                  <a:lnTo>
                    <a:pt x="19" y="139"/>
                  </a:lnTo>
                  <a:lnTo>
                    <a:pt x="19" y="142"/>
                  </a:lnTo>
                  <a:lnTo>
                    <a:pt x="17" y="146"/>
                  </a:lnTo>
                  <a:lnTo>
                    <a:pt x="14" y="152"/>
                  </a:lnTo>
                  <a:lnTo>
                    <a:pt x="14" y="155"/>
                  </a:lnTo>
                  <a:lnTo>
                    <a:pt x="18" y="158"/>
                  </a:lnTo>
                  <a:lnTo>
                    <a:pt x="21" y="157"/>
                  </a:lnTo>
                  <a:lnTo>
                    <a:pt x="38" y="149"/>
                  </a:lnTo>
                  <a:lnTo>
                    <a:pt x="42" y="145"/>
                  </a:lnTo>
                  <a:lnTo>
                    <a:pt x="48" y="133"/>
                  </a:lnTo>
                  <a:lnTo>
                    <a:pt x="51" y="132"/>
                  </a:lnTo>
                  <a:lnTo>
                    <a:pt x="73" y="131"/>
                  </a:lnTo>
                  <a:lnTo>
                    <a:pt x="78" y="131"/>
                  </a:lnTo>
                  <a:lnTo>
                    <a:pt x="80" y="133"/>
                  </a:lnTo>
                  <a:lnTo>
                    <a:pt x="80" y="136"/>
                  </a:lnTo>
                  <a:lnTo>
                    <a:pt x="77" y="139"/>
                  </a:lnTo>
                  <a:lnTo>
                    <a:pt x="74" y="142"/>
                  </a:lnTo>
                  <a:lnTo>
                    <a:pt x="72" y="146"/>
                  </a:lnTo>
                  <a:lnTo>
                    <a:pt x="69" y="154"/>
                  </a:lnTo>
                  <a:lnTo>
                    <a:pt x="71" y="158"/>
                  </a:lnTo>
                  <a:lnTo>
                    <a:pt x="75" y="163"/>
                  </a:lnTo>
                  <a:lnTo>
                    <a:pt x="86" y="163"/>
                  </a:lnTo>
                  <a:lnTo>
                    <a:pt x="97" y="160"/>
                  </a:lnTo>
                  <a:lnTo>
                    <a:pt x="107" y="152"/>
                  </a:lnTo>
                  <a:lnTo>
                    <a:pt x="111" y="144"/>
                  </a:lnTo>
                  <a:lnTo>
                    <a:pt x="115" y="131"/>
                  </a:lnTo>
                  <a:lnTo>
                    <a:pt x="114" y="119"/>
                  </a:lnTo>
                  <a:lnTo>
                    <a:pt x="109" y="112"/>
                  </a:lnTo>
                  <a:lnTo>
                    <a:pt x="103" y="109"/>
                  </a:lnTo>
                  <a:lnTo>
                    <a:pt x="96" y="108"/>
                  </a:lnTo>
                  <a:lnTo>
                    <a:pt x="92" y="110"/>
                  </a:lnTo>
                  <a:lnTo>
                    <a:pt x="87" y="112"/>
                  </a:lnTo>
                  <a:lnTo>
                    <a:pt x="85" y="113"/>
                  </a:lnTo>
                  <a:lnTo>
                    <a:pt x="81" y="114"/>
                  </a:lnTo>
                  <a:lnTo>
                    <a:pt x="78" y="114"/>
                  </a:lnTo>
                  <a:lnTo>
                    <a:pt x="77" y="113"/>
                  </a:lnTo>
                  <a:lnTo>
                    <a:pt x="75" y="112"/>
                  </a:lnTo>
                  <a:lnTo>
                    <a:pt x="79" y="110"/>
                  </a:lnTo>
                  <a:lnTo>
                    <a:pt x="84" y="109"/>
                  </a:lnTo>
                  <a:lnTo>
                    <a:pt x="89" y="107"/>
                  </a:lnTo>
                  <a:lnTo>
                    <a:pt x="92" y="106"/>
                  </a:lnTo>
                  <a:lnTo>
                    <a:pt x="93" y="103"/>
                  </a:lnTo>
                  <a:lnTo>
                    <a:pt x="93" y="100"/>
                  </a:lnTo>
                  <a:lnTo>
                    <a:pt x="93" y="98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38" name="Freeform 445"/>
            <p:cNvSpPr>
              <a:spLocks/>
            </p:cNvSpPr>
            <p:nvPr/>
          </p:nvSpPr>
          <p:spPr bwMode="auto">
            <a:xfrm>
              <a:off x="3451102" y="4649893"/>
              <a:ext cx="130565" cy="191490"/>
            </a:xfrm>
            <a:custGeom>
              <a:avLst/>
              <a:gdLst>
                <a:gd name="T0" fmla="*/ 18 w 59"/>
                <a:gd name="T1" fmla="*/ 34 h 93"/>
                <a:gd name="T2" fmla="*/ 14 w 59"/>
                <a:gd name="T3" fmla="*/ 37 h 93"/>
                <a:gd name="T4" fmla="*/ 12 w 59"/>
                <a:gd name="T5" fmla="*/ 40 h 93"/>
                <a:gd name="T6" fmla="*/ 10 w 59"/>
                <a:gd name="T7" fmla="*/ 43 h 93"/>
                <a:gd name="T8" fmla="*/ 10 w 59"/>
                <a:gd name="T9" fmla="*/ 44 h 93"/>
                <a:gd name="T10" fmla="*/ 8 w 59"/>
                <a:gd name="T11" fmla="*/ 45 h 93"/>
                <a:gd name="T12" fmla="*/ 6 w 59"/>
                <a:gd name="T13" fmla="*/ 46 h 93"/>
                <a:gd name="T14" fmla="*/ 3 w 59"/>
                <a:gd name="T15" fmla="*/ 47 h 93"/>
                <a:gd name="T16" fmla="*/ 1 w 59"/>
                <a:gd name="T17" fmla="*/ 46 h 93"/>
                <a:gd name="T18" fmla="*/ 0 w 59"/>
                <a:gd name="T19" fmla="*/ 44 h 93"/>
                <a:gd name="T20" fmla="*/ 1 w 59"/>
                <a:gd name="T21" fmla="*/ 41 h 93"/>
                <a:gd name="T22" fmla="*/ 1 w 59"/>
                <a:gd name="T23" fmla="*/ 38 h 93"/>
                <a:gd name="T24" fmla="*/ 3 w 59"/>
                <a:gd name="T25" fmla="*/ 34 h 93"/>
                <a:gd name="T26" fmla="*/ 5 w 59"/>
                <a:gd name="T27" fmla="*/ 31 h 93"/>
                <a:gd name="T28" fmla="*/ 7 w 59"/>
                <a:gd name="T29" fmla="*/ 29 h 93"/>
                <a:gd name="T30" fmla="*/ 10 w 59"/>
                <a:gd name="T31" fmla="*/ 30 h 93"/>
                <a:gd name="T32" fmla="*/ 12 w 59"/>
                <a:gd name="T33" fmla="*/ 31 h 93"/>
                <a:gd name="T34" fmla="*/ 12 w 59"/>
                <a:gd name="T35" fmla="*/ 30 h 93"/>
                <a:gd name="T36" fmla="*/ 12 w 59"/>
                <a:gd name="T37" fmla="*/ 29 h 93"/>
                <a:gd name="T38" fmla="*/ 12 w 59"/>
                <a:gd name="T39" fmla="*/ 28 h 93"/>
                <a:gd name="T40" fmla="*/ 9 w 59"/>
                <a:gd name="T41" fmla="*/ 26 h 93"/>
                <a:gd name="T42" fmla="*/ 7 w 59"/>
                <a:gd name="T43" fmla="*/ 25 h 93"/>
                <a:gd name="T44" fmla="*/ 8 w 59"/>
                <a:gd name="T45" fmla="*/ 23 h 93"/>
                <a:gd name="T46" fmla="*/ 10 w 59"/>
                <a:gd name="T47" fmla="*/ 21 h 93"/>
                <a:gd name="T48" fmla="*/ 12 w 59"/>
                <a:gd name="T49" fmla="*/ 17 h 93"/>
                <a:gd name="T50" fmla="*/ 14 w 59"/>
                <a:gd name="T51" fmla="*/ 13 h 93"/>
                <a:gd name="T52" fmla="*/ 14 w 59"/>
                <a:gd name="T53" fmla="*/ 10 h 93"/>
                <a:gd name="T54" fmla="*/ 15 w 59"/>
                <a:gd name="T55" fmla="*/ 7 h 93"/>
                <a:gd name="T56" fmla="*/ 15 w 59"/>
                <a:gd name="T57" fmla="*/ 5 h 93"/>
                <a:gd name="T58" fmla="*/ 17 w 59"/>
                <a:gd name="T59" fmla="*/ 3 h 93"/>
                <a:gd name="T60" fmla="*/ 19 w 59"/>
                <a:gd name="T61" fmla="*/ 1 h 93"/>
                <a:gd name="T62" fmla="*/ 21 w 59"/>
                <a:gd name="T63" fmla="*/ 1 h 93"/>
                <a:gd name="T64" fmla="*/ 24 w 59"/>
                <a:gd name="T65" fmla="*/ 0 h 93"/>
                <a:gd name="T66" fmla="*/ 26 w 59"/>
                <a:gd name="T67" fmla="*/ 0 h 93"/>
                <a:gd name="T68" fmla="*/ 28 w 59"/>
                <a:gd name="T69" fmla="*/ 1 h 93"/>
                <a:gd name="T70" fmla="*/ 28 w 59"/>
                <a:gd name="T71" fmla="*/ 3 h 93"/>
                <a:gd name="T72" fmla="*/ 30 w 59"/>
                <a:gd name="T73" fmla="*/ 6 h 93"/>
                <a:gd name="T74" fmla="*/ 30 w 59"/>
                <a:gd name="T75" fmla="*/ 7 h 93"/>
                <a:gd name="T76" fmla="*/ 28 w 59"/>
                <a:gd name="T77" fmla="*/ 11 h 93"/>
                <a:gd name="T78" fmla="*/ 26 w 59"/>
                <a:gd name="T79" fmla="*/ 14 h 93"/>
                <a:gd name="T80" fmla="*/ 24 w 59"/>
                <a:gd name="T81" fmla="*/ 17 h 93"/>
                <a:gd name="T82" fmla="*/ 20 w 59"/>
                <a:gd name="T83" fmla="*/ 23 h 93"/>
                <a:gd name="T84" fmla="*/ 19 w 59"/>
                <a:gd name="T85" fmla="*/ 29 h 93"/>
                <a:gd name="T86" fmla="*/ 18 w 59"/>
                <a:gd name="T87" fmla="*/ 32 h 93"/>
                <a:gd name="T88" fmla="*/ 18 w 59"/>
                <a:gd name="T89" fmla="*/ 34 h 9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59" h="93">
                  <a:moveTo>
                    <a:pt x="35" y="68"/>
                  </a:moveTo>
                  <a:lnTo>
                    <a:pt x="27" y="74"/>
                  </a:lnTo>
                  <a:lnTo>
                    <a:pt x="23" y="80"/>
                  </a:lnTo>
                  <a:lnTo>
                    <a:pt x="20" y="86"/>
                  </a:lnTo>
                  <a:lnTo>
                    <a:pt x="19" y="88"/>
                  </a:lnTo>
                  <a:lnTo>
                    <a:pt x="15" y="90"/>
                  </a:lnTo>
                  <a:lnTo>
                    <a:pt x="11" y="92"/>
                  </a:lnTo>
                  <a:lnTo>
                    <a:pt x="6" y="93"/>
                  </a:lnTo>
                  <a:lnTo>
                    <a:pt x="1" y="92"/>
                  </a:lnTo>
                  <a:lnTo>
                    <a:pt x="0" y="87"/>
                  </a:lnTo>
                  <a:lnTo>
                    <a:pt x="1" y="81"/>
                  </a:lnTo>
                  <a:lnTo>
                    <a:pt x="2" y="75"/>
                  </a:lnTo>
                  <a:lnTo>
                    <a:pt x="5" y="67"/>
                  </a:lnTo>
                  <a:lnTo>
                    <a:pt x="9" y="61"/>
                  </a:lnTo>
                  <a:lnTo>
                    <a:pt x="14" y="58"/>
                  </a:lnTo>
                  <a:lnTo>
                    <a:pt x="19" y="60"/>
                  </a:lnTo>
                  <a:lnTo>
                    <a:pt x="23" y="62"/>
                  </a:lnTo>
                  <a:lnTo>
                    <a:pt x="24" y="60"/>
                  </a:lnTo>
                  <a:lnTo>
                    <a:pt x="24" y="57"/>
                  </a:lnTo>
                  <a:lnTo>
                    <a:pt x="23" y="55"/>
                  </a:lnTo>
                  <a:lnTo>
                    <a:pt x="18" y="51"/>
                  </a:lnTo>
                  <a:lnTo>
                    <a:pt x="14" y="50"/>
                  </a:lnTo>
                  <a:lnTo>
                    <a:pt x="15" y="46"/>
                  </a:lnTo>
                  <a:lnTo>
                    <a:pt x="19" y="42"/>
                  </a:lnTo>
                  <a:lnTo>
                    <a:pt x="23" y="34"/>
                  </a:lnTo>
                  <a:lnTo>
                    <a:pt x="27" y="25"/>
                  </a:lnTo>
                  <a:lnTo>
                    <a:pt x="27" y="20"/>
                  </a:lnTo>
                  <a:lnTo>
                    <a:pt x="29" y="14"/>
                  </a:lnTo>
                  <a:lnTo>
                    <a:pt x="30" y="9"/>
                  </a:lnTo>
                  <a:lnTo>
                    <a:pt x="33" y="6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5" y="1"/>
                  </a:lnTo>
                  <a:lnTo>
                    <a:pt x="56" y="5"/>
                  </a:lnTo>
                  <a:lnTo>
                    <a:pt x="59" y="11"/>
                  </a:lnTo>
                  <a:lnTo>
                    <a:pt x="59" y="14"/>
                  </a:lnTo>
                  <a:lnTo>
                    <a:pt x="56" y="21"/>
                  </a:lnTo>
                  <a:lnTo>
                    <a:pt x="51" y="27"/>
                  </a:lnTo>
                  <a:lnTo>
                    <a:pt x="48" y="33"/>
                  </a:lnTo>
                  <a:lnTo>
                    <a:pt x="39" y="45"/>
                  </a:lnTo>
                  <a:lnTo>
                    <a:pt x="38" y="58"/>
                  </a:lnTo>
                  <a:lnTo>
                    <a:pt x="36" y="64"/>
                  </a:lnTo>
                  <a:lnTo>
                    <a:pt x="35" y="68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39" name="Freeform 446"/>
            <p:cNvSpPr>
              <a:spLocks/>
            </p:cNvSpPr>
            <p:nvPr/>
          </p:nvSpPr>
          <p:spPr bwMode="auto">
            <a:xfrm>
              <a:off x="3198678" y="5285476"/>
              <a:ext cx="100099" cy="77411"/>
            </a:xfrm>
            <a:custGeom>
              <a:avLst/>
              <a:gdLst>
                <a:gd name="T0" fmla="*/ 20 w 46"/>
                <a:gd name="T1" fmla="*/ 6 h 38"/>
                <a:gd name="T2" fmla="*/ 21 w 46"/>
                <a:gd name="T3" fmla="*/ 7 h 38"/>
                <a:gd name="T4" fmla="*/ 21 w 46"/>
                <a:gd name="T5" fmla="*/ 9 h 38"/>
                <a:gd name="T6" fmla="*/ 23 w 46"/>
                <a:gd name="T7" fmla="*/ 11 h 38"/>
                <a:gd name="T8" fmla="*/ 23 w 46"/>
                <a:gd name="T9" fmla="*/ 12 h 38"/>
                <a:gd name="T10" fmla="*/ 23 w 46"/>
                <a:gd name="T11" fmla="*/ 14 h 38"/>
                <a:gd name="T12" fmla="*/ 23 w 46"/>
                <a:gd name="T13" fmla="*/ 15 h 38"/>
                <a:gd name="T14" fmla="*/ 22 w 46"/>
                <a:gd name="T15" fmla="*/ 16 h 38"/>
                <a:gd name="T16" fmla="*/ 21 w 46"/>
                <a:gd name="T17" fmla="*/ 18 h 38"/>
                <a:gd name="T18" fmla="*/ 19 w 46"/>
                <a:gd name="T19" fmla="*/ 18 h 38"/>
                <a:gd name="T20" fmla="*/ 17 w 46"/>
                <a:gd name="T21" fmla="*/ 19 h 38"/>
                <a:gd name="T22" fmla="*/ 14 w 46"/>
                <a:gd name="T23" fmla="*/ 19 h 38"/>
                <a:gd name="T24" fmla="*/ 12 w 46"/>
                <a:gd name="T25" fmla="*/ 19 h 38"/>
                <a:gd name="T26" fmla="*/ 11 w 46"/>
                <a:gd name="T27" fmla="*/ 18 h 38"/>
                <a:gd name="T28" fmla="*/ 9 w 46"/>
                <a:gd name="T29" fmla="*/ 18 h 38"/>
                <a:gd name="T30" fmla="*/ 7 w 46"/>
                <a:gd name="T31" fmla="*/ 18 h 38"/>
                <a:gd name="T32" fmla="*/ 4 w 46"/>
                <a:gd name="T33" fmla="*/ 16 h 38"/>
                <a:gd name="T34" fmla="*/ 2 w 46"/>
                <a:gd name="T35" fmla="*/ 15 h 38"/>
                <a:gd name="T36" fmla="*/ 1 w 46"/>
                <a:gd name="T37" fmla="*/ 14 h 38"/>
                <a:gd name="T38" fmla="*/ 0 w 46"/>
                <a:gd name="T39" fmla="*/ 13 h 38"/>
                <a:gd name="T40" fmla="*/ 1 w 46"/>
                <a:gd name="T41" fmla="*/ 12 h 38"/>
                <a:gd name="T42" fmla="*/ 1 w 46"/>
                <a:gd name="T43" fmla="*/ 10 h 38"/>
                <a:gd name="T44" fmla="*/ 2 w 46"/>
                <a:gd name="T45" fmla="*/ 8 h 38"/>
                <a:gd name="T46" fmla="*/ 2 w 46"/>
                <a:gd name="T47" fmla="*/ 6 h 38"/>
                <a:gd name="T48" fmla="*/ 3 w 46"/>
                <a:gd name="T49" fmla="*/ 4 h 38"/>
                <a:gd name="T50" fmla="*/ 4 w 46"/>
                <a:gd name="T51" fmla="*/ 4 h 38"/>
                <a:gd name="T52" fmla="*/ 5 w 46"/>
                <a:gd name="T53" fmla="*/ 3 h 38"/>
                <a:gd name="T54" fmla="*/ 5 w 46"/>
                <a:gd name="T55" fmla="*/ 3 h 38"/>
                <a:gd name="T56" fmla="*/ 5 w 46"/>
                <a:gd name="T57" fmla="*/ 1 h 38"/>
                <a:gd name="T58" fmla="*/ 6 w 46"/>
                <a:gd name="T59" fmla="*/ 0 h 38"/>
                <a:gd name="T60" fmla="*/ 7 w 46"/>
                <a:gd name="T61" fmla="*/ 0 h 38"/>
                <a:gd name="T62" fmla="*/ 8 w 46"/>
                <a:gd name="T63" fmla="*/ 1 h 38"/>
                <a:gd name="T64" fmla="*/ 10 w 46"/>
                <a:gd name="T65" fmla="*/ 1 h 38"/>
                <a:gd name="T66" fmla="*/ 11 w 46"/>
                <a:gd name="T67" fmla="*/ 1 h 38"/>
                <a:gd name="T68" fmla="*/ 12 w 46"/>
                <a:gd name="T69" fmla="*/ 1 h 38"/>
                <a:gd name="T70" fmla="*/ 14 w 46"/>
                <a:gd name="T71" fmla="*/ 1 h 38"/>
                <a:gd name="T72" fmla="*/ 15 w 46"/>
                <a:gd name="T73" fmla="*/ 1 h 38"/>
                <a:gd name="T74" fmla="*/ 17 w 46"/>
                <a:gd name="T75" fmla="*/ 3 h 38"/>
                <a:gd name="T76" fmla="*/ 20 w 46"/>
                <a:gd name="T77" fmla="*/ 6 h 3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6" h="38">
                  <a:moveTo>
                    <a:pt x="39" y="11"/>
                  </a:moveTo>
                  <a:lnTo>
                    <a:pt x="41" y="13"/>
                  </a:lnTo>
                  <a:lnTo>
                    <a:pt x="42" y="17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6" y="28"/>
                  </a:lnTo>
                  <a:lnTo>
                    <a:pt x="46" y="30"/>
                  </a:lnTo>
                  <a:lnTo>
                    <a:pt x="44" y="32"/>
                  </a:lnTo>
                  <a:lnTo>
                    <a:pt x="41" y="35"/>
                  </a:lnTo>
                  <a:lnTo>
                    <a:pt x="38" y="36"/>
                  </a:lnTo>
                  <a:lnTo>
                    <a:pt x="33" y="37"/>
                  </a:lnTo>
                  <a:lnTo>
                    <a:pt x="28" y="38"/>
                  </a:lnTo>
                  <a:lnTo>
                    <a:pt x="24" y="37"/>
                  </a:lnTo>
                  <a:lnTo>
                    <a:pt x="21" y="36"/>
                  </a:lnTo>
                  <a:lnTo>
                    <a:pt x="17" y="35"/>
                  </a:lnTo>
                  <a:lnTo>
                    <a:pt x="14" y="35"/>
                  </a:lnTo>
                  <a:lnTo>
                    <a:pt x="8" y="32"/>
                  </a:lnTo>
                  <a:lnTo>
                    <a:pt x="4" y="30"/>
                  </a:lnTo>
                  <a:lnTo>
                    <a:pt x="2" y="28"/>
                  </a:lnTo>
                  <a:lnTo>
                    <a:pt x="0" y="25"/>
                  </a:lnTo>
                  <a:lnTo>
                    <a:pt x="2" y="23"/>
                  </a:lnTo>
                  <a:lnTo>
                    <a:pt x="2" y="20"/>
                  </a:lnTo>
                  <a:lnTo>
                    <a:pt x="3" y="16"/>
                  </a:lnTo>
                  <a:lnTo>
                    <a:pt x="4" y="11"/>
                  </a:lnTo>
                  <a:lnTo>
                    <a:pt x="5" y="8"/>
                  </a:lnTo>
                  <a:lnTo>
                    <a:pt x="8" y="7"/>
                  </a:lnTo>
                  <a:lnTo>
                    <a:pt x="9" y="6"/>
                  </a:lnTo>
                  <a:lnTo>
                    <a:pt x="9" y="5"/>
                  </a:lnTo>
                  <a:lnTo>
                    <a:pt x="9" y="1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5" y="1"/>
                  </a:lnTo>
                  <a:lnTo>
                    <a:pt x="20" y="2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4" y="6"/>
                  </a:lnTo>
                  <a:lnTo>
                    <a:pt x="39" y="11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40" name="Freeform 447"/>
            <p:cNvSpPr>
              <a:spLocks/>
            </p:cNvSpPr>
            <p:nvPr/>
          </p:nvSpPr>
          <p:spPr bwMode="auto">
            <a:xfrm>
              <a:off x="3459806" y="5098061"/>
              <a:ext cx="78338" cy="73337"/>
            </a:xfrm>
            <a:custGeom>
              <a:avLst/>
              <a:gdLst>
                <a:gd name="T0" fmla="*/ 0 w 36"/>
                <a:gd name="T1" fmla="*/ 16 h 36"/>
                <a:gd name="T2" fmla="*/ 2 w 36"/>
                <a:gd name="T3" fmla="*/ 18 h 36"/>
                <a:gd name="T4" fmla="*/ 3 w 36"/>
                <a:gd name="T5" fmla="*/ 18 h 36"/>
                <a:gd name="T6" fmla="*/ 5 w 36"/>
                <a:gd name="T7" fmla="*/ 17 h 36"/>
                <a:gd name="T8" fmla="*/ 8 w 36"/>
                <a:gd name="T9" fmla="*/ 15 h 36"/>
                <a:gd name="T10" fmla="*/ 12 w 36"/>
                <a:gd name="T11" fmla="*/ 12 h 36"/>
                <a:gd name="T12" fmla="*/ 14 w 36"/>
                <a:gd name="T13" fmla="*/ 11 h 36"/>
                <a:gd name="T14" fmla="*/ 15 w 36"/>
                <a:gd name="T15" fmla="*/ 9 h 36"/>
                <a:gd name="T16" fmla="*/ 17 w 36"/>
                <a:gd name="T17" fmla="*/ 7 h 36"/>
                <a:gd name="T18" fmla="*/ 17 w 36"/>
                <a:gd name="T19" fmla="*/ 6 h 36"/>
                <a:gd name="T20" fmla="*/ 17 w 36"/>
                <a:gd name="T21" fmla="*/ 4 h 36"/>
                <a:gd name="T22" fmla="*/ 18 w 36"/>
                <a:gd name="T23" fmla="*/ 2 h 36"/>
                <a:gd name="T24" fmla="*/ 18 w 36"/>
                <a:gd name="T25" fmla="*/ 1 h 36"/>
                <a:gd name="T26" fmla="*/ 18 w 36"/>
                <a:gd name="T27" fmla="*/ 1 h 36"/>
                <a:gd name="T28" fmla="*/ 17 w 36"/>
                <a:gd name="T29" fmla="*/ 0 h 36"/>
                <a:gd name="T30" fmla="*/ 16 w 36"/>
                <a:gd name="T31" fmla="*/ 0 h 36"/>
                <a:gd name="T32" fmla="*/ 15 w 36"/>
                <a:gd name="T33" fmla="*/ 0 h 36"/>
                <a:gd name="T34" fmla="*/ 12 w 36"/>
                <a:gd name="T35" fmla="*/ 1 h 36"/>
                <a:gd name="T36" fmla="*/ 11 w 36"/>
                <a:gd name="T37" fmla="*/ 2 h 36"/>
                <a:gd name="T38" fmla="*/ 9 w 36"/>
                <a:gd name="T39" fmla="*/ 4 h 36"/>
                <a:gd name="T40" fmla="*/ 5 w 36"/>
                <a:gd name="T41" fmla="*/ 7 h 36"/>
                <a:gd name="T42" fmla="*/ 2 w 36"/>
                <a:gd name="T43" fmla="*/ 10 h 36"/>
                <a:gd name="T44" fmla="*/ 0 w 36"/>
                <a:gd name="T45" fmla="*/ 12 h 36"/>
                <a:gd name="T46" fmla="*/ 0 w 36"/>
                <a:gd name="T47" fmla="*/ 13 h 36"/>
                <a:gd name="T48" fmla="*/ 0 w 36"/>
                <a:gd name="T49" fmla="*/ 14 h 36"/>
                <a:gd name="T50" fmla="*/ 0 w 36"/>
                <a:gd name="T51" fmla="*/ 16 h 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36" h="36">
                  <a:moveTo>
                    <a:pt x="0" y="32"/>
                  </a:moveTo>
                  <a:lnTo>
                    <a:pt x="4" y="35"/>
                  </a:lnTo>
                  <a:lnTo>
                    <a:pt x="5" y="36"/>
                  </a:lnTo>
                  <a:lnTo>
                    <a:pt x="10" y="34"/>
                  </a:lnTo>
                  <a:lnTo>
                    <a:pt x="16" y="29"/>
                  </a:lnTo>
                  <a:lnTo>
                    <a:pt x="24" y="23"/>
                  </a:lnTo>
                  <a:lnTo>
                    <a:pt x="27" y="22"/>
                  </a:lnTo>
                  <a:lnTo>
                    <a:pt x="30" y="17"/>
                  </a:lnTo>
                  <a:lnTo>
                    <a:pt x="33" y="13"/>
                  </a:lnTo>
                  <a:lnTo>
                    <a:pt x="34" y="11"/>
                  </a:lnTo>
                  <a:lnTo>
                    <a:pt x="34" y="8"/>
                  </a:lnTo>
                  <a:lnTo>
                    <a:pt x="36" y="4"/>
                  </a:lnTo>
                  <a:lnTo>
                    <a:pt x="36" y="1"/>
                  </a:lnTo>
                  <a:lnTo>
                    <a:pt x="35" y="1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29" y="0"/>
                  </a:lnTo>
                  <a:lnTo>
                    <a:pt x="24" y="1"/>
                  </a:lnTo>
                  <a:lnTo>
                    <a:pt x="21" y="4"/>
                  </a:lnTo>
                  <a:lnTo>
                    <a:pt x="17" y="8"/>
                  </a:lnTo>
                  <a:lnTo>
                    <a:pt x="10" y="14"/>
                  </a:lnTo>
                  <a:lnTo>
                    <a:pt x="4" y="20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0" y="28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41" name="Freeform 448"/>
            <p:cNvSpPr>
              <a:spLocks/>
            </p:cNvSpPr>
            <p:nvPr/>
          </p:nvSpPr>
          <p:spPr bwMode="auto">
            <a:xfrm>
              <a:off x="3577314" y="4935090"/>
              <a:ext cx="52225" cy="69262"/>
            </a:xfrm>
            <a:custGeom>
              <a:avLst/>
              <a:gdLst>
                <a:gd name="T0" fmla="*/ 3 w 24"/>
                <a:gd name="T1" fmla="*/ 3 h 33"/>
                <a:gd name="T2" fmla="*/ 2 w 24"/>
                <a:gd name="T3" fmla="*/ 7 h 33"/>
                <a:gd name="T4" fmla="*/ 0 w 24"/>
                <a:gd name="T5" fmla="*/ 11 h 33"/>
                <a:gd name="T6" fmla="*/ 0 w 24"/>
                <a:gd name="T7" fmla="*/ 13 h 33"/>
                <a:gd name="T8" fmla="*/ 0 w 24"/>
                <a:gd name="T9" fmla="*/ 16 h 33"/>
                <a:gd name="T10" fmla="*/ 2 w 24"/>
                <a:gd name="T11" fmla="*/ 17 h 33"/>
                <a:gd name="T12" fmla="*/ 4 w 24"/>
                <a:gd name="T13" fmla="*/ 17 h 33"/>
                <a:gd name="T14" fmla="*/ 6 w 24"/>
                <a:gd name="T15" fmla="*/ 17 h 33"/>
                <a:gd name="T16" fmla="*/ 9 w 24"/>
                <a:gd name="T17" fmla="*/ 17 h 33"/>
                <a:gd name="T18" fmla="*/ 12 w 24"/>
                <a:gd name="T19" fmla="*/ 13 h 33"/>
                <a:gd name="T20" fmla="*/ 12 w 24"/>
                <a:gd name="T21" fmla="*/ 10 h 33"/>
                <a:gd name="T22" fmla="*/ 11 w 24"/>
                <a:gd name="T23" fmla="*/ 7 h 33"/>
                <a:gd name="T24" fmla="*/ 8 w 24"/>
                <a:gd name="T25" fmla="*/ 4 h 33"/>
                <a:gd name="T26" fmla="*/ 7 w 24"/>
                <a:gd name="T27" fmla="*/ 1 h 33"/>
                <a:gd name="T28" fmla="*/ 6 w 24"/>
                <a:gd name="T29" fmla="*/ 0 h 33"/>
                <a:gd name="T30" fmla="*/ 5 w 24"/>
                <a:gd name="T31" fmla="*/ 0 h 33"/>
                <a:gd name="T32" fmla="*/ 3 w 24"/>
                <a:gd name="T33" fmla="*/ 3 h 3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" h="33">
                  <a:moveTo>
                    <a:pt x="5" y="5"/>
                  </a:moveTo>
                  <a:lnTo>
                    <a:pt x="3" y="13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3"/>
                  </a:lnTo>
                  <a:lnTo>
                    <a:pt x="8" y="33"/>
                  </a:lnTo>
                  <a:lnTo>
                    <a:pt x="12" y="33"/>
                  </a:lnTo>
                  <a:lnTo>
                    <a:pt x="18" y="33"/>
                  </a:lnTo>
                  <a:lnTo>
                    <a:pt x="24" y="25"/>
                  </a:lnTo>
                  <a:lnTo>
                    <a:pt x="24" y="19"/>
                  </a:lnTo>
                  <a:lnTo>
                    <a:pt x="21" y="14"/>
                  </a:lnTo>
                  <a:lnTo>
                    <a:pt x="16" y="7"/>
                  </a:lnTo>
                  <a:lnTo>
                    <a:pt x="14" y="1"/>
                  </a:lnTo>
                  <a:lnTo>
                    <a:pt x="12" y="0"/>
                  </a:lnTo>
                  <a:lnTo>
                    <a:pt x="9" y="0"/>
                  </a:lnTo>
                  <a:lnTo>
                    <a:pt x="5" y="5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42" name="Freeform 449"/>
            <p:cNvSpPr>
              <a:spLocks/>
            </p:cNvSpPr>
            <p:nvPr/>
          </p:nvSpPr>
          <p:spPr bwMode="auto">
            <a:xfrm>
              <a:off x="3346651" y="5199917"/>
              <a:ext cx="43522" cy="101856"/>
            </a:xfrm>
            <a:custGeom>
              <a:avLst/>
              <a:gdLst>
                <a:gd name="T0" fmla="*/ 10 w 20"/>
                <a:gd name="T1" fmla="*/ 0 h 51"/>
                <a:gd name="T2" fmla="*/ 7 w 20"/>
                <a:gd name="T3" fmla="*/ 1 h 51"/>
                <a:gd name="T4" fmla="*/ 5 w 20"/>
                <a:gd name="T5" fmla="*/ 3 h 51"/>
                <a:gd name="T6" fmla="*/ 3 w 20"/>
                <a:gd name="T7" fmla="*/ 5 h 51"/>
                <a:gd name="T8" fmla="*/ 1 w 20"/>
                <a:gd name="T9" fmla="*/ 6 h 51"/>
                <a:gd name="T10" fmla="*/ 0 w 20"/>
                <a:gd name="T11" fmla="*/ 8 h 51"/>
                <a:gd name="T12" fmla="*/ 0 w 20"/>
                <a:gd name="T13" fmla="*/ 10 h 51"/>
                <a:gd name="T14" fmla="*/ 1 w 20"/>
                <a:gd name="T15" fmla="*/ 11 h 51"/>
                <a:gd name="T16" fmla="*/ 2 w 20"/>
                <a:gd name="T17" fmla="*/ 13 h 51"/>
                <a:gd name="T18" fmla="*/ 2 w 20"/>
                <a:gd name="T19" fmla="*/ 14 h 51"/>
                <a:gd name="T20" fmla="*/ 3 w 20"/>
                <a:gd name="T21" fmla="*/ 15 h 51"/>
                <a:gd name="T22" fmla="*/ 3 w 20"/>
                <a:gd name="T23" fmla="*/ 15 h 51"/>
                <a:gd name="T24" fmla="*/ 3 w 20"/>
                <a:gd name="T25" fmla="*/ 17 h 51"/>
                <a:gd name="T26" fmla="*/ 1 w 20"/>
                <a:gd name="T27" fmla="*/ 17 h 51"/>
                <a:gd name="T28" fmla="*/ 1 w 20"/>
                <a:gd name="T29" fmla="*/ 18 h 51"/>
                <a:gd name="T30" fmla="*/ 0 w 20"/>
                <a:gd name="T31" fmla="*/ 20 h 51"/>
                <a:gd name="T32" fmla="*/ 0 w 20"/>
                <a:gd name="T33" fmla="*/ 20 h 51"/>
                <a:gd name="T34" fmla="*/ 0 w 20"/>
                <a:gd name="T35" fmla="*/ 22 h 51"/>
                <a:gd name="T36" fmla="*/ 1 w 20"/>
                <a:gd name="T37" fmla="*/ 24 h 51"/>
                <a:gd name="T38" fmla="*/ 1 w 20"/>
                <a:gd name="T39" fmla="*/ 25 h 51"/>
                <a:gd name="T40" fmla="*/ 2 w 20"/>
                <a:gd name="T41" fmla="*/ 24 h 51"/>
                <a:gd name="T42" fmla="*/ 3 w 20"/>
                <a:gd name="T43" fmla="*/ 24 h 51"/>
                <a:gd name="T44" fmla="*/ 4 w 20"/>
                <a:gd name="T45" fmla="*/ 23 h 51"/>
                <a:gd name="T46" fmla="*/ 5 w 20"/>
                <a:gd name="T47" fmla="*/ 21 h 51"/>
                <a:gd name="T48" fmla="*/ 5 w 20"/>
                <a:gd name="T49" fmla="*/ 17 h 51"/>
                <a:gd name="T50" fmla="*/ 7 w 20"/>
                <a:gd name="T51" fmla="*/ 12 h 51"/>
                <a:gd name="T52" fmla="*/ 8 w 20"/>
                <a:gd name="T53" fmla="*/ 10 h 51"/>
                <a:gd name="T54" fmla="*/ 9 w 20"/>
                <a:gd name="T55" fmla="*/ 8 h 51"/>
                <a:gd name="T56" fmla="*/ 10 w 20"/>
                <a:gd name="T57" fmla="*/ 5 h 51"/>
                <a:gd name="T58" fmla="*/ 10 w 20"/>
                <a:gd name="T59" fmla="*/ 2 h 51"/>
                <a:gd name="T60" fmla="*/ 10 w 20"/>
                <a:gd name="T61" fmla="*/ 2 h 51"/>
                <a:gd name="T62" fmla="*/ 10 w 20"/>
                <a:gd name="T63" fmla="*/ 0 h 5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0" h="51">
                  <a:moveTo>
                    <a:pt x="19" y="0"/>
                  </a:moveTo>
                  <a:lnTo>
                    <a:pt x="14" y="3"/>
                  </a:lnTo>
                  <a:lnTo>
                    <a:pt x="9" y="7"/>
                  </a:lnTo>
                  <a:lnTo>
                    <a:pt x="6" y="10"/>
                  </a:lnTo>
                  <a:lnTo>
                    <a:pt x="2" y="13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1" y="23"/>
                  </a:lnTo>
                  <a:lnTo>
                    <a:pt x="3" y="27"/>
                  </a:lnTo>
                  <a:lnTo>
                    <a:pt x="4" y="29"/>
                  </a:lnTo>
                  <a:lnTo>
                    <a:pt x="6" y="30"/>
                  </a:lnTo>
                  <a:lnTo>
                    <a:pt x="6" y="31"/>
                  </a:lnTo>
                  <a:lnTo>
                    <a:pt x="6" y="34"/>
                  </a:lnTo>
                  <a:lnTo>
                    <a:pt x="2" y="35"/>
                  </a:lnTo>
                  <a:lnTo>
                    <a:pt x="1" y="36"/>
                  </a:lnTo>
                  <a:lnTo>
                    <a:pt x="0" y="40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1" y="48"/>
                  </a:lnTo>
                  <a:lnTo>
                    <a:pt x="2" y="51"/>
                  </a:lnTo>
                  <a:lnTo>
                    <a:pt x="4" y="49"/>
                  </a:lnTo>
                  <a:lnTo>
                    <a:pt x="6" y="49"/>
                  </a:lnTo>
                  <a:lnTo>
                    <a:pt x="7" y="47"/>
                  </a:lnTo>
                  <a:lnTo>
                    <a:pt x="9" y="43"/>
                  </a:lnTo>
                  <a:lnTo>
                    <a:pt x="10" y="35"/>
                  </a:lnTo>
                  <a:lnTo>
                    <a:pt x="14" y="25"/>
                  </a:lnTo>
                  <a:lnTo>
                    <a:pt x="15" y="21"/>
                  </a:lnTo>
                  <a:lnTo>
                    <a:pt x="18" y="17"/>
                  </a:lnTo>
                  <a:lnTo>
                    <a:pt x="19" y="11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43" name="Freeform 450"/>
            <p:cNvSpPr>
              <a:spLocks/>
            </p:cNvSpPr>
            <p:nvPr/>
          </p:nvSpPr>
          <p:spPr bwMode="auto">
            <a:xfrm>
              <a:off x="3738343" y="5212140"/>
              <a:ext cx="322059" cy="374831"/>
            </a:xfrm>
            <a:custGeom>
              <a:avLst/>
              <a:gdLst>
                <a:gd name="T0" fmla="*/ 20 w 148"/>
                <a:gd name="T1" fmla="*/ 86 h 186"/>
                <a:gd name="T2" fmla="*/ 17 w 148"/>
                <a:gd name="T3" fmla="*/ 82 h 186"/>
                <a:gd name="T4" fmla="*/ 13 w 148"/>
                <a:gd name="T5" fmla="*/ 84 h 186"/>
                <a:gd name="T6" fmla="*/ 4 w 148"/>
                <a:gd name="T7" fmla="*/ 86 h 186"/>
                <a:gd name="T8" fmla="*/ 0 w 148"/>
                <a:gd name="T9" fmla="*/ 82 h 186"/>
                <a:gd name="T10" fmla="*/ 11 w 148"/>
                <a:gd name="T11" fmla="*/ 66 h 186"/>
                <a:gd name="T12" fmla="*/ 15 w 148"/>
                <a:gd name="T13" fmla="*/ 57 h 186"/>
                <a:gd name="T14" fmla="*/ 19 w 148"/>
                <a:gd name="T15" fmla="*/ 50 h 186"/>
                <a:gd name="T16" fmla="*/ 8 w 148"/>
                <a:gd name="T17" fmla="*/ 51 h 186"/>
                <a:gd name="T18" fmla="*/ 8 w 148"/>
                <a:gd name="T19" fmla="*/ 47 h 186"/>
                <a:gd name="T20" fmla="*/ 22 w 148"/>
                <a:gd name="T21" fmla="*/ 41 h 186"/>
                <a:gd name="T22" fmla="*/ 13 w 148"/>
                <a:gd name="T23" fmla="*/ 24 h 186"/>
                <a:gd name="T24" fmla="*/ 8 w 148"/>
                <a:gd name="T25" fmla="*/ 13 h 186"/>
                <a:gd name="T26" fmla="*/ 14 w 148"/>
                <a:gd name="T27" fmla="*/ 13 h 186"/>
                <a:gd name="T28" fmla="*/ 16 w 148"/>
                <a:gd name="T29" fmla="*/ 9 h 186"/>
                <a:gd name="T30" fmla="*/ 20 w 148"/>
                <a:gd name="T31" fmla="*/ 6 h 186"/>
                <a:gd name="T32" fmla="*/ 24 w 148"/>
                <a:gd name="T33" fmla="*/ 4 h 186"/>
                <a:gd name="T34" fmla="*/ 27 w 148"/>
                <a:gd name="T35" fmla="*/ 0 h 186"/>
                <a:gd name="T36" fmla="*/ 37 w 148"/>
                <a:gd name="T37" fmla="*/ 3 h 186"/>
                <a:gd name="T38" fmla="*/ 46 w 148"/>
                <a:gd name="T39" fmla="*/ 8 h 186"/>
                <a:gd name="T40" fmla="*/ 50 w 148"/>
                <a:gd name="T41" fmla="*/ 11 h 186"/>
                <a:gd name="T42" fmla="*/ 56 w 148"/>
                <a:gd name="T43" fmla="*/ 13 h 186"/>
                <a:gd name="T44" fmla="*/ 56 w 148"/>
                <a:gd name="T45" fmla="*/ 6 h 186"/>
                <a:gd name="T46" fmla="*/ 60 w 148"/>
                <a:gd name="T47" fmla="*/ 0 h 186"/>
                <a:gd name="T48" fmla="*/ 67 w 148"/>
                <a:gd name="T49" fmla="*/ 4 h 186"/>
                <a:gd name="T50" fmla="*/ 69 w 148"/>
                <a:gd name="T51" fmla="*/ 14 h 186"/>
                <a:gd name="T52" fmla="*/ 71 w 148"/>
                <a:gd name="T53" fmla="*/ 20 h 186"/>
                <a:gd name="T54" fmla="*/ 71 w 148"/>
                <a:gd name="T55" fmla="*/ 27 h 186"/>
                <a:gd name="T56" fmla="*/ 74 w 148"/>
                <a:gd name="T57" fmla="*/ 33 h 186"/>
                <a:gd name="T58" fmla="*/ 70 w 148"/>
                <a:gd name="T59" fmla="*/ 35 h 186"/>
                <a:gd name="T60" fmla="*/ 68 w 148"/>
                <a:gd name="T61" fmla="*/ 41 h 186"/>
                <a:gd name="T62" fmla="*/ 64 w 148"/>
                <a:gd name="T63" fmla="*/ 45 h 186"/>
                <a:gd name="T64" fmla="*/ 61 w 148"/>
                <a:gd name="T65" fmla="*/ 46 h 186"/>
                <a:gd name="T66" fmla="*/ 58 w 148"/>
                <a:gd name="T67" fmla="*/ 52 h 186"/>
                <a:gd name="T68" fmla="*/ 53 w 148"/>
                <a:gd name="T69" fmla="*/ 54 h 186"/>
                <a:gd name="T70" fmla="*/ 51 w 148"/>
                <a:gd name="T71" fmla="*/ 60 h 186"/>
                <a:gd name="T72" fmla="*/ 52 w 148"/>
                <a:gd name="T73" fmla="*/ 67 h 186"/>
                <a:gd name="T74" fmla="*/ 53 w 148"/>
                <a:gd name="T75" fmla="*/ 72 h 186"/>
                <a:gd name="T76" fmla="*/ 52 w 148"/>
                <a:gd name="T77" fmla="*/ 77 h 186"/>
                <a:gd name="T78" fmla="*/ 49 w 148"/>
                <a:gd name="T79" fmla="*/ 80 h 186"/>
                <a:gd name="T80" fmla="*/ 50 w 148"/>
                <a:gd name="T81" fmla="*/ 86 h 186"/>
                <a:gd name="T82" fmla="*/ 46 w 148"/>
                <a:gd name="T83" fmla="*/ 89 h 186"/>
                <a:gd name="T84" fmla="*/ 43 w 148"/>
                <a:gd name="T85" fmla="*/ 90 h 186"/>
                <a:gd name="T86" fmla="*/ 38 w 148"/>
                <a:gd name="T87" fmla="*/ 90 h 186"/>
                <a:gd name="T88" fmla="*/ 33 w 148"/>
                <a:gd name="T89" fmla="*/ 92 h 186"/>
                <a:gd name="T90" fmla="*/ 26 w 148"/>
                <a:gd name="T91" fmla="*/ 90 h 18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48" h="186">
                  <a:moveTo>
                    <a:pt x="45" y="181"/>
                  </a:moveTo>
                  <a:lnTo>
                    <a:pt x="43" y="176"/>
                  </a:lnTo>
                  <a:lnTo>
                    <a:pt x="40" y="173"/>
                  </a:lnTo>
                  <a:lnTo>
                    <a:pt x="38" y="169"/>
                  </a:lnTo>
                  <a:lnTo>
                    <a:pt x="36" y="165"/>
                  </a:lnTo>
                  <a:lnTo>
                    <a:pt x="34" y="165"/>
                  </a:lnTo>
                  <a:lnTo>
                    <a:pt x="31" y="165"/>
                  </a:lnTo>
                  <a:lnTo>
                    <a:pt x="28" y="168"/>
                  </a:lnTo>
                  <a:lnTo>
                    <a:pt x="25" y="170"/>
                  </a:lnTo>
                  <a:lnTo>
                    <a:pt x="20" y="171"/>
                  </a:lnTo>
                  <a:lnTo>
                    <a:pt x="14" y="173"/>
                  </a:lnTo>
                  <a:lnTo>
                    <a:pt x="7" y="174"/>
                  </a:lnTo>
                  <a:lnTo>
                    <a:pt x="4" y="173"/>
                  </a:lnTo>
                  <a:lnTo>
                    <a:pt x="1" y="170"/>
                  </a:lnTo>
                  <a:lnTo>
                    <a:pt x="0" y="165"/>
                  </a:lnTo>
                  <a:lnTo>
                    <a:pt x="4" y="159"/>
                  </a:lnTo>
                  <a:lnTo>
                    <a:pt x="16" y="144"/>
                  </a:lnTo>
                  <a:lnTo>
                    <a:pt x="21" y="134"/>
                  </a:lnTo>
                  <a:lnTo>
                    <a:pt x="24" y="127"/>
                  </a:lnTo>
                  <a:lnTo>
                    <a:pt x="26" y="121"/>
                  </a:lnTo>
                  <a:lnTo>
                    <a:pt x="30" y="115"/>
                  </a:lnTo>
                  <a:lnTo>
                    <a:pt x="37" y="104"/>
                  </a:lnTo>
                  <a:lnTo>
                    <a:pt x="38" y="103"/>
                  </a:lnTo>
                  <a:lnTo>
                    <a:pt x="37" y="101"/>
                  </a:lnTo>
                  <a:lnTo>
                    <a:pt x="36" y="101"/>
                  </a:lnTo>
                  <a:lnTo>
                    <a:pt x="25" y="103"/>
                  </a:lnTo>
                  <a:lnTo>
                    <a:pt x="15" y="103"/>
                  </a:lnTo>
                  <a:lnTo>
                    <a:pt x="12" y="102"/>
                  </a:lnTo>
                  <a:lnTo>
                    <a:pt x="12" y="98"/>
                  </a:lnTo>
                  <a:lnTo>
                    <a:pt x="15" y="95"/>
                  </a:lnTo>
                  <a:lnTo>
                    <a:pt x="22" y="91"/>
                  </a:lnTo>
                  <a:lnTo>
                    <a:pt x="36" y="85"/>
                  </a:lnTo>
                  <a:lnTo>
                    <a:pt x="44" y="82"/>
                  </a:lnTo>
                  <a:lnTo>
                    <a:pt x="45" y="79"/>
                  </a:lnTo>
                  <a:lnTo>
                    <a:pt x="45" y="76"/>
                  </a:lnTo>
                  <a:lnTo>
                    <a:pt x="25" y="48"/>
                  </a:lnTo>
                  <a:lnTo>
                    <a:pt x="21" y="43"/>
                  </a:lnTo>
                  <a:lnTo>
                    <a:pt x="19" y="37"/>
                  </a:lnTo>
                  <a:lnTo>
                    <a:pt x="16" y="26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28" y="26"/>
                  </a:lnTo>
                  <a:lnTo>
                    <a:pt x="31" y="26"/>
                  </a:lnTo>
                  <a:lnTo>
                    <a:pt x="32" y="23"/>
                  </a:lnTo>
                  <a:lnTo>
                    <a:pt x="32" y="19"/>
                  </a:lnTo>
                  <a:lnTo>
                    <a:pt x="32" y="18"/>
                  </a:lnTo>
                  <a:lnTo>
                    <a:pt x="37" y="16"/>
                  </a:lnTo>
                  <a:lnTo>
                    <a:pt x="39" y="13"/>
                  </a:lnTo>
                  <a:lnTo>
                    <a:pt x="43" y="12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2" y="4"/>
                  </a:lnTo>
                  <a:lnTo>
                    <a:pt x="54" y="1"/>
                  </a:lnTo>
                  <a:lnTo>
                    <a:pt x="56" y="0"/>
                  </a:lnTo>
                  <a:lnTo>
                    <a:pt x="62" y="1"/>
                  </a:lnTo>
                  <a:lnTo>
                    <a:pt x="73" y="6"/>
                  </a:lnTo>
                  <a:lnTo>
                    <a:pt x="79" y="11"/>
                  </a:lnTo>
                  <a:lnTo>
                    <a:pt x="86" y="13"/>
                  </a:lnTo>
                  <a:lnTo>
                    <a:pt x="91" y="16"/>
                  </a:lnTo>
                  <a:lnTo>
                    <a:pt x="91" y="17"/>
                  </a:lnTo>
                  <a:lnTo>
                    <a:pt x="94" y="20"/>
                  </a:lnTo>
                  <a:lnTo>
                    <a:pt x="99" y="23"/>
                  </a:lnTo>
                  <a:lnTo>
                    <a:pt x="104" y="26"/>
                  </a:lnTo>
                  <a:lnTo>
                    <a:pt x="109" y="28"/>
                  </a:lnTo>
                  <a:lnTo>
                    <a:pt x="111" y="26"/>
                  </a:lnTo>
                  <a:lnTo>
                    <a:pt x="112" y="23"/>
                  </a:lnTo>
                  <a:lnTo>
                    <a:pt x="112" y="18"/>
                  </a:lnTo>
                  <a:lnTo>
                    <a:pt x="112" y="12"/>
                  </a:lnTo>
                  <a:lnTo>
                    <a:pt x="112" y="7"/>
                  </a:lnTo>
                  <a:lnTo>
                    <a:pt x="114" y="2"/>
                  </a:lnTo>
                  <a:lnTo>
                    <a:pt x="120" y="0"/>
                  </a:lnTo>
                  <a:lnTo>
                    <a:pt x="124" y="1"/>
                  </a:lnTo>
                  <a:lnTo>
                    <a:pt x="129" y="5"/>
                  </a:lnTo>
                  <a:lnTo>
                    <a:pt x="133" y="8"/>
                  </a:lnTo>
                  <a:lnTo>
                    <a:pt x="134" y="14"/>
                  </a:lnTo>
                  <a:lnTo>
                    <a:pt x="136" y="20"/>
                  </a:lnTo>
                  <a:lnTo>
                    <a:pt x="138" y="28"/>
                  </a:lnTo>
                  <a:lnTo>
                    <a:pt x="140" y="32"/>
                  </a:lnTo>
                  <a:lnTo>
                    <a:pt x="141" y="37"/>
                  </a:lnTo>
                  <a:lnTo>
                    <a:pt x="141" y="41"/>
                  </a:lnTo>
                  <a:lnTo>
                    <a:pt x="141" y="46"/>
                  </a:lnTo>
                  <a:lnTo>
                    <a:pt x="141" y="50"/>
                  </a:lnTo>
                  <a:lnTo>
                    <a:pt x="142" y="55"/>
                  </a:lnTo>
                  <a:lnTo>
                    <a:pt x="146" y="59"/>
                  </a:lnTo>
                  <a:lnTo>
                    <a:pt x="148" y="64"/>
                  </a:lnTo>
                  <a:lnTo>
                    <a:pt x="148" y="67"/>
                  </a:lnTo>
                  <a:lnTo>
                    <a:pt x="146" y="67"/>
                  </a:lnTo>
                  <a:lnTo>
                    <a:pt x="142" y="68"/>
                  </a:lnTo>
                  <a:lnTo>
                    <a:pt x="140" y="70"/>
                  </a:lnTo>
                  <a:lnTo>
                    <a:pt x="138" y="74"/>
                  </a:lnTo>
                  <a:lnTo>
                    <a:pt x="136" y="79"/>
                  </a:lnTo>
                  <a:lnTo>
                    <a:pt x="135" y="82"/>
                  </a:lnTo>
                  <a:lnTo>
                    <a:pt x="130" y="85"/>
                  </a:lnTo>
                  <a:lnTo>
                    <a:pt x="128" y="88"/>
                  </a:lnTo>
                  <a:lnTo>
                    <a:pt x="127" y="90"/>
                  </a:lnTo>
                  <a:lnTo>
                    <a:pt x="126" y="91"/>
                  </a:lnTo>
                  <a:lnTo>
                    <a:pt x="123" y="91"/>
                  </a:lnTo>
                  <a:lnTo>
                    <a:pt x="121" y="94"/>
                  </a:lnTo>
                  <a:lnTo>
                    <a:pt x="118" y="102"/>
                  </a:lnTo>
                  <a:lnTo>
                    <a:pt x="117" y="104"/>
                  </a:lnTo>
                  <a:lnTo>
                    <a:pt x="115" y="106"/>
                  </a:lnTo>
                  <a:lnTo>
                    <a:pt x="112" y="106"/>
                  </a:lnTo>
                  <a:lnTo>
                    <a:pt x="109" y="107"/>
                  </a:lnTo>
                  <a:lnTo>
                    <a:pt x="106" y="110"/>
                  </a:lnTo>
                  <a:lnTo>
                    <a:pt x="104" y="113"/>
                  </a:lnTo>
                  <a:lnTo>
                    <a:pt x="103" y="117"/>
                  </a:lnTo>
                  <a:lnTo>
                    <a:pt x="102" y="121"/>
                  </a:lnTo>
                  <a:lnTo>
                    <a:pt x="102" y="127"/>
                  </a:lnTo>
                  <a:lnTo>
                    <a:pt x="102" y="129"/>
                  </a:lnTo>
                  <a:lnTo>
                    <a:pt x="103" y="135"/>
                  </a:lnTo>
                  <a:lnTo>
                    <a:pt x="104" y="139"/>
                  </a:lnTo>
                  <a:lnTo>
                    <a:pt x="106" y="143"/>
                  </a:lnTo>
                  <a:lnTo>
                    <a:pt x="106" y="146"/>
                  </a:lnTo>
                  <a:lnTo>
                    <a:pt x="106" y="150"/>
                  </a:lnTo>
                  <a:lnTo>
                    <a:pt x="105" y="152"/>
                  </a:lnTo>
                  <a:lnTo>
                    <a:pt x="103" y="155"/>
                  </a:lnTo>
                  <a:lnTo>
                    <a:pt x="100" y="158"/>
                  </a:lnTo>
                  <a:lnTo>
                    <a:pt x="99" y="159"/>
                  </a:lnTo>
                  <a:lnTo>
                    <a:pt x="98" y="162"/>
                  </a:lnTo>
                  <a:lnTo>
                    <a:pt x="98" y="165"/>
                  </a:lnTo>
                  <a:lnTo>
                    <a:pt x="99" y="170"/>
                  </a:lnTo>
                  <a:lnTo>
                    <a:pt x="99" y="174"/>
                  </a:lnTo>
                  <a:lnTo>
                    <a:pt x="98" y="176"/>
                  </a:lnTo>
                  <a:lnTo>
                    <a:pt x="94" y="179"/>
                  </a:lnTo>
                  <a:lnTo>
                    <a:pt x="92" y="179"/>
                  </a:lnTo>
                  <a:lnTo>
                    <a:pt x="90" y="177"/>
                  </a:lnTo>
                  <a:lnTo>
                    <a:pt x="87" y="180"/>
                  </a:lnTo>
                  <a:lnTo>
                    <a:pt x="85" y="182"/>
                  </a:lnTo>
                  <a:lnTo>
                    <a:pt x="84" y="182"/>
                  </a:lnTo>
                  <a:lnTo>
                    <a:pt x="79" y="183"/>
                  </a:lnTo>
                  <a:lnTo>
                    <a:pt x="75" y="182"/>
                  </a:lnTo>
                  <a:lnTo>
                    <a:pt x="73" y="183"/>
                  </a:lnTo>
                  <a:lnTo>
                    <a:pt x="68" y="185"/>
                  </a:lnTo>
                  <a:lnTo>
                    <a:pt x="66" y="186"/>
                  </a:lnTo>
                  <a:lnTo>
                    <a:pt x="62" y="186"/>
                  </a:lnTo>
                  <a:lnTo>
                    <a:pt x="57" y="182"/>
                  </a:lnTo>
                  <a:lnTo>
                    <a:pt x="52" y="181"/>
                  </a:lnTo>
                  <a:lnTo>
                    <a:pt x="45" y="181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44" name="Freeform 451"/>
            <p:cNvSpPr>
              <a:spLocks/>
            </p:cNvSpPr>
            <p:nvPr/>
          </p:nvSpPr>
          <p:spPr bwMode="auto">
            <a:xfrm>
              <a:off x="3616483" y="5415852"/>
              <a:ext cx="87043" cy="130376"/>
            </a:xfrm>
            <a:custGeom>
              <a:avLst/>
              <a:gdLst>
                <a:gd name="T0" fmla="*/ 20 w 41"/>
                <a:gd name="T1" fmla="*/ 4 h 64"/>
                <a:gd name="T2" fmla="*/ 20 w 41"/>
                <a:gd name="T3" fmla="*/ 6 h 64"/>
                <a:gd name="T4" fmla="*/ 20 w 41"/>
                <a:gd name="T5" fmla="*/ 8 h 64"/>
                <a:gd name="T6" fmla="*/ 19 w 41"/>
                <a:gd name="T7" fmla="*/ 12 h 64"/>
                <a:gd name="T8" fmla="*/ 18 w 41"/>
                <a:gd name="T9" fmla="*/ 14 h 64"/>
                <a:gd name="T10" fmla="*/ 18 w 41"/>
                <a:gd name="T11" fmla="*/ 17 h 64"/>
                <a:gd name="T12" fmla="*/ 17 w 41"/>
                <a:gd name="T13" fmla="*/ 20 h 64"/>
                <a:gd name="T14" fmla="*/ 17 w 41"/>
                <a:gd name="T15" fmla="*/ 22 h 64"/>
                <a:gd name="T16" fmla="*/ 15 w 41"/>
                <a:gd name="T17" fmla="*/ 23 h 64"/>
                <a:gd name="T18" fmla="*/ 14 w 41"/>
                <a:gd name="T19" fmla="*/ 25 h 64"/>
                <a:gd name="T20" fmla="*/ 12 w 41"/>
                <a:gd name="T21" fmla="*/ 26 h 64"/>
                <a:gd name="T22" fmla="*/ 9 w 41"/>
                <a:gd name="T23" fmla="*/ 28 h 64"/>
                <a:gd name="T24" fmla="*/ 8 w 41"/>
                <a:gd name="T25" fmla="*/ 29 h 64"/>
                <a:gd name="T26" fmla="*/ 6 w 41"/>
                <a:gd name="T27" fmla="*/ 31 h 64"/>
                <a:gd name="T28" fmla="*/ 5 w 41"/>
                <a:gd name="T29" fmla="*/ 32 h 64"/>
                <a:gd name="T30" fmla="*/ 4 w 41"/>
                <a:gd name="T31" fmla="*/ 32 h 64"/>
                <a:gd name="T32" fmla="*/ 2 w 41"/>
                <a:gd name="T33" fmla="*/ 32 h 64"/>
                <a:gd name="T34" fmla="*/ 1 w 41"/>
                <a:gd name="T35" fmla="*/ 31 h 64"/>
                <a:gd name="T36" fmla="*/ 0 w 41"/>
                <a:gd name="T37" fmla="*/ 29 h 64"/>
                <a:gd name="T38" fmla="*/ 0 w 41"/>
                <a:gd name="T39" fmla="*/ 29 h 64"/>
                <a:gd name="T40" fmla="*/ 0 w 41"/>
                <a:gd name="T41" fmla="*/ 26 h 64"/>
                <a:gd name="T42" fmla="*/ 0 w 41"/>
                <a:gd name="T43" fmla="*/ 25 h 64"/>
                <a:gd name="T44" fmla="*/ 0 w 41"/>
                <a:gd name="T45" fmla="*/ 23 h 64"/>
                <a:gd name="T46" fmla="*/ 0 w 41"/>
                <a:gd name="T47" fmla="*/ 20 h 64"/>
                <a:gd name="T48" fmla="*/ 0 w 41"/>
                <a:gd name="T49" fmla="*/ 17 h 64"/>
                <a:gd name="T50" fmla="*/ 1 w 41"/>
                <a:gd name="T51" fmla="*/ 16 h 64"/>
                <a:gd name="T52" fmla="*/ 2 w 41"/>
                <a:gd name="T53" fmla="*/ 12 h 64"/>
                <a:gd name="T54" fmla="*/ 3 w 41"/>
                <a:gd name="T55" fmla="*/ 8 h 64"/>
                <a:gd name="T56" fmla="*/ 4 w 41"/>
                <a:gd name="T57" fmla="*/ 6 h 64"/>
                <a:gd name="T58" fmla="*/ 5 w 41"/>
                <a:gd name="T59" fmla="*/ 4 h 64"/>
                <a:gd name="T60" fmla="*/ 5 w 41"/>
                <a:gd name="T61" fmla="*/ 3 h 64"/>
                <a:gd name="T62" fmla="*/ 6 w 41"/>
                <a:gd name="T63" fmla="*/ 2 h 64"/>
                <a:gd name="T64" fmla="*/ 8 w 41"/>
                <a:gd name="T65" fmla="*/ 1 h 64"/>
                <a:gd name="T66" fmla="*/ 9 w 41"/>
                <a:gd name="T67" fmla="*/ 0 h 64"/>
                <a:gd name="T68" fmla="*/ 10 w 41"/>
                <a:gd name="T69" fmla="*/ 0 h 64"/>
                <a:gd name="T70" fmla="*/ 11 w 41"/>
                <a:gd name="T71" fmla="*/ 0 h 64"/>
                <a:gd name="T72" fmla="*/ 13 w 41"/>
                <a:gd name="T73" fmla="*/ 0 h 64"/>
                <a:gd name="T74" fmla="*/ 15 w 41"/>
                <a:gd name="T75" fmla="*/ 1 h 64"/>
                <a:gd name="T76" fmla="*/ 17 w 41"/>
                <a:gd name="T77" fmla="*/ 1 h 64"/>
                <a:gd name="T78" fmla="*/ 19 w 41"/>
                <a:gd name="T79" fmla="*/ 2 h 64"/>
                <a:gd name="T80" fmla="*/ 20 w 41"/>
                <a:gd name="T81" fmla="*/ 4 h 6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41" h="64">
                  <a:moveTo>
                    <a:pt x="40" y="8"/>
                  </a:moveTo>
                  <a:lnTo>
                    <a:pt x="41" y="11"/>
                  </a:lnTo>
                  <a:lnTo>
                    <a:pt x="40" y="15"/>
                  </a:lnTo>
                  <a:lnTo>
                    <a:pt x="39" y="24"/>
                  </a:lnTo>
                  <a:lnTo>
                    <a:pt x="37" y="27"/>
                  </a:lnTo>
                  <a:lnTo>
                    <a:pt x="36" y="34"/>
                  </a:lnTo>
                  <a:lnTo>
                    <a:pt x="35" y="40"/>
                  </a:lnTo>
                  <a:lnTo>
                    <a:pt x="34" y="44"/>
                  </a:lnTo>
                  <a:lnTo>
                    <a:pt x="31" y="46"/>
                  </a:lnTo>
                  <a:lnTo>
                    <a:pt x="29" y="49"/>
                  </a:lnTo>
                  <a:lnTo>
                    <a:pt x="25" y="51"/>
                  </a:lnTo>
                  <a:lnTo>
                    <a:pt x="19" y="55"/>
                  </a:lnTo>
                  <a:lnTo>
                    <a:pt x="16" y="57"/>
                  </a:lnTo>
                  <a:lnTo>
                    <a:pt x="12" y="61"/>
                  </a:lnTo>
                  <a:lnTo>
                    <a:pt x="10" y="64"/>
                  </a:lnTo>
                  <a:lnTo>
                    <a:pt x="9" y="64"/>
                  </a:lnTo>
                  <a:lnTo>
                    <a:pt x="5" y="63"/>
                  </a:lnTo>
                  <a:lnTo>
                    <a:pt x="3" y="61"/>
                  </a:lnTo>
                  <a:lnTo>
                    <a:pt x="0" y="58"/>
                  </a:lnTo>
                  <a:lnTo>
                    <a:pt x="0" y="57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45"/>
                  </a:lnTo>
                  <a:lnTo>
                    <a:pt x="0" y="40"/>
                  </a:lnTo>
                  <a:lnTo>
                    <a:pt x="1" y="34"/>
                  </a:lnTo>
                  <a:lnTo>
                    <a:pt x="3" y="31"/>
                  </a:lnTo>
                  <a:lnTo>
                    <a:pt x="4" y="24"/>
                  </a:lnTo>
                  <a:lnTo>
                    <a:pt x="6" y="15"/>
                  </a:lnTo>
                  <a:lnTo>
                    <a:pt x="9" y="11"/>
                  </a:lnTo>
                  <a:lnTo>
                    <a:pt x="10" y="7"/>
                  </a:lnTo>
                  <a:lnTo>
                    <a:pt x="11" y="5"/>
                  </a:lnTo>
                  <a:lnTo>
                    <a:pt x="13" y="3"/>
                  </a:lnTo>
                  <a:lnTo>
                    <a:pt x="16" y="1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1" y="1"/>
                  </a:lnTo>
                  <a:lnTo>
                    <a:pt x="34" y="2"/>
                  </a:lnTo>
                  <a:lnTo>
                    <a:pt x="39" y="3"/>
                  </a:lnTo>
                  <a:lnTo>
                    <a:pt x="40" y="8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45" name="Freeform 452"/>
            <p:cNvSpPr>
              <a:spLocks/>
            </p:cNvSpPr>
            <p:nvPr/>
          </p:nvSpPr>
          <p:spPr bwMode="auto">
            <a:xfrm>
              <a:off x="3699175" y="5428075"/>
              <a:ext cx="78338" cy="57039"/>
            </a:xfrm>
            <a:custGeom>
              <a:avLst/>
              <a:gdLst>
                <a:gd name="T0" fmla="*/ 16 w 35"/>
                <a:gd name="T1" fmla="*/ 8 h 28"/>
                <a:gd name="T2" fmla="*/ 17 w 35"/>
                <a:gd name="T3" fmla="*/ 5 h 28"/>
                <a:gd name="T4" fmla="*/ 18 w 35"/>
                <a:gd name="T5" fmla="*/ 3 h 28"/>
                <a:gd name="T6" fmla="*/ 17 w 35"/>
                <a:gd name="T7" fmla="*/ 2 h 28"/>
                <a:gd name="T8" fmla="*/ 16 w 35"/>
                <a:gd name="T9" fmla="*/ 1 h 28"/>
                <a:gd name="T10" fmla="*/ 13 w 35"/>
                <a:gd name="T11" fmla="*/ 3 h 28"/>
                <a:gd name="T12" fmla="*/ 12 w 35"/>
                <a:gd name="T13" fmla="*/ 0 h 28"/>
                <a:gd name="T14" fmla="*/ 10 w 35"/>
                <a:gd name="T15" fmla="*/ 1 h 28"/>
                <a:gd name="T16" fmla="*/ 7 w 35"/>
                <a:gd name="T17" fmla="*/ 1 h 28"/>
                <a:gd name="T18" fmla="*/ 5 w 35"/>
                <a:gd name="T19" fmla="*/ 4 h 28"/>
                <a:gd name="T20" fmla="*/ 3 w 35"/>
                <a:gd name="T21" fmla="*/ 4 h 28"/>
                <a:gd name="T22" fmla="*/ 1 w 35"/>
                <a:gd name="T23" fmla="*/ 5 h 28"/>
                <a:gd name="T24" fmla="*/ 0 w 35"/>
                <a:gd name="T25" fmla="*/ 8 h 28"/>
                <a:gd name="T26" fmla="*/ 1 w 35"/>
                <a:gd name="T27" fmla="*/ 10 h 28"/>
                <a:gd name="T28" fmla="*/ 2 w 35"/>
                <a:gd name="T29" fmla="*/ 12 h 28"/>
                <a:gd name="T30" fmla="*/ 3 w 35"/>
                <a:gd name="T31" fmla="*/ 13 h 28"/>
                <a:gd name="T32" fmla="*/ 3 w 35"/>
                <a:gd name="T33" fmla="*/ 14 h 28"/>
                <a:gd name="T34" fmla="*/ 4 w 35"/>
                <a:gd name="T35" fmla="*/ 14 h 28"/>
                <a:gd name="T36" fmla="*/ 7 w 35"/>
                <a:gd name="T37" fmla="*/ 14 h 28"/>
                <a:gd name="T38" fmla="*/ 9 w 35"/>
                <a:gd name="T39" fmla="*/ 13 h 28"/>
                <a:gd name="T40" fmla="*/ 12 w 35"/>
                <a:gd name="T41" fmla="*/ 14 h 28"/>
                <a:gd name="T42" fmla="*/ 13 w 35"/>
                <a:gd name="T43" fmla="*/ 14 h 28"/>
                <a:gd name="T44" fmla="*/ 15 w 35"/>
                <a:gd name="T45" fmla="*/ 13 h 28"/>
                <a:gd name="T46" fmla="*/ 16 w 35"/>
                <a:gd name="T47" fmla="*/ 11 h 28"/>
                <a:gd name="T48" fmla="*/ 16 w 35"/>
                <a:gd name="T49" fmla="*/ 8 h 2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5" h="28">
                  <a:moveTo>
                    <a:pt x="32" y="16"/>
                  </a:moveTo>
                  <a:lnTo>
                    <a:pt x="33" y="9"/>
                  </a:lnTo>
                  <a:lnTo>
                    <a:pt x="35" y="5"/>
                  </a:lnTo>
                  <a:lnTo>
                    <a:pt x="33" y="3"/>
                  </a:lnTo>
                  <a:lnTo>
                    <a:pt x="31" y="2"/>
                  </a:lnTo>
                  <a:lnTo>
                    <a:pt x="26" y="5"/>
                  </a:lnTo>
                  <a:lnTo>
                    <a:pt x="24" y="0"/>
                  </a:lnTo>
                  <a:lnTo>
                    <a:pt x="19" y="1"/>
                  </a:lnTo>
                  <a:lnTo>
                    <a:pt x="14" y="1"/>
                  </a:lnTo>
                  <a:lnTo>
                    <a:pt x="9" y="7"/>
                  </a:lnTo>
                  <a:lnTo>
                    <a:pt x="6" y="8"/>
                  </a:lnTo>
                  <a:lnTo>
                    <a:pt x="1" y="9"/>
                  </a:lnTo>
                  <a:lnTo>
                    <a:pt x="0" y="16"/>
                  </a:lnTo>
                  <a:lnTo>
                    <a:pt x="1" y="19"/>
                  </a:lnTo>
                  <a:lnTo>
                    <a:pt x="3" y="24"/>
                  </a:lnTo>
                  <a:lnTo>
                    <a:pt x="5" y="25"/>
                  </a:lnTo>
                  <a:lnTo>
                    <a:pt x="6" y="27"/>
                  </a:lnTo>
                  <a:lnTo>
                    <a:pt x="8" y="27"/>
                  </a:lnTo>
                  <a:lnTo>
                    <a:pt x="13" y="27"/>
                  </a:lnTo>
                  <a:lnTo>
                    <a:pt x="18" y="26"/>
                  </a:lnTo>
                  <a:lnTo>
                    <a:pt x="24" y="28"/>
                  </a:lnTo>
                  <a:lnTo>
                    <a:pt x="26" y="27"/>
                  </a:lnTo>
                  <a:lnTo>
                    <a:pt x="30" y="25"/>
                  </a:lnTo>
                  <a:lnTo>
                    <a:pt x="31" y="21"/>
                  </a:lnTo>
                  <a:lnTo>
                    <a:pt x="32" y="16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46" name="Freeform 453"/>
            <p:cNvSpPr>
              <a:spLocks/>
            </p:cNvSpPr>
            <p:nvPr/>
          </p:nvSpPr>
          <p:spPr bwMode="auto">
            <a:xfrm>
              <a:off x="3838443" y="5346590"/>
              <a:ext cx="391693" cy="509282"/>
            </a:xfrm>
            <a:custGeom>
              <a:avLst/>
              <a:gdLst>
                <a:gd name="T0" fmla="*/ 30 w 181"/>
                <a:gd name="T1" fmla="*/ 113 h 249"/>
                <a:gd name="T2" fmla="*/ 31 w 181"/>
                <a:gd name="T3" fmla="*/ 107 h 249"/>
                <a:gd name="T4" fmla="*/ 30 w 181"/>
                <a:gd name="T5" fmla="*/ 99 h 249"/>
                <a:gd name="T6" fmla="*/ 25 w 181"/>
                <a:gd name="T7" fmla="*/ 98 h 249"/>
                <a:gd name="T8" fmla="*/ 22 w 181"/>
                <a:gd name="T9" fmla="*/ 98 h 249"/>
                <a:gd name="T10" fmla="*/ 20 w 181"/>
                <a:gd name="T11" fmla="*/ 91 h 249"/>
                <a:gd name="T12" fmla="*/ 17 w 181"/>
                <a:gd name="T13" fmla="*/ 85 h 249"/>
                <a:gd name="T14" fmla="*/ 12 w 181"/>
                <a:gd name="T15" fmla="*/ 80 h 249"/>
                <a:gd name="T16" fmla="*/ 12 w 181"/>
                <a:gd name="T17" fmla="*/ 76 h 249"/>
                <a:gd name="T18" fmla="*/ 11 w 181"/>
                <a:gd name="T19" fmla="*/ 72 h 249"/>
                <a:gd name="T20" fmla="*/ 8 w 181"/>
                <a:gd name="T21" fmla="*/ 69 h 249"/>
                <a:gd name="T22" fmla="*/ 5 w 181"/>
                <a:gd name="T23" fmla="*/ 65 h 249"/>
                <a:gd name="T24" fmla="*/ 0 w 181"/>
                <a:gd name="T25" fmla="*/ 61 h 249"/>
                <a:gd name="T26" fmla="*/ 3 w 181"/>
                <a:gd name="T27" fmla="*/ 57 h 249"/>
                <a:gd name="T28" fmla="*/ 10 w 181"/>
                <a:gd name="T29" fmla="*/ 60 h 249"/>
                <a:gd name="T30" fmla="*/ 15 w 181"/>
                <a:gd name="T31" fmla="*/ 58 h 249"/>
                <a:gd name="T32" fmla="*/ 20 w 181"/>
                <a:gd name="T33" fmla="*/ 58 h 249"/>
                <a:gd name="T34" fmla="*/ 23 w 181"/>
                <a:gd name="T35" fmla="*/ 56 h 249"/>
                <a:gd name="T36" fmla="*/ 27 w 181"/>
                <a:gd name="T37" fmla="*/ 54 h 249"/>
                <a:gd name="T38" fmla="*/ 26 w 181"/>
                <a:gd name="T39" fmla="*/ 48 h 249"/>
                <a:gd name="T40" fmla="*/ 29 w 181"/>
                <a:gd name="T41" fmla="*/ 44 h 249"/>
                <a:gd name="T42" fmla="*/ 30 w 181"/>
                <a:gd name="T43" fmla="*/ 40 h 249"/>
                <a:gd name="T44" fmla="*/ 29 w 181"/>
                <a:gd name="T45" fmla="*/ 34 h 249"/>
                <a:gd name="T46" fmla="*/ 28 w 181"/>
                <a:gd name="T47" fmla="*/ 27 h 249"/>
                <a:gd name="T48" fmla="*/ 30 w 181"/>
                <a:gd name="T49" fmla="*/ 22 h 249"/>
                <a:gd name="T50" fmla="*/ 35 w 181"/>
                <a:gd name="T51" fmla="*/ 20 h 249"/>
                <a:gd name="T52" fmla="*/ 38 w 181"/>
                <a:gd name="T53" fmla="*/ 14 h 249"/>
                <a:gd name="T54" fmla="*/ 41 w 181"/>
                <a:gd name="T55" fmla="*/ 12 h 249"/>
                <a:gd name="T56" fmla="*/ 45 w 181"/>
                <a:gd name="T57" fmla="*/ 8 h 249"/>
                <a:gd name="T58" fmla="*/ 47 w 181"/>
                <a:gd name="T59" fmla="*/ 2 h 249"/>
                <a:gd name="T60" fmla="*/ 51 w 181"/>
                <a:gd name="T61" fmla="*/ 0 h 249"/>
                <a:gd name="T62" fmla="*/ 57 w 181"/>
                <a:gd name="T63" fmla="*/ 4 h 249"/>
                <a:gd name="T64" fmla="*/ 61 w 181"/>
                <a:gd name="T65" fmla="*/ 3 h 249"/>
                <a:gd name="T66" fmla="*/ 65 w 181"/>
                <a:gd name="T67" fmla="*/ 5 h 249"/>
                <a:gd name="T68" fmla="*/ 67 w 181"/>
                <a:gd name="T69" fmla="*/ 11 h 249"/>
                <a:gd name="T70" fmla="*/ 71 w 181"/>
                <a:gd name="T71" fmla="*/ 10 h 249"/>
                <a:gd name="T72" fmla="*/ 76 w 181"/>
                <a:gd name="T73" fmla="*/ 9 h 249"/>
                <a:gd name="T74" fmla="*/ 80 w 181"/>
                <a:gd name="T75" fmla="*/ 5 h 249"/>
                <a:gd name="T76" fmla="*/ 85 w 181"/>
                <a:gd name="T77" fmla="*/ 6 h 249"/>
                <a:gd name="T78" fmla="*/ 89 w 181"/>
                <a:gd name="T79" fmla="*/ 9 h 249"/>
                <a:gd name="T80" fmla="*/ 90 w 181"/>
                <a:gd name="T81" fmla="*/ 14 h 249"/>
                <a:gd name="T82" fmla="*/ 84 w 181"/>
                <a:gd name="T83" fmla="*/ 20 h 249"/>
                <a:gd name="T84" fmla="*/ 71 w 181"/>
                <a:gd name="T85" fmla="*/ 42 h 249"/>
                <a:gd name="T86" fmla="*/ 58 w 181"/>
                <a:gd name="T87" fmla="*/ 70 h 249"/>
                <a:gd name="T88" fmla="*/ 54 w 181"/>
                <a:gd name="T89" fmla="*/ 91 h 249"/>
                <a:gd name="T90" fmla="*/ 49 w 181"/>
                <a:gd name="T91" fmla="*/ 108 h 249"/>
                <a:gd name="T92" fmla="*/ 44 w 181"/>
                <a:gd name="T93" fmla="*/ 119 h 249"/>
                <a:gd name="T94" fmla="*/ 35 w 181"/>
                <a:gd name="T95" fmla="*/ 124 h 249"/>
                <a:gd name="T96" fmla="*/ 29 w 181"/>
                <a:gd name="T97" fmla="*/ 116 h 24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1" h="249">
                  <a:moveTo>
                    <a:pt x="58" y="231"/>
                  </a:moveTo>
                  <a:lnTo>
                    <a:pt x="60" y="229"/>
                  </a:lnTo>
                  <a:lnTo>
                    <a:pt x="61" y="225"/>
                  </a:lnTo>
                  <a:lnTo>
                    <a:pt x="63" y="221"/>
                  </a:lnTo>
                  <a:lnTo>
                    <a:pt x="64" y="217"/>
                  </a:lnTo>
                  <a:lnTo>
                    <a:pt x="63" y="213"/>
                  </a:lnTo>
                  <a:lnTo>
                    <a:pt x="63" y="204"/>
                  </a:lnTo>
                  <a:lnTo>
                    <a:pt x="63" y="200"/>
                  </a:lnTo>
                  <a:lnTo>
                    <a:pt x="60" y="198"/>
                  </a:lnTo>
                  <a:lnTo>
                    <a:pt x="58" y="198"/>
                  </a:lnTo>
                  <a:lnTo>
                    <a:pt x="53" y="197"/>
                  </a:lnTo>
                  <a:lnTo>
                    <a:pt x="51" y="195"/>
                  </a:lnTo>
                  <a:lnTo>
                    <a:pt x="48" y="194"/>
                  </a:lnTo>
                  <a:lnTo>
                    <a:pt x="46" y="195"/>
                  </a:lnTo>
                  <a:lnTo>
                    <a:pt x="45" y="195"/>
                  </a:lnTo>
                  <a:lnTo>
                    <a:pt x="42" y="189"/>
                  </a:lnTo>
                  <a:lnTo>
                    <a:pt x="41" y="186"/>
                  </a:lnTo>
                  <a:lnTo>
                    <a:pt x="40" y="181"/>
                  </a:lnTo>
                  <a:lnTo>
                    <a:pt x="40" y="177"/>
                  </a:lnTo>
                  <a:lnTo>
                    <a:pt x="39" y="175"/>
                  </a:lnTo>
                  <a:lnTo>
                    <a:pt x="35" y="170"/>
                  </a:lnTo>
                  <a:lnTo>
                    <a:pt x="28" y="164"/>
                  </a:lnTo>
                  <a:lnTo>
                    <a:pt x="24" y="162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5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3" y="144"/>
                  </a:lnTo>
                  <a:lnTo>
                    <a:pt x="21" y="142"/>
                  </a:lnTo>
                  <a:lnTo>
                    <a:pt x="19" y="140"/>
                  </a:lnTo>
                  <a:lnTo>
                    <a:pt x="16" y="138"/>
                  </a:lnTo>
                  <a:lnTo>
                    <a:pt x="13" y="137"/>
                  </a:lnTo>
                  <a:lnTo>
                    <a:pt x="12" y="133"/>
                  </a:lnTo>
                  <a:lnTo>
                    <a:pt x="10" y="130"/>
                  </a:lnTo>
                  <a:lnTo>
                    <a:pt x="7" y="126"/>
                  </a:lnTo>
                  <a:lnTo>
                    <a:pt x="3" y="124"/>
                  </a:lnTo>
                  <a:lnTo>
                    <a:pt x="0" y="121"/>
                  </a:lnTo>
                  <a:lnTo>
                    <a:pt x="0" y="119"/>
                  </a:lnTo>
                  <a:lnTo>
                    <a:pt x="0" y="114"/>
                  </a:lnTo>
                  <a:lnTo>
                    <a:pt x="7" y="114"/>
                  </a:lnTo>
                  <a:lnTo>
                    <a:pt x="12" y="115"/>
                  </a:lnTo>
                  <a:lnTo>
                    <a:pt x="17" y="119"/>
                  </a:lnTo>
                  <a:lnTo>
                    <a:pt x="21" y="119"/>
                  </a:lnTo>
                  <a:lnTo>
                    <a:pt x="23" y="118"/>
                  </a:lnTo>
                  <a:lnTo>
                    <a:pt x="28" y="116"/>
                  </a:lnTo>
                  <a:lnTo>
                    <a:pt x="30" y="115"/>
                  </a:lnTo>
                  <a:lnTo>
                    <a:pt x="34" y="116"/>
                  </a:lnTo>
                  <a:lnTo>
                    <a:pt x="39" y="115"/>
                  </a:lnTo>
                  <a:lnTo>
                    <a:pt x="40" y="115"/>
                  </a:lnTo>
                  <a:lnTo>
                    <a:pt x="42" y="113"/>
                  </a:lnTo>
                  <a:lnTo>
                    <a:pt x="45" y="110"/>
                  </a:lnTo>
                  <a:lnTo>
                    <a:pt x="47" y="112"/>
                  </a:lnTo>
                  <a:lnTo>
                    <a:pt x="49" y="112"/>
                  </a:lnTo>
                  <a:lnTo>
                    <a:pt x="53" y="109"/>
                  </a:lnTo>
                  <a:lnTo>
                    <a:pt x="54" y="107"/>
                  </a:lnTo>
                  <a:lnTo>
                    <a:pt x="54" y="103"/>
                  </a:lnTo>
                  <a:lnTo>
                    <a:pt x="53" y="98"/>
                  </a:lnTo>
                  <a:lnTo>
                    <a:pt x="53" y="95"/>
                  </a:lnTo>
                  <a:lnTo>
                    <a:pt x="54" y="92"/>
                  </a:lnTo>
                  <a:lnTo>
                    <a:pt x="55" y="91"/>
                  </a:lnTo>
                  <a:lnTo>
                    <a:pt x="58" y="88"/>
                  </a:lnTo>
                  <a:lnTo>
                    <a:pt x="60" y="85"/>
                  </a:lnTo>
                  <a:lnTo>
                    <a:pt x="61" y="83"/>
                  </a:lnTo>
                  <a:lnTo>
                    <a:pt x="61" y="79"/>
                  </a:lnTo>
                  <a:lnTo>
                    <a:pt x="61" y="76"/>
                  </a:lnTo>
                  <a:lnTo>
                    <a:pt x="59" y="72"/>
                  </a:lnTo>
                  <a:lnTo>
                    <a:pt x="58" y="68"/>
                  </a:lnTo>
                  <a:lnTo>
                    <a:pt x="57" y="62"/>
                  </a:lnTo>
                  <a:lnTo>
                    <a:pt x="57" y="60"/>
                  </a:lnTo>
                  <a:lnTo>
                    <a:pt x="57" y="54"/>
                  </a:lnTo>
                  <a:lnTo>
                    <a:pt x="58" y="50"/>
                  </a:lnTo>
                  <a:lnTo>
                    <a:pt x="59" y="46"/>
                  </a:lnTo>
                  <a:lnTo>
                    <a:pt x="61" y="43"/>
                  </a:lnTo>
                  <a:lnTo>
                    <a:pt x="64" y="40"/>
                  </a:lnTo>
                  <a:lnTo>
                    <a:pt x="67" y="39"/>
                  </a:lnTo>
                  <a:lnTo>
                    <a:pt x="70" y="39"/>
                  </a:lnTo>
                  <a:lnTo>
                    <a:pt x="72" y="37"/>
                  </a:lnTo>
                  <a:lnTo>
                    <a:pt x="73" y="35"/>
                  </a:lnTo>
                  <a:lnTo>
                    <a:pt x="76" y="27"/>
                  </a:lnTo>
                  <a:lnTo>
                    <a:pt x="78" y="24"/>
                  </a:lnTo>
                  <a:lnTo>
                    <a:pt x="81" y="24"/>
                  </a:lnTo>
                  <a:lnTo>
                    <a:pt x="82" y="23"/>
                  </a:lnTo>
                  <a:lnTo>
                    <a:pt x="83" y="21"/>
                  </a:lnTo>
                  <a:lnTo>
                    <a:pt x="85" y="18"/>
                  </a:lnTo>
                  <a:lnTo>
                    <a:pt x="90" y="15"/>
                  </a:lnTo>
                  <a:lnTo>
                    <a:pt x="91" y="12"/>
                  </a:lnTo>
                  <a:lnTo>
                    <a:pt x="93" y="7"/>
                  </a:lnTo>
                  <a:lnTo>
                    <a:pt x="95" y="3"/>
                  </a:lnTo>
                  <a:lnTo>
                    <a:pt x="97" y="1"/>
                  </a:lnTo>
                  <a:lnTo>
                    <a:pt x="101" y="0"/>
                  </a:lnTo>
                  <a:lnTo>
                    <a:pt x="103" y="0"/>
                  </a:lnTo>
                  <a:lnTo>
                    <a:pt x="108" y="1"/>
                  </a:lnTo>
                  <a:lnTo>
                    <a:pt x="111" y="5"/>
                  </a:lnTo>
                  <a:lnTo>
                    <a:pt x="114" y="7"/>
                  </a:lnTo>
                  <a:lnTo>
                    <a:pt x="115" y="9"/>
                  </a:lnTo>
                  <a:lnTo>
                    <a:pt x="120" y="7"/>
                  </a:lnTo>
                  <a:lnTo>
                    <a:pt x="123" y="6"/>
                  </a:lnTo>
                  <a:lnTo>
                    <a:pt x="126" y="6"/>
                  </a:lnTo>
                  <a:lnTo>
                    <a:pt x="129" y="6"/>
                  </a:lnTo>
                  <a:lnTo>
                    <a:pt x="130" y="10"/>
                  </a:lnTo>
                  <a:lnTo>
                    <a:pt x="131" y="17"/>
                  </a:lnTo>
                  <a:lnTo>
                    <a:pt x="132" y="19"/>
                  </a:lnTo>
                  <a:lnTo>
                    <a:pt x="135" y="21"/>
                  </a:lnTo>
                  <a:lnTo>
                    <a:pt x="137" y="22"/>
                  </a:lnTo>
                  <a:lnTo>
                    <a:pt x="141" y="22"/>
                  </a:lnTo>
                  <a:lnTo>
                    <a:pt x="142" y="19"/>
                  </a:lnTo>
                  <a:lnTo>
                    <a:pt x="143" y="18"/>
                  </a:lnTo>
                  <a:lnTo>
                    <a:pt x="150" y="19"/>
                  </a:lnTo>
                  <a:lnTo>
                    <a:pt x="153" y="18"/>
                  </a:lnTo>
                  <a:lnTo>
                    <a:pt x="157" y="16"/>
                  </a:lnTo>
                  <a:lnTo>
                    <a:pt x="159" y="13"/>
                  </a:lnTo>
                  <a:lnTo>
                    <a:pt x="160" y="10"/>
                  </a:lnTo>
                  <a:lnTo>
                    <a:pt x="161" y="9"/>
                  </a:lnTo>
                  <a:lnTo>
                    <a:pt x="167" y="10"/>
                  </a:lnTo>
                  <a:lnTo>
                    <a:pt x="171" y="11"/>
                  </a:lnTo>
                  <a:lnTo>
                    <a:pt x="177" y="13"/>
                  </a:lnTo>
                  <a:lnTo>
                    <a:pt x="178" y="16"/>
                  </a:lnTo>
                  <a:lnTo>
                    <a:pt x="178" y="17"/>
                  </a:lnTo>
                  <a:lnTo>
                    <a:pt x="179" y="22"/>
                  </a:lnTo>
                  <a:lnTo>
                    <a:pt x="179" y="25"/>
                  </a:lnTo>
                  <a:lnTo>
                    <a:pt x="181" y="28"/>
                  </a:lnTo>
                  <a:lnTo>
                    <a:pt x="181" y="30"/>
                  </a:lnTo>
                  <a:lnTo>
                    <a:pt x="178" y="35"/>
                  </a:lnTo>
                  <a:lnTo>
                    <a:pt x="169" y="40"/>
                  </a:lnTo>
                  <a:lnTo>
                    <a:pt x="163" y="48"/>
                  </a:lnTo>
                  <a:lnTo>
                    <a:pt x="155" y="62"/>
                  </a:lnTo>
                  <a:lnTo>
                    <a:pt x="143" y="84"/>
                  </a:lnTo>
                  <a:lnTo>
                    <a:pt x="132" y="107"/>
                  </a:lnTo>
                  <a:lnTo>
                    <a:pt x="123" y="133"/>
                  </a:lnTo>
                  <a:lnTo>
                    <a:pt x="117" y="139"/>
                  </a:lnTo>
                  <a:lnTo>
                    <a:pt x="106" y="171"/>
                  </a:lnTo>
                  <a:lnTo>
                    <a:pt x="106" y="176"/>
                  </a:lnTo>
                  <a:lnTo>
                    <a:pt x="108" y="181"/>
                  </a:lnTo>
                  <a:lnTo>
                    <a:pt x="109" y="186"/>
                  </a:lnTo>
                  <a:lnTo>
                    <a:pt x="103" y="203"/>
                  </a:lnTo>
                  <a:lnTo>
                    <a:pt x="99" y="216"/>
                  </a:lnTo>
                  <a:lnTo>
                    <a:pt x="95" y="222"/>
                  </a:lnTo>
                  <a:lnTo>
                    <a:pt x="94" y="225"/>
                  </a:lnTo>
                  <a:lnTo>
                    <a:pt x="89" y="237"/>
                  </a:lnTo>
                  <a:lnTo>
                    <a:pt x="81" y="249"/>
                  </a:lnTo>
                  <a:lnTo>
                    <a:pt x="76" y="249"/>
                  </a:lnTo>
                  <a:lnTo>
                    <a:pt x="71" y="247"/>
                  </a:lnTo>
                  <a:lnTo>
                    <a:pt x="65" y="240"/>
                  </a:lnTo>
                  <a:lnTo>
                    <a:pt x="60" y="233"/>
                  </a:lnTo>
                  <a:lnTo>
                    <a:pt x="58" y="231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47" name="Freeform 454"/>
            <p:cNvSpPr>
              <a:spLocks/>
            </p:cNvSpPr>
            <p:nvPr/>
          </p:nvSpPr>
          <p:spPr bwMode="auto">
            <a:xfrm>
              <a:off x="3625187" y="5546228"/>
              <a:ext cx="348171" cy="399276"/>
            </a:xfrm>
            <a:custGeom>
              <a:avLst/>
              <a:gdLst>
                <a:gd name="T0" fmla="*/ 79 w 161"/>
                <a:gd name="T1" fmla="*/ 63 h 197"/>
                <a:gd name="T2" fmla="*/ 80 w 161"/>
                <a:gd name="T3" fmla="*/ 57 h 197"/>
                <a:gd name="T4" fmla="*/ 78 w 161"/>
                <a:gd name="T5" fmla="*/ 50 h 197"/>
                <a:gd name="T6" fmla="*/ 74 w 161"/>
                <a:gd name="T7" fmla="*/ 48 h 197"/>
                <a:gd name="T8" fmla="*/ 71 w 161"/>
                <a:gd name="T9" fmla="*/ 48 h 197"/>
                <a:gd name="T10" fmla="*/ 68 w 161"/>
                <a:gd name="T11" fmla="*/ 41 h 197"/>
                <a:gd name="T12" fmla="*/ 66 w 161"/>
                <a:gd name="T13" fmla="*/ 36 h 197"/>
                <a:gd name="T14" fmla="*/ 60 w 161"/>
                <a:gd name="T15" fmla="*/ 31 h 197"/>
                <a:gd name="T16" fmla="*/ 61 w 161"/>
                <a:gd name="T17" fmla="*/ 27 h 197"/>
                <a:gd name="T18" fmla="*/ 60 w 161"/>
                <a:gd name="T19" fmla="*/ 23 h 197"/>
                <a:gd name="T20" fmla="*/ 56 w 161"/>
                <a:gd name="T21" fmla="*/ 20 h 197"/>
                <a:gd name="T22" fmla="*/ 53 w 161"/>
                <a:gd name="T23" fmla="*/ 16 h 197"/>
                <a:gd name="T24" fmla="*/ 48 w 161"/>
                <a:gd name="T25" fmla="*/ 11 h 197"/>
                <a:gd name="T26" fmla="*/ 47 w 161"/>
                <a:gd name="T27" fmla="*/ 5 h 197"/>
                <a:gd name="T28" fmla="*/ 44 w 161"/>
                <a:gd name="T29" fmla="*/ 0 h 197"/>
                <a:gd name="T30" fmla="*/ 40 w 161"/>
                <a:gd name="T31" fmla="*/ 1 h 197"/>
                <a:gd name="T32" fmla="*/ 33 w 161"/>
                <a:gd name="T33" fmla="*/ 4 h 197"/>
                <a:gd name="T34" fmla="*/ 26 w 161"/>
                <a:gd name="T35" fmla="*/ 2 h 197"/>
                <a:gd name="T36" fmla="*/ 20 w 161"/>
                <a:gd name="T37" fmla="*/ 6 h 197"/>
                <a:gd name="T38" fmla="*/ 10 w 161"/>
                <a:gd name="T39" fmla="*/ 12 h 197"/>
                <a:gd name="T40" fmla="*/ 10 w 161"/>
                <a:gd name="T41" fmla="*/ 25 h 197"/>
                <a:gd name="T42" fmla="*/ 8 w 161"/>
                <a:gd name="T43" fmla="*/ 31 h 197"/>
                <a:gd name="T44" fmla="*/ 13 w 161"/>
                <a:gd name="T45" fmla="*/ 39 h 197"/>
                <a:gd name="T46" fmla="*/ 15 w 161"/>
                <a:gd name="T47" fmla="*/ 46 h 197"/>
                <a:gd name="T48" fmla="*/ 14 w 161"/>
                <a:gd name="T49" fmla="*/ 60 h 197"/>
                <a:gd name="T50" fmla="*/ 3 w 161"/>
                <a:gd name="T51" fmla="*/ 65 h 197"/>
                <a:gd name="T52" fmla="*/ 3 w 161"/>
                <a:gd name="T53" fmla="*/ 73 h 197"/>
                <a:gd name="T54" fmla="*/ 11 w 161"/>
                <a:gd name="T55" fmla="*/ 78 h 197"/>
                <a:gd name="T56" fmla="*/ 23 w 161"/>
                <a:gd name="T57" fmla="*/ 80 h 197"/>
                <a:gd name="T58" fmla="*/ 31 w 161"/>
                <a:gd name="T59" fmla="*/ 87 h 197"/>
                <a:gd name="T60" fmla="*/ 38 w 161"/>
                <a:gd name="T61" fmla="*/ 87 h 197"/>
                <a:gd name="T62" fmla="*/ 36 w 161"/>
                <a:gd name="T63" fmla="*/ 77 h 197"/>
                <a:gd name="T64" fmla="*/ 32 w 161"/>
                <a:gd name="T65" fmla="*/ 66 h 197"/>
                <a:gd name="T66" fmla="*/ 33 w 161"/>
                <a:gd name="T67" fmla="*/ 56 h 197"/>
                <a:gd name="T68" fmla="*/ 37 w 161"/>
                <a:gd name="T69" fmla="*/ 48 h 197"/>
                <a:gd name="T70" fmla="*/ 46 w 161"/>
                <a:gd name="T71" fmla="*/ 43 h 197"/>
                <a:gd name="T72" fmla="*/ 49 w 161"/>
                <a:gd name="T73" fmla="*/ 53 h 197"/>
                <a:gd name="T74" fmla="*/ 46 w 161"/>
                <a:gd name="T75" fmla="*/ 54 h 197"/>
                <a:gd name="T76" fmla="*/ 41 w 161"/>
                <a:gd name="T77" fmla="*/ 48 h 197"/>
                <a:gd name="T78" fmla="*/ 38 w 161"/>
                <a:gd name="T79" fmla="*/ 50 h 197"/>
                <a:gd name="T80" fmla="*/ 39 w 161"/>
                <a:gd name="T81" fmla="*/ 56 h 197"/>
                <a:gd name="T82" fmla="*/ 42 w 161"/>
                <a:gd name="T83" fmla="*/ 63 h 197"/>
                <a:gd name="T84" fmla="*/ 47 w 161"/>
                <a:gd name="T85" fmla="*/ 79 h 197"/>
                <a:gd name="T86" fmla="*/ 44 w 161"/>
                <a:gd name="T87" fmla="*/ 84 h 197"/>
                <a:gd name="T88" fmla="*/ 38 w 161"/>
                <a:gd name="T89" fmla="*/ 92 h 197"/>
                <a:gd name="T90" fmla="*/ 36 w 161"/>
                <a:gd name="T91" fmla="*/ 98 h 197"/>
                <a:gd name="T92" fmla="*/ 54 w 161"/>
                <a:gd name="T93" fmla="*/ 93 h 197"/>
                <a:gd name="T94" fmla="*/ 63 w 161"/>
                <a:gd name="T95" fmla="*/ 86 h 197"/>
                <a:gd name="T96" fmla="*/ 72 w 161"/>
                <a:gd name="T97" fmla="*/ 83 h 197"/>
                <a:gd name="T98" fmla="*/ 71 w 161"/>
                <a:gd name="T99" fmla="*/ 75 h 197"/>
                <a:gd name="T100" fmla="*/ 68 w 161"/>
                <a:gd name="T101" fmla="*/ 69 h 197"/>
                <a:gd name="T102" fmla="*/ 77 w 161"/>
                <a:gd name="T103" fmla="*/ 66 h 19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61" h="197">
                  <a:moveTo>
                    <a:pt x="155" y="133"/>
                  </a:moveTo>
                  <a:lnTo>
                    <a:pt x="157" y="131"/>
                  </a:lnTo>
                  <a:lnTo>
                    <a:pt x="158" y="127"/>
                  </a:lnTo>
                  <a:lnTo>
                    <a:pt x="160" y="123"/>
                  </a:lnTo>
                  <a:lnTo>
                    <a:pt x="161" y="119"/>
                  </a:lnTo>
                  <a:lnTo>
                    <a:pt x="160" y="115"/>
                  </a:lnTo>
                  <a:lnTo>
                    <a:pt x="160" y="106"/>
                  </a:lnTo>
                  <a:lnTo>
                    <a:pt x="160" y="102"/>
                  </a:lnTo>
                  <a:lnTo>
                    <a:pt x="157" y="100"/>
                  </a:lnTo>
                  <a:lnTo>
                    <a:pt x="155" y="100"/>
                  </a:lnTo>
                  <a:lnTo>
                    <a:pt x="150" y="99"/>
                  </a:lnTo>
                  <a:lnTo>
                    <a:pt x="148" y="97"/>
                  </a:lnTo>
                  <a:lnTo>
                    <a:pt x="145" y="96"/>
                  </a:lnTo>
                  <a:lnTo>
                    <a:pt x="143" y="97"/>
                  </a:lnTo>
                  <a:lnTo>
                    <a:pt x="142" y="97"/>
                  </a:lnTo>
                  <a:lnTo>
                    <a:pt x="139" y="91"/>
                  </a:lnTo>
                  <a:lnTo>
                    <a:pt x="138" y="88"/>
                  </a:lnTo>
                  <a:lnTo>
                    <a:pt x="137" y="83"/>
                  </a:lnTo>
                  <a:lnTo>
                    <a:pt x="137" y="79"/>
                  </a:lnTo>
                  <a:lnTo>
                    <a:pt x="136" y="77"/>
                  </a:lnTo>
                  <a:lnTo>
                    <a:pt x="132" y="72"/>
                  </a:lnTo>
                  <a:lnTo>
                    <a:pt x="125" y="66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21" y="58"/>
                  </a:lnTo>
                  <a:lnTo>
                    <a:pt x="121" y="57"/>
                  </a:lnTo>
                  <a:lnTo>
                    <a:pt x="122" y="54"/>
                  </a:lnTo>
                  <a:lnTo>
                    <a:pt x="122" y="52"/>
                  </a:lnTo>
                  <a:lnTo>
                    <a:pt x="122" y="50"/>
                  </a:lnTo>
                  <a:lnTo>
                    <a:pt x="120" y="46"/>
                  </a:lnTo>
                  <a:lnTo>
                    <a:pt x="118" y="44"/>
                  </a:lnTo>
                  <a:lnTo>
                    <a:pt x="116" y="42"/>
                  </a:lnTo>
                  <a:lnTo>
                    <a:pt x="113" y="40"/>
                  </a:lnTo>
                  <a:lnTo>
                    <a:pt x="110" y="39"/>
                  </a:lnTo>
                  <a:lnTo>
                    <a:pt x="109" y="35"/>
                  </a:lnTo>
                  <a:lnTo>
                    <a:pt x="107" y="32"/>
                  </a:lnTo>
                  <a:lnTo>
                    <a:pt x="104" y="28"/>
                  </a:lnTo>
                  <a:lnTo>
                    <a:pt x="100" y="26"/>
                  </a:lnTo>
                  <a:lnTo>
                    <a:pt x="97" y="23"/>
                  </a:lnTo>
                  <a:lnTo>
                    <a:pt x="97" y="21"/>
                  </a:lnTo>
                  <a:lnTo>
                    <a:pt x="97" y="16"/>
                  </a:lnTo>
                  <a:lnTo>
                    <a:pt x="95" y="11"/>
                  </a:lnTo>
                  <a:lnTo>
                    <a:pt x="92" y="8"/>
                  </a:lnTo>
                  <a:lnTo>
                    <a:pt x="90" y="4"/>
                  </a:lnTo>
                  <a:lnTo>
                    <a:pt x="88" y="0"/>
                  </a:lnTo>
                  <a:lnTo>
                    <a:pt x="86" y="0"/>
                  </a:lnTo>
                  <a:lnTo>
                    <a:pt x="83" y="0"/>
                  </a:lnTo>
                  <a:lnTo>
                    <a:pt x="80" y="3"/>
                  </a:lnTo>
                  <a:lnTo>
                    <a:pt x="77" y="5"/>
                  </a:lnTo>
                  <a:lnTo>
                    <a:pt x="72" y="6"/>
                  </a:lnTo>
                  <a:lnTo>
                    <a:pt x="66" y="8"/>
                  </a:lnTo>
                  <a:lnTo>
                    <a:pt x="59" y="9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52" y="0"/>
                  </a:lnTo>
                  <a:lnTo>
                    <a:pt x="48" y="4"/>
                  </a:lnTo>
                  <a:lnTo>
                    <a:pt x="40" y="12"/>
                  </a:lnTo>
                  <a:lnTo>
                    <a:pt x="31" y="16"/>
                  </a:lnTo>
                  <a:lnTo>
                    <a:pt x="25" y="18"/>
                  </a:lnTo>
                  <a:lnTo>
                    <a:pt x="20" y="24"/>
                  </a:lnTo>
                  <a:lnTo>
                    <a:pt x="19" y="32"/>
                  </a:lnTo>
                  <a:lnTo>
                    <a:pt x="22" y="47"/>
                  </a:lnTo>
                  <a:lnTo>
                    <a:pt x="20" y="50"/>
                  </a:lnTo>
                  <a:lnTo>
                    <a:pt x="19" y="53"/>
                  </a:lnTo>
                  <a:lnTo>
                    <a:pt x="18" y="57"/>
                  </a:lnTo>
                  <a:lnTo>
                    <a:pt x="16" y="62"/>
                  </a:lnTo>
                  <a:lnTo>
                    <a:pt x="14" y="65"/>
                  </a:lnTo>
                  <a:lnTo>
                    <a:pt x="19" y="72"/>
                  </a:lnTo>
                  <a:lnTo>
                    <a:pt x="26" y="79"/>
                  </a:lnTo>
                  <a:lnTo>
                    <a:pt x="29" y="82"/>
                  </a:lnTo>
                  <a:lnTo>
                    <a:pt x="30" y="85"/>
                  </a:lnTo>
                  <a:lnTo>
                    <a:pt x="31" y="93"/>
                  </a:lnTo>
                  <a:lnTo>
                    <a:pt x="32" y="106"/>
                  </a:lnTo>
                  <a:lnTo>
                    <a:pt x="30" y="114"/>
                  </a:lnTo>
                  <a:lnTo>
                    <a:pt x="28" y="120"/>
                  </a:lnTo>
                  <a:lnTo>
                    <a:pt x="19" y="121"/>
                  </a:lnTo>
                  <a:lnTo>
                    <a:pt x="0" y="121"/>
                  </a:lnTo>
                  <a:lnTo>
                    <a:pt x="6" y="130"/>
                  </a:lnTo>
                  <a:lnTo>
                    <a:pt x="10" y="137"/>
                  </a:lnTo>
                  <a:lnTo>
                    <a:pt x="10" y="141"/>
                  </a:lnTo>
                  <a:lnTo>
                    <a:pt x="7" y="147"/>
                  </a:lnTo>
                  <a:lnTo>
                    <a:pt x="7" y="149"/>
                  </a:lnTo>
                  <a:lnTo>
                    <a:pt x="19" y="156"/>
                  </a:lnTo>
                  <a:lnTo>
                    <a:pt x="23" y="157"/>
                  </a:lnTo>
                  <a:lnTo>
                    <a:pt x="29" y="157"/>
                  </a:lnTo>
                  <a:lnTo>
                    <a:pt x="41" y="159"/>
                  </a:lnTo>
                  <a:lnTo>
                    <a:pt x="46" y="161"/>
                  </a:lnTo>
                  <a:lnTo>
                    <a:pt x="52" y="169"/>
                  </a:lnTo>
                  <a:lnTo>
                    <a:pt x="54" y="173"/>
                  </a:lnTo>
                  <a:lnTo>
                    <a:pt x="62" y="174"/>
                  </a:lnTo>
                  <a:lnTo>
                    <a:pt x="67" y="174"/>
                  </a:lnTo>
                  <a:lnTo>
                    <a:pt x="73" y="177"/>
                  </a:lnTo>
                  <a:lnTo>
                    <a:pt x="77" y="174"/>
                  </a:lnTo>
                  <a:lnTo>
                    <a:pt x="77" y="163"/>
                  </a:lnTo>
                  <a:lnTo>
                    <a:pt x="77" y="159"/>
                  </a:lnTo>
                  <a:lnTo>
                    <a:pt x="73" y="154"/>
                  </a:lnTo>
                  <a:lnTo>
                    <a:pt x="67" y="145"/>
                  </a:lnTo>
                  <a:lnTo>
                    <a:pt x="65" y="138"/>
                  </a:lnTo>
                  <a:lnTo>
                    <a:pt x="64" y="132"/>
                  </a:lnTo>
                  <a:lnTo>
                    <a:pt x="62" y="121"/>
                  </a:lnTo>
                  <a:lnTo>
                    <a:pt x="62" y="117"/>
                  </a:lnTo>
                  <a:lnTo>
                    <a:pt x="66" y="112"/>
                  </a:lnTo>
                  <a:lnTo>
                    <a:pt x="70" y="108"/>
                  </a:lnTo>
                  <a:lnTo>
                    <a:pt x="72" y="105"/>
                  </a:lnTo>
                  <a:lnTo>
                    <a:pt x="74" y="97"/>
                  </a:lnTo>
                  <a:lnTo>
                    <a:pt x="80" y="89"/>
                  </a:lnTo>
                  <a:lnTo>
                    <a:pt x="86" y="85"/>
                  </a:lnTo>
                  <a:lnTo>
                    <a:pt x="92" y="87"/>
                  </a:lnTo>
                  <a:lnTo>
                    <a:pt x="100" y="91"/>
                  </a:lnTo>
                  <a:lnTo>
                    <a:pt x="102" y="96"/>
                  </a:lnTo>
                  <a:lnTo>
                    <a:pt x="98" y="106"/>
                  </a:lnTo>
                  <a:lnTo>
                    <a:pt x="96" y="111"/>
                  </a:lnTo>
                  <a:lnTo>
                    <a:pt x="94" y="112"/>
                  </a:lnTo>
                  <a:lnTo>
                    <a:pt x="92" y="109"/>
                  </a:lnTo>
                  <a:lnTo>
                    <a:pt x="91" y="102"/>
                  </a:lnTo>
                  <a:lnTo>
                    <a:pt x="89" y="99"/>
                  </a:lnTo>
                  <a:lnTo>
                    <a:pt x="83" y="97"/>
                  </a:lnTo>
                  <a:lnTo>
                    <a:pt x="79" y="97"/>
                  </a:lnTo>
                  <a:lnTo>
                    <a:pt x="77" y="99"/>
                  </a:lnTo>
                  <a:lnTo>
                    <a:pt x="76" y="101"/>
                  </a:lnTo>
                  <a:lnTo>
                    <a:pt x="74" y="103"/>
                  </a:lnTo>
                  <a:lnTo>
                    <a:pt x="74" y="107"/>
                  </a:lnTo>
                  <a:lnTo>
                    <a:pt x="78" y="113"/>
                  </a:lnTo>
                  <a:lnTo>
                    <a:pt x="82" y="119"/>
                  </a:lnTo>
                  <a:lnTo>
                    <a:pt x="83" y="121"/>
                  </a:lnTo>
                  <a:lnTo>
                    <a:pt x="84" y="126"/>
                  </a:lnTo>
                  <a:lnTo>
                    <a:pt x="90" y="136"/>
                  </a:lnTo>
                  <a:lnTo>
                    <a:pt x="95" y="149"/>
                  </a:lnTo>
                  <a:lnTo>
                    <a:pt x="95" y="159"/>
                  </a:lnTo>
                  <a:lnTo>
                    <a:pt x="94" y="163"/>
                  </a:lnTo>
                  <a:lnTo>
                    <a:pt x="91" y="167"/>
                  </a:lnTo>
                  <a:lnTo>
                    <a:pt x="89" y="169"/>
                  </a:lnTo>
                  <a:lnTo>
                    <a:pt x="86" y="173"/>
                  </a:lnTo>
                  <a:lnTo>
                    <a:pt x="83" y="179"/>
                  </a:lnTo>
                  <a:lnTo>
                    <a:pt x="77" y="185"/>
                  </a:lnTo>
                  <a:lnTo>
                    <a:pt x="68" y="190"/>
                  </a:lnTo>
                  <a:lnTo>
                    <a:pt x="70" y="194"/>
                  </a:lnTo>
                  <a:lnTo>
                    <a:pt x="73" y="197"/>
                  </a:lnTo>
                  <a:lnTo>
                    <a:pt x="82" y="196"/>
                  </a:lnTo>
                  <a:lnTo>
                    <a:pt x="90" y="191"/>
                  </a:lnTo>
                  <a:lnTo>
                    <a:pt x="108" y="187"/>
                  </a:lnTo>
                  <a:lnTo>
                    <a:pt x="112" y="186"/>
                  </a:lnTo>
                  <a:lnTo>
                    <a:pt x="121" y="178"/>
                  </a:lnTo>
                  <a:lnTo>
                    <a:pt x="126" y="173"/>
                  </a:lnTo>
                  <a:lnTo>
                    <a:pt x="130" y="172"/>
                  </a:lnTo>
                  <a:lnTo>
                    <a:pt x="142" y="171"/>
                  </a:lnTo>
                  <a:lnTo>
                    <a:pt x="144" y="167"/>
                  </a:lnTo>
                  <a:lnTo>
                    <a:pt x="144" y="162"/>
                  </a:lnTo>
                  <a:lnTo>
                    <a:pt x="143" y="154"/>
                  </a:lnTo>
                  <a:lnTo>
                    <a:pt x="142" y="150"/>
                  </a:lnTo>
                  <a:lnTo>
                    <a:pt x="136" y="148"/>
                  </a:lnTo>
                  <a:lnTo>
                    <a:pt x="132" y="144"/>
                  </a:lnTo>
                  <a:lnTo>
                    <a:pt x="136" y="139"/>
                  </a:lnTo>
                  <a:lnTo>
                    <a:pt x="142" y="136"/>
                  </a:lnTo>
                  <a:lnTo>
                    <a:pt x="151" y="132"/>
                  </a:lnTo>
                  <a:lnTo>
                    <a:pt x="155" y="133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sp>
          <p:nvSpPr>
            <p:cNvPr id="348" name="Freeform 460"/>
            <p:cNvSpPr>
              <a:spLocks/>
            </p:cNvSpPr>
            <p:nvPr/>
          </p:nvSpPr>
          <p:spPr bwMode="auto">
            <a:xfrm>
              <a:off x="3651301" y="5525857"/>
              <a:ext cx="34817" cy="52965"/>
            </a:xfrm>
            <a:custGeom>
              <a:avLst/>
              <a:gdLst>
                <a:gd name="T0" fmla="*/ 8 w 17"/>
                <a:gd name="T1" fmla="*/ 4 h 26"/>
                <a:gd name="T2" fmla="*/ 8 w 17"/>
                <a:gd name="T3" fmla="*/ 1 h 26"/>
                <a:gd name="T4" fmla="*/ 6 w 17"/>
                <a:gd name="T5" fmla="*/ 0 h 26"/>
                <a:gd name="T6" fmla="*/ 0 w 17"/>
                <a:gd name="T7" fmla="*/ 3 h 26"/>
                <a:gd name="T8" fmla="*/ 0 w 17"/>
                <a:gd name="T9" fmla="*/ 4 h 26"/>
                <a:gd name="T10" fmla="*/ 0 w 17"/>
                <a:gd name="T11" fmla="*/ 7 h 26"/>
                <a:gd name="T12" fmla="*/ 2 w 17"/>
                <a:gd name="T13" fmla="*/ 11 h 26"/>
                <a:gd name="T14" fmla="*/ 3 w 17"/>
                <a:gd name="T15" fmla="*/ 13 h 26"/>
                <a:gd name="T16" fmla="*/ 6 w 17"/>
                <a:gd name="T17" fmla="*/ 13 h 26"/>
                <a:gd name="T18" fmla="*/ 6 w 17"/>
                <a:gd name="T19" fmla="*/ 13 h 26"/>
                <a:gd name="T20" fmla="*/ 7 w 17"/>
                <a:gd name="T21" fmla="*/ 10 h 26"/>
                <a:gd name="T22" fmla="*/ 8 w 17"/>
                <a:gd name="T23" fmla="*/ 7 h 26"/>
                <a:gd name="T24" fmla="*/ 8 w 17"/>
                <a:gd name="T25" fmla="*/ 4 h 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7" h="26">
                  <a:moveTo>
                    <a:pt x="17" y="7"/>
                  </a:moveTo>
                  <a:lnTo>
                    <a:pt x="17" y="1"/>
                  </a:lnTo>
                  <a:lnTo>
                    <a:pt x="12" y="0"/>
                  </a:lnTo>
                  <a:lnTo>
                    <a:pt x="1" y="6"/>
                  </a:lnTo>
                  <a:lnTo>
                    <a:pt x="1" y="8"/>
                  </a:lnTo>
                  <a:lnTo>
                    <a:pt x="0" y="13"/>
                  </a:lnTo>
                  <a:lnTo>
                    <a:pt x="4" y="21"/>
                  </a:lnTo>
                  <a:lnTo>
                    <a:pt x="7" y="25"/>
                  </a:lnTo>
                  <a:lnTo>
                    <a:pt x="12" y="26"/>
                  </a:lnTo>
                  <a:lnTo>
                    <a:pt x="12" y="25"/>
                  </a:lnTo>
                  <a:lnTo>
                    <a:pt x="14" y="20"/>
                  </a:lnTo>
                  <a:lnTo>
                    <a:pt x="16" y="14"/>
                  </a:lnTo>
                  <a:lnTo>
                    <a:pt x="17" y="7"/>
                  </a:lnTo>
                  <a:close/>
                </a:path>
              </a:pathLst>
            </a:custGeom>
            <a:solidFill>
              <a:schemeClr val="bg1"/>
            </a:solidFill>
            <a:ln w="1588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79470"/>
              <a:endParaRPr lang="ja-JP" altLang="en-US" sz="1731">
                <a:latin typeface="Meiryo UI" pitchFamily="50" charset="-128"/>
                <a:ea typeface="Meiryo UI" pitchFamily="50" charset="-128"/>
              </a:endParaRPr>
            </a:p>
          </p:txBody>
        </p:sp>
        <p:grpSp>
          <p:nvGrpSpPr>
            <p:cNvPr id="349" name="グループ化 168"/>
            <p:cNvGrpSpPr/>
            <p:nvPr/>
          </p:nvGrpSpPr>
          <p:grpSpPr>
            <a:xfrm>
              <a:off x="3056993" y="5745866"/>
              <a:ext cx="579316" cy="591940"/>
              <a:chOff x="3056993" y="5745866"/>
              <a:chExt cx="579316" cy="591940"/>
            </a:xfrm>
          </p:grpSpPr>
          <p:sp>
            <p:nvSpPr>
              <p:cNvPr id="350" name="Freeform 459"/>
              <p:cNvSpPr>
                <a:spLocks/>
              </p:cNvSpPr>
              <p:nvPr/>
            </p:nvSpPr>
            <p:spPr bwMode="auto">
              <a:xfrm>
                <a:off x="3359449" y="5846989"/>
                <a:ext cx="69634" cy="40742"/>
              </a:xfrm>
              <a:custGeom>
                <a:avLst/>
                <a:gdLst>
                  <a:gd name="T0" fmla="*/ 16 w 32"/>
                  <a:gd name="T1" fmla="*/ 1 h 20"/>
                  <a:gd name="T2" fmla="*/ 16 w 32"/>
                  <a:gd name="T3" fmla="*/ 1 h 20"/>
                  <a:gd name="T4" fmla="*/ 16 w 32"/>
                  <a:gd name="T5" fmla="*/ 2 h 20"/>
                  <a:gd name="T6" fmla="*/ 16 w 32"/>
                  <a:gd name="T7" fmla="*/ 4 h 20"/>
                  <a:gd name="T8" fmla="*/ 14 w 32"/>
                  <a:gd name="T9" fmla="*/ 5 h 20"/>
                  <a:gd name="T10" fmla="*/ 13 w 32"/>
                  <a:gd name="T11" fmla="*/ 7 h 20"/>
                  <a:gd name="T12" fmla="*/ 10 w 32"/>
                  <a:gd name="T13" fmla="*/ 8 h 20"/>
                  <a:gd name="T14" fmla="*/ 7 w 32"/>
                  <a:gd name="T15" fmla="*/ 10 h 20"/>
                  <a:gd name="T16" fmla="*/ 6 w 32"/>
                  <a:gd name="T17" fmla="*/ 10 h 20"/>
                  <a:gd name="T18" fmla="*/ 4 w 32"/>
                  <a:gd name="T19" fmla="*/ 9 h 20"/>
                  <a:gd name="T20" fmla="*/ 3 w 32"/>
                  <a:gd name="T21" fmla="*/ 8 h 20"/>
                  <a:gd name="T22" fmla="*/ 1 w 32"/>
                  <a:gd name="T23" fmla="*/ 8 h 20"/>
                  <a:gd name="T24" fmla="*/ 1 w 32"/>
                  <a:gd name="T25" fmla="*/ 7 h 20"/>
                  <a:gd name="T26" fmla="*/ 1 w 32"/>
                  <a:gd name="T27" fmla="*/ 7 h 20"/>
                  <a:gd name="T28" fmla="*/ 0 w 32"/>
                  <a:gd name="T29" fmla="*/ 5 h 20"/>
                  <a:gd name="T30" fmla="*/ 0 w 32"/>
                  <a:gd name="T31" fmla="*/ 4 h 20"/>
                  <a:gd name="T32" fmla="*/ 1 w 32"/>
                  <a:gd name="T33" fmla="*/ 4 h 20"/>
                  <a:gd name="T34" fmla="*/ 1 w 32"/>
                  <a:gd name="T35" fmla="*/ 2 h 20"/>
                  <a:gd name="T36" fmla="*/ 2 w 32"/>
                  <a:gd name="T37" fmla="*/ 1 h 20"/>
                  <a:gd name="T38" fmla="*/ 3 w 32"/>
                  <a:gd name="T39" fmla="*/ 1 h 20"/>
                  <a:gd name="T40" fmla="*/ 4 w 32"/>
                  <a:gd name="T41" fmla="*/ 1 h 20"/>
                  <a:gd name="T42" fmla="*/ 4 w 32"/>
                  <a:gd name="T43" fmla="*/ 1 h 20"/>
                  <a:gd name="T44" fmla="*/ 6 w 32"/>
                  <a:gd name="T45" fmla="*/ 1 h 20"/>
                  <a:gd name="T46" fmla="*/ 7 w 32"/>
                  <a:gd name="T47" fmla="*/ 2 h 20"/>
                  <a:gd name="T48" fmla="*/ 10 w 32"/>
                  <a:gd name="T49" fmla="*/ 2 h 20"/>
                  <a:gd name="T50" fmla="*/ 10 w 32"/>
                  <a:gd name="T51" fmla="*/ 2 h 20"/>
                  <a:gd name="T52" fmla="*/ 12 w 32"/>
                  <a:gd name="T53" fmla="*/ 2 h 20"/>
                  <a:gd name="T54" fmla="*/ 13 w 32"/>
                  <a:gd name="T55" fmla="*/ 1 h 20"/>
                  <a:gd name="T56" fmla="*/ 15 w 32"/>
                  <a:gd name="T57" fmla="*/ 0 h 20"/>
                  <a:gd name="T58" fmla="*/ 16 w 32"/>
                  <a:gd name="T59" fmla="*/ 1 h 20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2" h="20">
                    <a:moveTo>
                      <a:pt x="32" y="1"/>
                    </a:moveTo>
                    <a:lnTo>
                      <a:pt x="32" y="2"/>
                    </a:lnTo>
                    <a:lnTo>
                      <a:pt x="32" y="4"/>
                    </a:lnTo>
                    <a:lnTo>
                      <a:pt x="31" y="7"/>
                    </a:lnTo>
                    <a:lnTo>
                      <a:pt x="28" y="9"/>
                    </a:lnTo>
                    <a:lnTo>
                      <a:pt x="25" y="13"/>
                    </a:lnTo>
                    <a:lnTo>
                      <a:pt x="19" y="16"/>
                    </a:lnTo>
                    <a:lnTo>
                      <a:pt x="14" y="20"/>
                    </a:lnTo>
                    <a:lnTo>
                      <a:pt x="11" y="19"/>
                    </a:lnTo>
                    <a:lnTo>
                      <a:pt x="8" y="18"/>
                    </a:lnTo>
                    <a:lnTo>
                      <a:pt x="5" y="16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1" y="13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1" y="7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7" y="2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4" y="3"/>
                    </a:lnTo>
                    <a:lnTo>
                      <a:pt x="19" y="4"/>
                    </a:lnTo>
                    <a:lnTo>
                      <a:pt x="20" y="4"/>
                    </a:lnTo>
                    <a:lnTo>
                      <a:pt x="23" y="3"/>
                    </a:lnTo>
                    <a:lnTo>
                      <a:pt x="25" y="1"/>
                    </a:lnTo>
                    <a:lnTo>
                      <a:pt x="29" y="0"/>
                    </a:lnTo>
                    <a:lnTo>
                      <a:pt x="32" y="1"/>
                    </a:lnTo>
                    <a:close/>
                  </a:path>
                </a:pathLst>
              </a:custGeom>
              <a:solidFill>
                <a:schemeClr val="bg1"/>
              </a:solidFill>
              <a:ln w="1588">
                <a:solidFill>
                  <a:schemeClr val="bg1">
                    <a:lumMod val="6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879470"/>
                <a:endParaRPr lang="ja-JP" altLang="en-US" sz="1731">
                  <a:latin typeface="Meiryo UI" pitchFamily="50" charset="-128"/>
                  <a:ea typeface="Meiryo UI" pitchFamily="50" charset="-128"/>
                </a:endParaRPr>
              </a:p>
            </p:txBody>
          </p:sp>
          <p:sp>
            <p:nvSpPr>
              <p:cNvPr id="351" name="Freeform 461"/>
              <p:cNvSpPr>
                <a:spLocks/>
              </p:cNvSpPr>
              <p:nvPr/>
            </p:nvSpPr>
            <p:spPr bwMode="auto">
              <a:xfrm>
                <a:off x="3133137" y="5955701"/>
                <a:ext cx="261128" cy="260752"/>
              </a:xfrm>
              <a:custGeom>
                <a:avLst/>
                <a:gdLst>
                  <a:gd name="T0" fmla="*/ 2 w 120"/>
                  <a:gd name="T1" fmla="*/ 62 h 127"/>
                  <a:gd name="T2" fmla="*/ 0 w 120"/>
                  <a:gd name="T3" fmla="*/ 53 h 127"/>
                  <a:gd name="T4" fmla="*/ 5 w 120"/>
                  <a:gd name="T5" fmla="*/ 47 h 127"/>
                  <a:gd name="T6" fmla="*/ 9 w 120"/>
                  <a:gd name="T7" fmla="*/ 42 h 127"/>
                  <a:gd name="T8" fmla="*/ 8 w 120"/>
                  <a:gd name="T9" fmla="*/ 36 h 127"/>
                  <a:gd name="T10" fmla="*/ 15 w 120"/>
                  <a:gd name="T11" fmla="*/ 30 h 127"/>
                  <a:gd name="T12" fmla="*/ 21 w 120"/>
                  <a:gd name="T13" fmla="*/ 26 h 127"/>
                  <a:gd name="T14" fmla="*/ 29 w 120"/>
                  <a:gd name="T15" fmla="*/ 22 h 127"/>
                  <a:gd name="T16" fmla="*/ 23 w 120"/>
                  <a:gd name="T17" fmla="*/ 18 h 127"/>
                  <a:gd name="T18" fmla="*/ 22 w 120"/>
                  <a:gd name="T19" fmla="*/ 13 h 127"/>
                  <a:gd name="T20" fmla="*/ 26 w 120"/>
                  <a:gd name="T21" fmla="*/ 10 h 127"/>
                  <a:gd name="T22" fmla="*/ 33 w 120"/>
                  <a:gd name="T23" fmla="*/ 12 h 127"/>
                  <a:gd name="T24" fmla="*/ 35 w 120"/>
                  <a:gd name="T25" fmla="*/ 15 h 127"/>
                  <a:gd name="T26" fmla="*/ 39 w 120"/>
                  <a:gd name="T27" fmla="*/ 14 h 127"/>
                  <a:gd name="T28" fmla="*/ 47 w 120"/>
                  <a:gd name="T29" fmla="*/ 8 h 127"/>
                  <a:gd name="T30" fmla="*/ 54 w 120"/>
                  <a:gd name="T31" fmla="*/ 1 h 127"/>
                  <a:gd name="T32" fmla="*/ 58 w 120"/>
                  <a:gd name="T33" fmla="*/ 2 h 127"/>
                  <a:gd name="T34" fmla="*/ 59 w 120"/>
                  <a:gd name="T35" fmla="*/ 16 h 127"/>
                  <a:gd name="T36" fmla="*/ 51 w 120"/>
                  <a:gd name="T37" fmla="*/ 20 h 127"/>
                  <a:gd name="T38" fmla="*/ 45 w 120"/>
                  <a:gd name="T39" fmla="*/ 22 h 127"/>
                  <a:gd name="T40" fmla="*/ 40 w 120"/>
                  <a:gd name="T41" fmla="*/ 26 h 127"/>
                  <a:gd name="T42" fmla="*/ 33 w 120"/>
                  <a:gd name="T43" fmla="*/ 32 h 127"/>
                  <a:gd name="T44" fmla="*/ 28 w 120"/>
                  <a:gd name="T45" fmla="*/ 34 h 127"/>
                  <a:gd name="T46" fmla="*/ 25 w 120"/>
                  <a:gd name="T47" fmla="*/ 34 h 127"/>
                  <a:gd name="T48" fmla="*/ 22 w 120"/>
                  <a:gd name="T49" fmla="*/ 33 h 127"/>
                  <a:gd name="T50" fmla="*/ 22 w 120"/>
                  <a:gd name="T51" fmla="*/ 35 h 127"/>
                  <a:gd name="T52" fmla="*/ 26 w 120"/>
                  <a:gd name="T53" fmla="*/ 44 h 127"/>
                  <a:gd name="T54" fmla="*/ 20 w 120"/>
                  <a:gd name="T55" fmla="*/ 44 h 127"/>
                  <a:gd name="T56" fmla="*/ 16 w 120"/>
                  <a:gd name="T57" fmla="*/ 47 h 127"/>
                  <a:gd name="T58" fmla="*/ 20 w 120"/>
                  <a:gd name="T59" fmla="*/ 52 h 127"/>
                  <a:gd name="T60" fmla="*/ 15 w 120"/>
                  <a:gd name="T61" fmla="*/ 59 h 127"/>
                  <a:gd name="T62" fmla="*/ 9 w 120"/>
                  <a:gd name="T63" fmla="*/ 62 h 12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20" h="127">
                    <a:moveTo>
                      <a:pt x="8" y="127"/>
                    </a:moveTo>
                    <a:lnTo>
                      <a:pt x="3" y="124"/>
                    </a:lnTo>
                    <a:lnTo>
                      <a:pt x="0" y="115"/>
                    </a:lnTo>
                    <a:lnTo>
                      <a:pt x="0" y="106"/>
                    </a:lnTo>
                    <a:lnTo>
                      <a:pt x="3" y="98"/>
                    </a:lnTo>
                    <a:lnTo>
                      <a:pt x="9" y="93"/>
                    </a:lnTo>
                    <a:lnTo>
                      <a:pt x="16" y="87"/>
                    </a:lnTo>
                    <a:lnTo>
                      <a:pt x="18" y="83"/>
                    </a:lnTo>
                    <a:lnTo>
                      <a:pt x="18" y="80"/>
                    </a:lnTo>
                    <a:lnTo>
                      <a:pt x="16" y="71"/>
                    </a:lnTo>
                    <a:lnTo>
                      <a:pt x="18" y="64"/>
                    </a:lnTo>
                    <a:lnTo>
                      <a:pt x="29" y="59"/>
                    </a:lnTo>
                    <a:lnTo>
                      <a:pt x="39" y="54"/>
                    </a:lnTo>
                    <a:lnTo>
                      <a:pt x="42" y="52"/>
                    </a:lnTo>
                    <a:lnTo>
                      <a:pt x="56" y="46"/>
                    </a:lnTo>
                    <a:lnTo>
                      <a:pt x="57" y="44"/>
                    </a:lnTo>
                    <a:lnTo>
                      <a:pt x="56" y="40"/>
                    </a:lnTo>
                    <a:lnTo>
                      <a:pt x="46" y="36"/>
                    </a:lnTo>
                    <a:lnTo>
                      <a:pt x="42" y="32"/>
                    </a:lnTo>
                    <a:lnTo>
                      <a:pt x="44" y="26"/>
                    </a:lnTo>
                    <a:lnTo>
                      <a:pt x="46" y="21"/>
                    </a:lnTo>
                    <a:lnTo>
                      <a:pt x="51" y="19"/>
                    </a:lnTo>
                    <a:lnTo>
                      <a:pt x="60" y="21"/>
                    </a:lnTo>
                    <a:lnTo>
                      <a:pt x="65" y="24"/>
                    </a:lnTo>
                    <a:lnTo>
                      <a:pt x="68" y="27"/>
                    </a:lnTo>
                    <a:lnTo>
                      <a:pt x="69" y="30"/>
                    </a:lnTo>
                    <a:lnTo>
                      <a:pt x="72" y="31"/>
                    </a:lnTo>
                    <a:lnTo>
                      <a:pt x="77" y="28"/>
                    </a:lnTo>
                    <a:lnTo>
                      <a:pt x="87" y="21"/>
                    </a:lnTo>
                    <a:lnTo>
                      <a:pt x="94" y="16"/>
                    </a:lnTo>
                    <a:lnTo>
                      <a:pt x="98" y="9"/>
                    </a:lnTo>
                    <a:lnTo>
                      <a:pt x="107" y="1"/>
                    </a:lnTo>
                    <a:lnTo>
                      <a:pt x="111" y="0"/>
                    </a:lnTo>
                    <a:lnTo>
                      <a:pt x="116" y="4"/>
                    </a:lnTo>
                    <a:lnTo>
                      <a:pt x="120" y="21"/>
                    </a:lnTo>
                    <a:lnTo>
                      <a:pt x="117" y="31"/>
                    </a:lnTo>
                    <a:lnTo>
                      <a:pt x="108" y="38"/>
                    </a:lnTo>
                    <a:lnTo>
                      <a:pt x="102" y="40"/>
                    </a:lnTo>
                    <a:lnTo>
                      <a:pt x="92" y="42"/>
                    </a:lnTo>
                    <a:lnTo>
                      <a:pt x="89" y="44"/>
                    </a:lnTo>
                    <a:lnTo>
                      <a:pt x="82" y="51"/>
                    </a:lnTo>
                    <a:lnTo>
                      <a:pt x="80" y="51"/>
                    </a:lnTo>
                    <a:lnTo>
                      <a:pt x="71" y="56"/>
                    </a:lnTo>
                    <a:lnTo>
                      <a:pt x="66" y="63"/>
                    </a:lnTo>
                    <a:lnTo>
                      <a:pt x="60" y="65"/>
                    </a:lnTo>
                    <a:lnTo>
                      <a:pt x="56" y="67"/>
                    </a:lnTo>
                    <a:lnTo>
                      <a:pt x="51" y="67"/>
                    </a:lnTo>
                    <a:lnTo>
                      <a:pt x="50" y="67"/>
                    </a:lnTo>
                    <a:lnTo>
                      <a:pt x="47" y="64"/>
                    </a:lnTo>
                    <a:lnTo>
                      <a:pt x="44" y="65"/>
                    </a:lnTo>
                    <a:lnTo>
                      <a:pt x="44" y="68"/>
                    </a:lnTo>
                    <a:lnTo>
                      <a:pt x="44" y="69"/>
                    </a:lnTo>
                    <a:lnTo>
                      <a:pt x="53" y="86"/>
                    </a:lnTo>
                    <a:lnTo>
                      <a:pt x="52" y="87"/>
                    </a:lnTo>
                    <a:lnTo>
                      <a:pt x="47" y="89"/>
                    </a:lnTo>
                    <a:lnTo>
                      <a:pt x="40" y="88"/>
                    </a:lnTo>
                    <a:lnTo>
                      <a:pt x="35" y="89"/>
                    </a:lnTo>
                    <a:lnTo>
                      <a:pt x="32" y="94"/>
                    </a:lnTo>
                    <a:lnTo>
                      <a:pt x="33" y="97"/>
                    </a:lnTo>
                    <a:lnTo>
                      <a:pt x="39" y="104"/>
                    </a:lnTo>
                    <a:lnTo>
                      <a:pt x="39" y="107"/>
                    </a:lnTo>
                    <a:lnTo>
                      <a:pt x="30" y="117"/>
                    </a:lnTo>
                    <a:lnTo>
                      <a:pt x="22" y="122"/>
                    </a:lnTo>
                    <a:lnTo>
                      <a:pt x="18" y="123"/>
                    </a:lnTo>
                    <a:lnTo>
                      <a:pt x="8" y="127"/>
                    </a:lnTo>
                    <a:close/>
                  </a:path>
                </a:pathLst>
              </a:custGeom>
              <a:solidFill>
                <a:schemeClr val="bg1"/>
              </a:solidFill>
              <a:ln w="1588">
                <a:solidFill>
                  <a:schemeClr val="bg1">
                    <a:lumMod val="6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879470"/>
                <a:endParaRPr lang="ja-JP" altLang="en-US" sz="1731">
                  <a:latin typeface="Meiryo UI" pitchFamily="50" charset="-128"/>
                  <a:ea typeface="Meiryo UI" pitchFamily="50" charset="-128"/>
                </a:endParaRPr>
              </a:p>
            </p:txBody>
          </p:sp>
          <p:grpSp>
            <p:nvGrpSpPr>
              <p:cNvPr id="352" name="グループ化 171"/>
              <p:cNvGrpSpPr/>
              <p:nvPr/>
            </p:nvGrpSpPr>
            <p:grpSpPr>
              <a:xfrm rot="5400000">
                <a:off x="3050681" y="5752178"/>
                <a:ext cx="591940" cy="579316"/>
                <a:chOff x="2606738" y="5650855"/>
                <a:chExt cx="1089284" cy="1173618"/>
              </a:xfrm>
            </p:grpSpPr>
            <p:cxnSp>
              <p:nvCxnSpPr>
                <p:cNvPr id="353" name="直線コネクタ 352"/>
                <p:cNvCxnSpPr/>
                <p:nvPr/>
              </p:nvCxnSpPr>
              <p:spPr bwMode="auto">
                <a:xfrm flipH="1" flipV="1">
                  <a:off x="2606738" y="5655935"/>
                  <a:ext cx="13797" cy="1168538"/>
                </a:xfrm>
                <a:prstGeom prst="line">
                  <a:avLst/>
                </a:prstGeom>
                <a:solidFill>
                  <a:schemeClr val="hlink"/>
                </a:solidFill>
                <a:ln w="9525" cap="flat" cmpd="sng" algn="ctr">
                  <a:solidFill>
                    <a:schemeClr val="bg1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354" name="直線コネクタ 353"/>
                <p:cNvCxnSpPr/>
                <p:nvPr/>
              </p:nvCxnSpPr>
              <p:spPr bwMode="auto">
                <a:xfrm flipH="1">
                  <a:off x="2613637" y="5650855"/>
                  <a:ext cx="1082385" cy="14260"/>
                </a:xfrm>
                <a:prstGeom prst="line">
                  <a:avLst/>
                </a:prstGeom>
                <a:solidFill>
                  <a:schemeClr val="hlink"/>
                </a:solidFill>
                <a:ln w="9525" cap="flat" cmpd="sng" algn="ctr">
                  <a:solidFill>
                    <a:schemeClr val="bg1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</p:grpSp>
      <p:sp>
        <p:nvSpPr>
          <p:cNvPr id="355" name="Rectangle 396">
            <a:extLst>
              <a:ext uri="{FF2B5EF4-FFF2-40B4-BE49-F238E27FC236}">
                <a16:creationId xmlns:a16="http://schemas.microsoft.com/office/drawing/2014/main" id="{EC76EFC9-AD7C-4754-B57E-83485D9BF0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2426" y="1192369"/>
            <a:ext cx="8495336" cy="427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879470">
              <a:lnSpc>
                <a:spcPct val="93000"/>
              </a:lnSpc>
              <a:defRPr/>
            </a:pPr>
            <a:endParaRPr kumimoji="0" lang="ja-JP" altLang="en-US" sz="1877" b="1" dirty="0">
              <a:latin typeface="Meiryo UI" pitchFamily="50" charset="-128"/>
              <a:ea typeface="Meiryo UI" pitchFamily="50" charset="-128"/>
            </a:endParaRPr>
          </a:p>
        </p:txBody>
      </p:sp>
      <p:graphicFrame>
        <p:nvGraphicFramePr>
          <p:cNvPr id="356" name="Group 253">
            <a:extLst>
              <a:ext uri="{FF2B5EF4-FFF2-40B4-BE49-F238E27FC236}">
                <a16:creationId xmlns:a16="http://schemas.microsoft.com/office/drawing/2014/main" id="{97A7AA1E-D720-48B1-9635-CA68E9CCB5D8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468867273"/>
              </p:ext>
            </p:extLst>
          </p:nvPr>
        </p:nvGraphicFramePr>
        <p:xfrm>
          <a:off x="8011028" y="1961029"/>
          <a:ext cx="1620000" cy="504000"/>
        </p:xfrm>
        <a:graphic>
          <a:graphicData uri="http://schemas.openxmlformats.org/drawingml/2006/table">
            <a:tbl>
              <a:tblPr/>
              <a:tblGrid>
                <a:gridCol w="5287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1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20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HOKKAIDO</a:t>
                      </a:r>
                      <a:endParaRPr kumimoji="0" lang="ja-JP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5" marR="36005" marT="35426" marB="354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L</a:t>
                      </a:r>
                    </a:p>
                  </a:txBody>
                  <a:tcPr marL="36005" marR="36005" marT="35426" marB="354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5" marR="36005" marT="35426" marB="354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57" name="Group 250">
            <a:extLst>
              <a:ext uri="{FF2B5EF4-FFF2-40B4-BE49-F238E27FC236}">
                <a16:creationId xmlns:a16="http://schemas.microsoft.com/office/drawing/2014/main" id="{9419B82C-7FC8-42A8-8509-E3829432018D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2112816949"/>
              </p:ext>
            </p:extLst>
          </p:nvPr>
        </p:nvGraphicFramePr>
        <p:xfrm>
          <a:off x="3039981" y="2935810"/>
          <a:ext cx="1620000" cy="1512000"/>
        </p:xfrm>
        <a:graphic>
          <a:graphicData uri="http://schemas.openxmlformats.org/drawingml/2006/table">
            <a:tbl>
              <a:tblPr/>
              <a:tblGrid>
                <a:gridCol w="5128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71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20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KANSAI</a:t>
                      </a:r>
                      <a:endParaRPr kumimoji="0" lang="ja-JP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92" marR="35992" marT="35607" marB="3560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</a:p>
                  </a:txBody>
                  <a:tcPr marL="35992" marR="35992" marT="35607" marB="3560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0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92" marR="35992" marT="35607" marB="3560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E</a:t>
                      </a:r>
                    </a:p>
                  </a:txBody>
                  <a:tcPr marL="35992" marR="35992" marT="35607" marB="3560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92" marR="35992" marT="35607" marB="3560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CS</a:t>
                      </a:r>
                    </a:p>
                  </a:txBody>
                  <a:tcPr marL="35992" marR="35992" marT="35607" marB="3560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92" marR="35992" marT="35607" marB="3560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L</a:t>
                      </a:r>
                    </a:p>
                  </a:txBody>
                  <a:tcPr marL="35992" marR="35992" marT="35607" marB="3560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92" marR="35992" marT="35607" marB="3560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T</a:t>
                      </a:r>
                    </a:p>
                  </a:txBody>
                  <a:tcPr marL="35992" marR="35992" marT="35607" marB="3560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92" marR="35992" marT="35607" marB="3560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358" name="Group 249">
            <a:extLst>
              <a:ext uri="{FF2B5EF4-FFF2-40B4-BE49-F238E27FC236}">
                <a16:creationId xmlns:a16="http://schemas.microsoft.com/office/drawing/2014/main" id="{C74CF843-1145-4C79-BAD3-BA88BEDD41BA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246530837"/>
              </p:ext>
            </p:extLst>
          </p:nvPr>
        </p:nvGraphicFramePr>
        <p:xfrm>
          <a:off x="991716" y="4741322"/>
          <a:ext cx="1620001" cy="1512000"/>
        </p:xfrm>
        <a:graphic>
          <a:graphicData uri="http://schemas.openxmlformats.org/drawingml/2006/table">
            <a:tbl>
              <a:tblPr/>
              <a:tblGrid>
                <a:gridCol w="4921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78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20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KYUSHU/OKINAWA</a:t>
                      </a:r>
                      <a:endParaRPr kumimoji="0" lang="ja-JP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6" marR="36006" marT="35452" marB="3545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</a:p>
                  </a:txBody>
                  <a:tcPr marL="36006" marR="36006" marT="35452" marB="3545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6" marR="36006" marT="35452" marB="3545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E</a:t>
                      </a:r>
                    </a:p>
                  </a:txBody>
                  <a:tcPr marL="36006" marR="36006" marT="35452" marB="3545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6" marR="36006" marT="35452" marB="3545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CS</a:t>
                      </a:r>
                    </a:p>
                  </a:txBody>
                  <a:tcPr marL="36006" marR="36006" marT="35452" marB="3545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6" marR="36006" marT="35452" marB="3545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L</a:t>
                      </a:r>
                    </a:p>
                  </a:txBody>
                  <a:tcPr marL="36006" marR="36006" marT="35452" marB="3545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6" marR="36006" marT="35452" marB="3545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T</a:t>
                      </a:r>
                    </a:p>
                  </a:txBody>
                  <a:tcPr marL="36006" marR="36006" marT="35452" marB="3545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6" marR="36006" marT="35452" marB="3545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359" name="Group 1547">
            <a:extLst>
              <a:ext uri="{FF2B5EF4-FFF2-40B4-BE49-F238E27FC236}">
                <a16:creationId xmlns:a16="http://schemas.microsoft.com/office/drawing/2014/main" id="{483812E1-33CB-423E-9C0B-8B1A2B691DF5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197226450"/>
              </p:ext>
            </p:extLst>
          </p:nvPr>
        </p:nvGraphicFramePr>
        <p:xfrm>
          <a:off x="4319807" y="2109805"/>
          <a:ext cx="1620000" cy="756000"/>
        </p:xfrm>
        <a:graphic>
          <a:graphicData uri="http://schemas.openxmlformats.org/drawingml/2006/table">
            <a:tbl>
              <a:tblPr/>
              <a:tblGrid>
                <a:gridCol w="5369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30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20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HOKURIKU</a:t>
                      </a:r>
                      <a:endParaRPr kumimoji="0" lang="ja-JP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70" marR="35970" marT="35546" marB="3554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</a:p>
                  </a:txBody>
                  <a:tcPr marL="35970" marR="35970" marT="35546" marB="3554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70" marR="35970" marT="35546" marB="3554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L</a:t>
                      </a:r>
                    </a:p>
                  </a:txBody>
                  <a:tcPr marL="35970" marR="35970" marT="35546" marB="3554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70" marR="35970" marT="35546" marB="3554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60" name="Group 248">
            <a:extLst>
              <a:ext uri="{FF2B5EF4-FFF2-40B4-BE49-F238E27FC236}">
                <a16:creationId xmlns:a16="http://schemas.microsoft.com/office/drawing/2014/main" id="{C739B34C-7F46-4A07-8BC5-B2A91D0B6FD9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730128834"/>
              </p:ext>
            </p:extLst>
          </p:nvPr>
        </p:nvGraphicFramePr>
        <p:xfrm>
          <a:off x="971592" y="2935810"/>
          <a:ext cx="1614277" cy="1260000"/>
        </p:xfrm>
        <a:graphic>
          <a:graphicData uri="http://schemas.openxmlformats.org/drawingml/2006/table">
            <a:tbl>
              <a:tblPr/>
              <a:tblGrid>
                <a:gridCol w="4952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90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20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CHUGOKU/SHIKOKU</a:t>
                      </a:r>
                      <a:endParaRPr kumimoji="0" lang="ja-JP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97" marR="35997" marT="35485" marB="3548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</a:p>
                  </a:txBody>
                  <a:tcPr marL="35997" marR="35997" marT="35485" marB="3548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97" marR="35997" marT="35485" marB="3548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CS</a:t>
                      </a:r>
                    </a:p>
                  </a:txBody>
                  <a:tcPr marL="35997" marR="35997" marT="35485" marB="3548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97" marR="35997" marT="35485" marB="3548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L</a:t>
                      </a:r>
                      <a:endParaRPr kumimoji="0" lang="en-US" altLang="ja-JP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97" marR="35997" marT="35485" marB="3548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97" marR="35997" marT="35485" marB="3548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T</a:t>
                      </a:r>
                    </a:p>
                  </a:txBody>
                  <a:tcPr marL="35997" marR="35997" marT="35485" marB="3548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1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97" marR="35997" marT="35485" marB="3548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61" name="Group 151">
            <a:extLst>
              <a:ext uri="{FF2B5EF4-FFF2-40B4-BE49-F238E27FC236}">
                <a16:creationId xmlns:a16="http://schemas.microsoft.com/office/drawing/2014/main" id="{A0FA31A7-8983-4B6B-A1E1-F57EC35629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9197057"/>
              </p:ext>
            </p:extLst>
          </p:nvPr>
        </p:nvGraphicFramePr>
        <p:xfrm>
          <a:off x="7296199" y="1063125"/>
          <a:ext cx="2880000" cy="655016"/>
        </p:xfrm>
        <a:graphic>
          <a:graphicData uri="http://schemas.openxmlformats.org/drawingml/2006/table">
            <a:tbl>
              <a:tblPr/>
              <a:tblGrid>
                <a:gridCol w="144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75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GP創英角ｺﾞｼｯｸUB" pitchFamily="50" charset="-128"/>
                          <a:ea typeface="HGP創英角ｺﾞｼｯｸUB" pitchFamily="50" charset="-128"/>
                        </a:rPr>
                        <a:t>Office &amp; W/H</a:t>
                      </a:r>
                      <a:endParaRPr kumimoji="0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HGP創英角ｺﾞｼｯｸUB" pitchFamily="50" charset="-128"/>
                        <a:ea typeface="HGP創英角ｺﾞｼｯｸUB" pitchFamily="50" charset="-128"/>
                      </a:endParaRPr>
                    </a:p>
                  </a:txBody>
                  <a:tcPr marL="35990" marR="35990" marT="35453" marB="3545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GP創英角ｺﾞｼｯｸUB" pitchFamily="50" charset="-128"/>
                          <a:ea typeface="HGP創英角ｺﾞｼｯｸUB" pitchFamily="50" charset="-128"/>
                        </a:rPr>
                        <a:t>330</a:t>
                      </a:r>
                      <a:endParaRPr kumimoji="0" lang="ja-JP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HGP創英角ｺﾞｼｯｸUB" pitchFamily="50" charset="-128"/>
                        <a:ea typeface="HGP創英角ｺﾞｼｯｸUB" pitchFamily="50" charset="-128"/>
                      </a:endParaRPr>
                    </a:p>
                  </a:txBody>
                  <a:tcPr marL="35990" marR="35990" marT="35453" marB="3545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75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GP創英角ｺﾞｼｯｸUB" pitchFamily="50" charset="-128"/>
                          <a:ea typeface="HGP創英角ｺﾞｼｯｸUB" pitchFamily="50" charset="-128"/>
                        </a:rPr>
                        <a:t>Jurisdiction area</a:t>
                      </a:r>
                    </a:p>
                  </a:txBody>
                  <a:tcPr marL="35990" marR="35990" marT="35453" marB="3545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GP創英角ｺﾞｼｯｸUB" pitchFamily="50" charset="-128"/>
                          <a:ea typeface="HGP創英角ｺﾞｼｯｸUB" pitchFamily="50" charset="-128"/>
                        </a:rPr>
                        <a:t>160 million </a:t>
                      </a:r>
                      <a:r>
                        <a:rPr kumimoji="0" lang="ja-JP" alt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GP創英角ｺﾞｼｯｸUB" pitchFamily="50" charset="-128"/>
                          <a:ea typeface="HGP創英角ｺﾞｼｯｸUB" pitchFamily="50" charset="-128"/>
                        </a:rPr>
                        <a:t>㎡</a:t>
                      </a:r>
                    </a:p>
                  </a:txBody>
                  <a:tcPr marL="35990" marR="35990" marT="35453" marB="3545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62" name="Oval 32">
            <a:extLst>
              <a:ext uri="{FF2B5EF4-FFF2-40B4-BE49-F238E27FC236}">
                <a16:creationId xmlns:a16="http://schemas.microsoft.com/office/drawing/2014/main" id="{A8CF566B-6B67-440E-B752-A99C7197BD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070" y="5011496"/>
            <a:ext cx="85503" cy="80923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63" name="Oval 32">
            <a:extLst>
              <a:ext uri="{FF2B5EF4-FFF2-40B4-BE49-F238E27FC236}">
                <a16:creationId xmlns:a16="http://schemas.microsoft.com/office/drawing/2014/main" id="{4439BE80-7290-4FBC-AC44-377B411274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1654" y="5012260"/>
            <a:ext cx="87030" cy="79396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64" name="Oval 32">
            <a:extLst>
              <a:ext uri="{FF2B5EF4-FFF2-40B4-BE49-F238E27FC236}">
                <a16:creationId xmlns:a16="http://schemas.microsoft.com/office/drawing/2014/main" id="{65A9F371-09CE-4226-BB40-7F5B717A36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1432" y="5105671"/>
            <a:ext cx="85503" cy="79396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65" name="Oval 32">
            <a:extLst>
              <a:ext uri="{FF2B5EF4-FFF2-40B4-BE49-F238E27FC236}">
                <a16:creationId xmlns:a16="http://schemas.microsoft.com/office/drawing/2014/main" id="{B7DAE986-3C4A-46E7-BA34-0E0C43CD7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5569" y="5104908"/>
            <a:ext cx="85503" cy="80922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66" name="Oval 32">
            <a:extLst>
              <a:ext uri="{FF2B5EF4-FFF2-40B4-BE49-F238E27FC236}">
                <a16:creationId xmlns:a16="http://schemas.microsoft.com/office/drawing/2014/main" id="{109868FB-E89A-48B9-9A20-DB1112E4C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1049" y="4913084"/>
            <a:ext cx="85503" cy="80923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67" name="Oval 32">
            <a:extLst>
              <a:ext uri="{FF2B5EF4-FFF2-40B4-BE49-F238E27FC236}">
                <a16:creationId xmlns:a16="http://schemas.microsoft.com/office/drawing/2014/main" id="{33F65144-53CA-459A-9200-88B05115DE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7809" y="4720565"/>
            <a:ext cx="85503" cy="79396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68" name="Oval 32">
            <a:extLst>
              <a:ext uri="{FF2B5EF4-FFF2-40B4-BE49-F238E27FC236}">
                <a16:creationId xmlns:a16="http://schemas.microsoft.com/office/drawing/2014/main" id="{C6964618-A1AF-4E3B-BC7E-C47AE7955A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6034" y="5214899"/>
            <a:ext cx="83977" cy="82449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69" name="Oval 32">
            <a:extLst>
              <a:ext uri="{FF2B5EF4-FFF2-40B4-BE49-F238E27FC236}">
                <a16:creationId xmlns:a16="http://schemas.microsoft.com/office/drawing/2014/main" id="{1DE9BC6D-E409-47AB-900A-7E7D699A0D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3637" y="5227645"/>
            <a:ext cx="85503" cy="79396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70" name="Oval 32">
            <a:extLst>
              <a:ext uri="{FF2B5EF4-FFF2-40B4-BE49-F238E27FC236}">
                <a16:creationId xmlns:a16="http://schemas.microsoft.com/office/drawing/2014/main" id="{E1BC134B-DEDC-49D7-AD8B-EA393EEC9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489" y="5209837"/>
            <a:ext cx="83977" cy="82449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71" name="Oval 32">
            <a:extLst>
              <a:ext uri="{FF2B5EF4-FFF2-40B4-BE49-F238E27FC236}">
                <a16:creationId xmlns:a16="http://schemas.microsoft.com/office/drawing/2014/main" id="{E52C1C24-4A59-4BAB-8DB9-814DAB775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1170" y="5258702"/>
            <a:ext cx="85503" cy="79396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72" name="Oval 32">
            <a:extLst>
              <a:ext uri="{FF2B5EF4-FFF2-40B4-BE49-F238E27FC236}">
                <a16:creationId xmlns:a16="http://schemas.microsoft.com/office/drawing/2014/main" id="{029E9123-D0E7-4CCE-818D-B35C038C24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5074" y="5503719"/>
            <a:ext cx="85503" cy="79396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73" name="Oval 32">
            <a:extLst>
              <a:ext uri="{FF2B5EF4-FFF2-40B4-BE49-F238E27FC236}">
                <a16:creationId xmlns:a16="http://schemas.microsoft.com/office/drawing/2014/main" id="{C665AB41-5670-4221-8651-6B39DCF409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9394" y="4782222"/>
            <a:ext cx="85503" cy="79396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74" name="Oval 32">
            <a:extLst>
              <a:ext uri="{FF2B5EF4-FFF2-40B4-BE49-F238E27FC236}">
                <a16:creationId xmlns:a16="http://schemas.microsoft.com/office/drawing/2014/main" id="{8EA8E020-334C-45B4-A3BA-DC9D2AC748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8698" y="4091903"/>
            <a:ext cx="87030" cy="80923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75" name="Oval 32">
            <a:extLst>
              <a:ext uri="{FF2B5EF4-FFF2-40B4-BE49-F238E27FC236}">
                <a16:creationId xmlns:a16="http://schemas.microsoft.com/office/drawing/2014/main" id="{52E8C5EF-DCBB-4D97-AB84-AA61854944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0172" y="4912322"/>
            <a:ext cx="85503" cy="82449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76" name="Oval 32">
            <a:extLst>
              <a:ext uri="{FF2B5EF4-FFF2-40B4-BE49-F238E27FC236}">
                <a16:creationId xmlns:a16="http://schemas.microsoft.com/office/drawing/2014/main" id="{E45F56ED-763D-438A-8DF7-71DD33A7EE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3503" y="5010734"/>
            <a:ext cx="87030" cy="82449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77" name="Oval 32">
            <a:extLst>
              <a:ext uri="{FF2B5EF4-FFF2-40B4-BE49-F238E27FC236}">
                <a16:creationId xmlns:a16="http://schemas.microsoft.com/office/drawing/2014/main" id="{A5FA8D1A-5938-4C1B-9CE5-1848D19B38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650" y="5274657"/>
            <a:ext cx="83976" cy="82449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78" name="Oval 32">
            <a:extLst>
              <a:ext uri="{FF2B5EF4-FFF2-40B4-BE49-F238E27FC236}">
                <a16:creationId xmlns:a16="http://schemas.microsoft.com/office/drawing/2014/main" id="{7DE3C519-79BD-4AAE-8DEA-A8C72F3C2C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96695" y="5258702"/>
            <a:ext cx="85503" cy="79396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79" name="Oval 32">
            <a:extLst>
              <a:ext uri="{FF2B5EF4-FFF2-40B4-BE49-F238E27FC236}">
                <a16:creationId xmlns:a16="http://schemas.microsoft.com/office/drawing/2014/main" id="{2FD25BB7-EC64-4926-87DB-481A4B55F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7424" y="6515481"/>
            <a:ext cx="87029" cy="80923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4748" tIns="42374" rIns="84748" bIns="42374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80" name="Oval 32">
            <a:extLst>
              <a:ext uri="{FF2B5EF4-FFF2-40B4-BE49-F238E27FC236}">
                <a16:creationId xmlns:a16="http://schemas.microsoft.com/office/drawing/2014/main" id="{62D32515-4EB4-41B8-9ECB-5DC904BDCF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1169" y="5320366"/>
            <a:ext cx="87030" cy="80923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81" name="Oval 32">
            <a:extLst>
              <a:ext uri="{FF2B5EF4-FFF2-40B4-BE49-F238E27FC236}">
                <a16:creationId xmlns:a16="http://schemas.microsoft.com/office/drawing/2014/main" id="{26A9AED7-FE5A-43C0-9C9D-93FD9F91BA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3540" y="5007214"/>
            <a:ext cx="83976" cy="82449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82" name="Oval 32">
            <a:extLst>
              <a:ext uri="{FF2B5EF4-FFF2-40B4-BE49-F238E27FC236}">
                <a16:creationId xmlns:a16="http://schemas.microsoft.com/office/drawing/2014/main" id="{DF451F49-D577-470C-9477-F8B818EE75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5074" y="5582807"/>
            <a:ext cx="85503" cy="79396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83" name="Oval 32">
            <a:extLst>
              <a:ext uri="{FF2B5EF4-FFF2-40B4-BE49-F238E27FC236}">
                <a16:creationId xmlns:a16="http://schemas.microsoft.com/office/drawing/2014/main" id="{724CB05D-4FB1-4FE0-B60D-5E7C257F8E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5502" y="5948104"/>
            <a:ext cx="85503" cy="82449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84" name="Oval 32">
            <a:extLst>
              <a:ext uri="{FF2B5EF4-FFF2-40B4-BE49-F238E27FC236}">
                <a16:creationId xmlns:a16="http://schemas.microsoft.com/office/drawing/2014/main" id="{A841174C-35F2-464B-A8FA-BAD924A4AE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9719" y="2617372"/>
            <a:ext cx="85503" cy="79396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85" name="Oval 32">
            <a:extLst>
              <a:ext uri="{FF2B5EF4-FFF2-40B4-BE49-F238E27FC236}">
                <a16:creationId xmlns:a16="http://schemas.microsoft.com/office/drawing/2014/main" id="{F85C32C6-7C3D-4F44-A3A8-3CE94983C6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0787" y="5011498"/>
            <a:ext cx="85503" cy="80922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86" name="Oval 32">
            <a:extLst>
              <a:ext uri="{FF2B5EF4-FFF2-40B4-BE49-F238E27FC236}">
                <a16:creationId xmlns:a16="http://schemas.microsoft.com/office/drawing/2014/main" id="{8B18C8ED-8C17-4879-9B23-26D11F67EC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4401" y="5305749"/>
            <a:ext cx="83977" cy="82449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87" name="Oval 32">
            <a:extLst>
              <a:ext uri="{FF2B5EF4-FFF2-40B4-BE49-F238E27FC236}">
                <a16:creationId xmlns:a16="http://schemas.microsoft.com/office/drawing/2014/main" id="{27A26D05-0E97-4867-99DB-1674B309CE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0408" y="5331429"/>
            <a:ext cx="87029" cy="82449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88" name="Oval 32">
            <a:extLst>
              <a:ext uri="{FF2B5EF4-FFF2-40B4-BE49-F238E27FC236}">
                <a16:creationId xmlns:a16="http://schemas.microsoft.com/office/drawing/2014/main" id="{F8F03806-161A-49B1-A4F1-3B25B08406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0640" y="5503719"/>
            <a:ext cx="85503" cy="80923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89" name="Oval 32">
            <a:extLst>
              <a:ext uri="{FF2B5EF4-FFF2-40B4-BE49-F238E27FC236}">
                <a16:creationId xmlns:a16="http://schemas.microsoft.com/office/drawing/2014/main" id="{CDAD14A7-3373-484B-A22A-9DB70291BD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2510" y="3462842"/>
            <a:ext cx="85503" cy="80922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90" name="Oval 32">
            <a:extLst>
              <a:ext uri="{FF2B5EF4-FFF2-40B4-BE49-F238E27FC236}">
                <a16:creationId xmlns:a16="http://schemas.microsoft.com/office/drawing/2014/main" id="{3F5CBF07-688A-4F0F-B143-01E5D27355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686" y="4091903"/>
            <a:ext cx="87030" cy="80923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91" name="Oval 32">
            <a:extLst>
              <a:ext uri="{FF2B5EF4-FFF2-40B4-BE49-F238E27FC236}">
                <a16:creationId xmlns:a16="http://schemas.microsoft.com/office/drawing/2014/main" id="{DD6C52D3-94AE-4501-BD8E-4EDAD70F52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5057" y="4422756"/>
            <a:ext cx="85503" cy="79396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92" name="Oval 32">
            <a:extLst>
              <a:ext uri="{FF2B5EF4-FFF2-40B4-BE49-F238E27FC236}">
                <a16:creationId xmlns:a16="http://schemas.microsoft.com/office/drawing/2014/main" id="{8E85000D-121C-4BD5-A1C1-E18A27BA0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8938" y="5012260"/>
            <a:ext cx="85503" cy="79396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93" name="Oval 32">
            <a:extLst>
              <a:ext uri="{FF2B5EF4-FFF2-40B4-BE49-F238E27FC236}">
                <a16:creationId xmlns:a16="http://schemas.microsoft.com/office/drawing/2014/main" id="{422C5F15-832B-4571-AD9F-5AE3407BD2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4886" y="4719802"/>
            <a:ext cx="85503" cy="80923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94" name="Oval 32">
            <a:extLst>
              <a:ext uri="{FF2B5EF4-FFF2-40B4-BE49-F238E27FC236}">
                <a16:creationId xmlns:a16="http://schemas.microsoft.com/office/drawing/2014/main" id="{7ABA33B3-6846-4985-B25C-A402B30FED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9771" y="5303904"/>
            <a:ext cx="87029" cy="82449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95" name="Oval 32">
            <a:extLst>
              <a:ext uri="{FF2B5EF4-FFF2-40B4-BE49-F238E27FC236}">
                <a16:creationId xmlns:a16="http://schemas.microsoft.com/office/drawing/2014/main" id="{1D5A4DDE-1FF4-4A1D-A683-C7AC9927C2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7929" y="5226119"/>
            <a:ext cx="87029" cy="82449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96" name="Oval 32">
            <a:extLst>
              <a:ext uri="{FF2B5EF4-FFF2-40B4-BE49-F238E27FC236}">
                <a16:creationId xmlns:a16="http://schemas.microsoft.com/office/drawing/2014/main" id="{9EDD5FD6-04E9-435B-9BFE-F6DCA882F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1934" y="5407209"/>
            <a:ext cx="83977" cy="79396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97" name="Oval 32">
            <a:extLst>
              <a:ext uri="{FF2B5EF4-FFF2-40B4-BE49-F238E27FC236}">
                <a16:creationId xmlns:a16="http://schemas.microsoft.com/office/drawing/2014/main" id="{5210F774-07B6-48B8-9F53-020D367875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3887" y="5503720"/>
            <a:ext cx="85503" cy="77868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98" name="Oval 32">
            <a:extLst>
              <a:ext uri="{FF2B5EF4-FFF2-40B4-BE49-F238E27FC236}">
                <a16:creationId xmlns:a16="http://schemas.microsoft.com/office/drawing/2014/main" id="{8EC7519E-B7EF-4C35-B69D-957ED65A5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5812" y="5797361"/>
            <a:ext cx="83977" cy="80922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399" name="Oval 32">
            <a:extLst>
              <a:ext uri="{FF2B5EF4-FFF2-40B4-BE49-F238E27FC236}">
                <a16:creationId xmlns:a16="http://schemas.microsoft.com/office/drawing/2014/main" id="{AD2574AD-11EE-42AE-8D00-88DA337A85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6266" y="5870135"/>
            <a:ext cx="83977" cy="79396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00" name="Oval 32">
            <a:extLst>
              <a:ext uri="{FF2B5EF4-FFF2-40B4-BE49-F238E27FC236}">
                <a16:creationId xmlns:a16="http://schemas.microsoft.com/office/drawing/2014/main" id="{A8F5E639-A840-4FBE-900A-3C436699CC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4795" y="5664691"/>
            <a:ext cx="83977" cy="80922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01" name="Oval 32">
            <a:extLst>
              <a:ext uri="{FF2B5EF4-FFF2-40B4-BE49-F238E27FC236}">
                <a16:creationId xmlns:a16="http://schemas.microsoft.com/office/drawing/2014/main" id="{AAF44C7D-C918-4891-B6D2-42C21F9248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8165" y="6513955"/>
            <a:ext cx="85503" cy="82449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4748" tIns="42374" rIns="84748" bIns="42374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02" name="Oval 32">
            <a:extLst>
              <a:ext uri="{FF2B5EF4-FFF2-40B4-BE49-F238E27FC236}">
                <a16:creationId xmlns:a16="http://schemas.microsoft.com/office/drawing/2014/main" id="{82F2643E-E9CB-4C7E-8E2A-164C2C4A0A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0438" y="4840516"/>
            <a:ext cx="85503" cy="80922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03" name="Oval 32">
            <a:extLst>
              <a:ext uri="{FF2B5EF4-FFF2-40B4-BE49-F238E27FC236}">
                <a16:creationId xmlns:a16="http://schemas.microsoft.com/office/drawing/2014/main" id="{D831E464-5853-485A-8467-66A18D7D33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7683" y="4670934"/>
            <a:ext cx="83977" cy="82449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04" name="Oval 32">
            <a:extLst>
              <a:ext uri="{FF2B5EF4-FFF2-40B4-BE49-F238E27FC236}">
                <a16:creationId xmlns:a16="http://schemas.microsoft.com/office/drawing/2014/main" id="{E45D9E0C-F4EB-43BA-820B-11FB60B6A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0577" y="4731991"/>
            <a:ext cx="87030" cy="79396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05" name="Oval 32">
            <a:extLst>
              <a:ext uri="{FF2B5EF4-FFF2-40B4-BE49-F238E27FC236}">
                <a16:creationId xmlns:a16="http://schemas.microsoft.com/office/drawing/2014/main" id="{73EE7F5A-99E7-474C-AB41-201C1976BB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8381" y="5582807"/>
            <a:ext cx="85503" cy="79396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06" name="Oval 32">
            <a:extLst>
              <a:ext uri="{FF2B5EF4-FFF2-40B4-BE49-F238E27FC236}">
                <a16:creationId xmlns:a16="http://schemas.microsoft.com/office/drawing/2014/main" id="{59CA7850-B318-47A1-92BD-AC31DF544F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5502" y="5792167"/>
            <a:ext cx="85503" cy="79396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07" name="Oval 32">
            <a:extLst>
              <a:ext uri="{FF2B5EF4-FFF2-40B4-BE49-F238E27FC236}">
                <a16:creationId xmlns:a16="http://schemas.microsoft.com/office/drawing/2014/main" id="{BB1AF4E3-85A2-4A7A-8577-6742D36A1C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3802" y="5391154"/>
            <a:ext cx="85503" cy="79396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08" name="Oval 32">
            <a:extLst>
              <a:ext uri="{FF2B5EF4-FFF2-40B4-BE49-F238E27FC236}">
                <a16:creationId xmlns:a16="http://schemas.microsoft.com/office/drawing/2014/main" id="{B5D8D70B-B1EF-47C0-AC70-3E92946922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1422" y="5514461"/>
            <a:ext cx="85503" cy="79396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09" name="Oval 32">
            <a:extLst>
              <a:ext uri="{FF2B5EF4-FFF2-40B4-BE49-F238E27FC236}">
                <a16:creationId xmlns:a16="http://schemas.microsoft.com/office/drawing/2014/main" id="{D0844598-F43F-4537-B4C3-DFA0CB6943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4118" y="5514461"/>
            <a:ext cx="85503" cy="79396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10" name="Oval 32">
            <a:extLst>
              <a:ext uri="{FF2B5EF4-FFF2-40B4-BE49-F238E27FC236}">
                <a16:creationId xmlns:a16="http://schemas.microsoft.com/office/drawing/2014/main" id="{E34ECD16-C957-4CA3-8A2C-E52421FC1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1120" y="5424435"/>
            <a:ext cx="85503" cy="80923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11" name="Oval 32">
            <a:extLst>
              <a:ext uri="{FF2B5EF4-FFF2-40B4-BE49-F238E27FC236}">
                <a16:creationId xmlns:a16="http://schemas.microsoft.com/office/drawing/2014/main" id="{30D049BE-3DAF-487A-B64F-E71F869ED8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1931" y="5274657"/>
            <a:ext cx="85503" cy="82449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12" name="Oval 32">
            <a:extLst>
              <a:ext uri="{FF2B5EF4-FFF2-40B4-BE49-F238E27FC236}">
                <a16:creationId xmlns:a16="http://schemas.microsoft.com/office/drawing/2014/main" id="{F2B4F0A5-13E4-4CCB-991E-AE33695821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6697" y="5522487"/>
            <a:ext cx="83976" cy="77869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13" name="Oval 32">
            <a:extLst>
              <a:ext uri="{FF2B5EF4-FFF2-40B4-BE49-F238E27FC236}">
                <a16:creationId xmlns:a16="http://schemas.microsoft.com/office/drawing/2014/main" id="{E5EDC73D-3185-4F58-96C8-293D85D563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8841" y="5617102"/>
            <a:ext cx="85503" cy="79396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14" name="Oval 32">
            <a:extLst>
              <a:ext uri="{FF2B5EF4-FFF2-40B4-BE49-F238E27FC236}">
                <a16:creationId xmlns:a16="http://schemas.microsoft.com/office/drawing/2014/main" id="{7FD44199-FFCD-4535-A243-14AB71C3FE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7486" y="5007977"/>
            <a:ext cx="85503" cy="80922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15" name="Oval 32">
            <a:extLst>
              <a:ext uri="{FF2B5EF4-FFF2-40B4-BE49-F238E27FC236}">
                <a16:creationId xmlns:a16="http://schemas.microsoft.com/office/drawing/2014/main" id="{5289D77D-F199-416C-80FB-23490457DC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3192" y="5008740"/>
            <a:ext cx="85503" cy="79396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16" name="Oval 32">
            <a:extLst>
              <a:ext uri="{FF2B5EF4-FFF2-40B4-BE49-F238E27FC236}">
                <a16:creationId xmlns:a16="http://schemas.microsoft.com/office/drawing/2014/main" id="{F18A34D6-1BBD-4014-B494-CB86B6FB26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6046" y="5321129"/>
            <a:ext cx="85503" cy="79396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17" name="Oval 32">
            <a:extLst>
              <a:ext uri="{FF2B5EF4-FFF2-40B4-BE49-F238E27FC236}">
                <a16:creationId xmlns:a16="http://schemas.microsoft.com/office/drawing/2014/main" id="{4C21883B-18C2-4C3A-AFFC-0553C0BFB3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257" y="5321129"/>
            <a:ext cx="85503" cy="79396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18" name="Oval 32">
            <a:extLst>
              <a:ext uri="{FF2B5EF4-FFF2-40B4-BE49-F238E27FC236}">
                <a16:creationId xmlns:a16="http://schemas.microsoft.com/office/drawing/2014/main" id="{5F9742E3-A3C3-4BAE-9295-F48E69688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5102" y="5319604"/>
            <a:ext cx="83976" cy="82449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19" name="Oval 32">
            <a:extLst>
              <a:ext uri="{FF2B5EF4-FFF2-40B4-BE49-F238E27FC236}">
                <a16:creationId xmlns:a16="http://schemas.microsoft.com/office/drawing/2014/main" id="{30AE7A1A-61F7-4D48-8D80-961E7F0EC8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96695" y="5332956"/>
            <a:ext cx="85503" cy="77868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20" name="Oval 32">
            <a:extLst>
              <a:ext uri="{FF2B5EF4-FFF2-40B4-BE49-F238E27FC236}">
                <a16:creationId xmlns:a16="http://schemas.microsoft.com/office/drawing/2014/main" id="{55F4DD98-7D8B-4203-9A36-125DD25F0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9572" y="5499812"/>
            <a:ext cx="83976" cy="77869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21" name="Oval 32">
            <a:extLst>
              <a:ext uri="{FF2B5EF4-FFF2-40B4-BE49-F238E27FC236}">
                <a16:creationId xmlns:a16="http://schemas.microsoft.com/office/drawing/2014/main" id="{C7061396-BE2E-40A7-8142-AFEBE0829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8691" y="5149050"/>
            <a:ext cx="85503" cy="79396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22" name="Oval 32">
            <a:extLst>
              <a:ext uri="{FF2B5EF4-FFF2-40B4-BE49-F238E27FC236}">
                <a16:creationId xmlns:a16="http://schemas.microsoft.com/office/drawing/2014/main" id="{2AC2D727-DD89-4AAF-B43F-2B6E9B4FA8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2874" y="5149050"/>
            <a:ext cx="87030" cy="79396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23" name="Oval 32">
            <a:extLst>
              <a:ext uri="{FF2B5EF4-FFF2-40B4-BE49-F238E27FC236}">
                <a16:creationId xmlns:a16="http://schemas.microsoft.com/office/drawing/2014/main" id="{436729A6-DBAD-45CB-A10E-662228C805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7748" y="5011498"/>
            <a:ext cx="83977" cy="80922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24" name="Oval 32">
            <a:extLst>
              <a:ext uri="{FF2B5EF4-FFF2-40B4-BE49-F238E27FC236}">
                <a16:creationId xmlns:a16="http://schemas.microsoft.com/office/drawing/2014/main" id="{04E4C6A1-425E-41F3-9773-17358F91EC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5327" y="3288374"/>
            <a:ext cx="85503" cy="82449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26" name="Rectangle 1256">
            <a:extLst>
              <a:ext uri="{FF2B5EF4-FFF2-40B4-BE49-F238E27FC236}">
                <a16:creationId xmlns:a16="http://schemas.microsoft.com/office/drawing/2014/main" id="{1554548E-66F0-4F53-8263-BED2F409A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273" y="1255339"/>
            <a:ext cx="3237347" cy="1187881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36991" tIns="36991" rIns="36991" bIns="36991" anchor="ctr"/>
          <a:lstStyle/>
          <a:p>
            <a:pPr defTabSz="879470">
              <a:defRPr/>
            </a:pPr>
            <a:endParaRPr lang="ja-JP" altLang="en-US" sz="791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27" name="Oval 32">
            <a:extLst>
              <a:ext uri="{FF2B5EF4-FFF2-40B4-BE49-F238E27FC236}">
                <a16:creationId xmlns:a16="http://schemas.microsoft.com/office/drawing/2014/main" id="{3F3132DB-CAFB-4064-B28A-A8F00B7114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0613" y="1390633"/>
            <a:ext cx="88445" cy="87941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4748" tIns="42374" rIns="84748" bIns="42374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28" name="Oval 32">
            <a:extLst>
              <a:ext uri="{FF2B5EF4-FFF2-40B4-BE49-F238E27FC236}">
                <a16:creationId xmlns:a16="http://schemas.microsoft.com/office/drawing/2014/main" id="{4EBCBC3C-CDC8-47AD-B5D7-FAD9EBFA8F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0613" y="2022455"/>
            <a:ext cx="88445" cy="92000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4748" tIns="42374" rIns="84748" bIns="42374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29" name="Oval 32">
            <a:extLst>
              <a:ext uri="{FF2B5EF4-FFF2-40B4-BE49-F238E27FC236}">
                <a16:creationId xmlns:a16="http://schemas.microsoft.com/office/drawing/2014/main" id="{515A7F8B-C322-44EC-B5C7-0FB1C84167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0613" y="1600339"/>
            <a:ext cx="88445" cy="87941"/>
          </a:xfrm>
          <a:prstGeom prst="ellipse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wrap="none" lIns="84748" tIns="42374" rIns="84748" bIns="42374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30" name="Oval 32">
            <a:extLst>
              <a:ext uri="{FF2B5EF4-FFF2-40B4-BE49-F238E27FC236}">
                <a16:creationId xmlns:a16="http://schemas.microsoft.com/office/drawing/2014/main" id="{2230A29A-A4FE-4C7B-9D84-1CEDA934C2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0613" y="1810044"/>
            <a:ext cx="88445" cy="90647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4748" tIns="42374" rIns="84748" bIns="42374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31" name="Oval 32">
            <a:extLst>
              <a:ext uri="{FF2B5EF4-FFF2-40B4-BE49-F238E27FC236}">
                <a16:creationId xmlns:a16="http://schemas.microsoft.com/office/drawing/2014/main" id="{9B72C565-18F4-4E17-9C47-B9290CCE54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0613" y="2236220"/>
            <a:ext cx="88445" cy="90647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4748" tIns="42374" rIns="84748" bIns="42374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32" name="Text Box 1257">
            <a:extLst>
              <a:ext uri="{FF2B5EF4-FFF2-40B4-BE49-F238E27FC236}">
                <a16:creationId xmlns:a16="http://schemas.microsoft.com/office/drawing/2014/main" id="{3A78B1A6-D7C4-4EA9-8F7D-3059E1B51C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73598" y="1338548"/>
            <a:ext cx="3253404" cy="1088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5822" tIns="35822" rIns="35822" bIns="35822">
            <a:spAutoFit/>
          </a:bodyPr>
          <a:lstStyle/>
          <a:p>
            <a:pPr defTabSz="879470">
              <a:lnSpc>
                <a:spcPts val="1087"/>
              </a:lnSpc>
              <a:spcBef>
                <a:spcPct val="50000"/>
              </a:spcBef>
              <a:defRPr/>
            </a:pPr>
            <a:r>
              <a:rPr lang="en-US" altLang="ja-JP" sz="1010" dirty="0">
                <a:latin typeface="Meiryo UI" pitchFamily="50" charset="-128"/>
                <a:ea typeface="Meiryo UI" pitchFamily="50" charset="-128"/>
              </a:rPr>
              <a:t>MITSUI-SOKO</a:t>
            </a:r>
            <a:r>
              <a:rPr lang="ja-JP" altLang="en-US" sz="1010" dirty="0">
                <a:latin typeface="Meiryo UI" pitchFamily="50" charset="-128"/>
                <a:ea typeface="Meiryo UI" pitchFamily="50" charset="-128"/>
              </a:rPr>
              <a:t> </a:t>
            </a:r>
            <a:r>
              <a:rPr lang="en-US" altLang="ja-JP" sz="1010" dirty="0">
                <a:latin typeface="Meiryo UI" pitchFamily="50" charset="-128"/>
                <a:ea typeface="Meiryo UI" pitchFamily="50" charset="-128"/>
              </a:rPr>
              <a:t>(MSC)</a:t>
            </a:r>
            <a:endParaRPr lang="ja-JP" altLang="en-US" sz="1010" dirty="0">
              <a:latin typeface="Meiryo UI" pitchFamily="50" charset="-128"/>
              <a:ea typeface="Meiryo UI" pitchFamily="50" charset="-128"/>
            </a:endParaRPr>
          </a:p>
          <a:p>
            <a:pPr defTabSz="879470">
              <a:lnSpc>
                <a:spcPts val="1087"/>
              </a:lnSpc>
              <a:spcBef>
                <a:spcPct val="50000"/>
              </a:spcBef>
              <a:defRPr/>
            </a:pPr>
            <a:r>
              <a:rPr lang="en-US" altLang="ja-JP" sz="1010" dirty="0">
                <a:latin typeface="Meiryo UI" pitchFamily="50" charset="-128"/>
                <a:ea typeface="Meiryo UI" pitchFamily="50" charset="-128"/>
              </a:rPr>
              <a:t>MITSUI-SOKO EXPRESS (MSE)</a:t>
            </a:r>
            <a:endParaRPr lang="ja-JP" altLang="en-US" sz="1010" dirty="0">
              <a:latin typeface="Meiryo UI" pitchFamily="50" charset="-128"/>
              <a:ea typeface="Meiryo UI" pitchFamily="50" charset="-128"/>
            </a:endParaRPr>
          </a:p>
          <a:p>
            <a:pPr defTabSz="879470">
              <a:lnSpc>
                <a:spcPts val="1087"/>
              </a:lnSpc>
              <a:spcBef>
                <a:spcPct val="50000"/>
              </a:spcBef>
              <a:defRPr/>
            </a:pPr>
            <a:r>
              <a:rPr lang="en-US" altLang="ja-JP" sz="1010" dirty="0">
                <a:latin typeface="Meiryo UI" pitchFamily="50" charset="-128"/>
                <a:ea typeface="Meiryo UI" pitchFamily="50" charset="-128"/>
              </a:rPr>
              <a:t>MITSUI-SOKO Supply Chain Solutions (MSCS)</a:t>
            </a:r>
            <a:endParaRPr lang="ja-JP" altLang="en-US" sz="1010" dirty="0">
              <a:latin typeface="Meiryo UI" pitchFamily="50" charset="-128"/>
              <a:ea typeface="Meiryo UI" pitchFamily="50" charset="-128"/>
            </a:endParaRPr>
          </a:p>
          <a:p>
            <a:pPr defTabSz="879470">
              <a:lnSpc>
                <a:spcPts val="1087"/>
              </a:lnSpc>
              <a:spcBef>
                <a:spcPct val="50000"/>
              </a:spcBef>
              <a:defRPr/>
            </a:pPr>
            <a:r>
              <a:rPr lang="en-US" altLang="ja-JP" sz="1010" dirty="0">
                <a:latin typeface="Meiryo UI" pitchFamily="50" charset="-128"/>
                <a:ea typeface="Meiryo UI" pitchFamily="50" charset="-128"/>
              </a:rPr>
              <a:t>MITSUI-SOKO LOGISTICS (MSL)</a:t>
            </a:r>
            <a:endParaRPr lang="ja-JP" altLang="en-US" sz="1010" dirty="0">
              <a:latin typeface="Meiryo UI" pitchFamily="50" charset="-128"/>
              <a:ea typeface="Meiryo UI" pitchFamily="50" charset="-128"/>
            </a:endParaRPr>
          </a:p>
          <a:p>
            <a:pPr defTabSz="879470">
              <a:lnSpc>
                <a:spcPts val="1087"/>
              </a:lnSpc>
              <a:spcBef>
                <a:spcPct val="50000"/>
              </a:spcBef>
              <a:defRPr/>
            </a:pPr>
            <a:r>
              <a:rPr lang="en-US" altLang="ja-JP" sz="1010" dirty="0">
                <a:latin typeface="Meiryo UI" pitchFamily="50" charset="-128"/>
                <a:ea typeface="Meiryo UI" pitchFamily="50" charset="-128"/>
              </a:rPr>
              <a:t>MITSUI-SOKO TRANSPORT (MST)</a:t>
            </a:r>
          </a:p>
        </p:txBody>
      </p:sp>
      <p:graphicFrame>
        <p:nvGraphicFramePr>
          <p:cNvPr id="433" name="Group 5">
            <a:extLst>
              <a:ext uri="{FF2B5EF4-FFF2-40B4-BE49-F238E27FC236}">
                <a16:creationId xmlns:a16="http://schemas.microsoft.com/office/drawing/2014/main" id="{737F7630-345D-44D9-A4D6-811D27B147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1886075"/>
              </p:ext>
            </p:extLst>
          </p:nvPr>
        </p:nvGraphicFramePr>
        <p:xfrm>
          <a:off x="8020323" y="2649368"/>
          <a:ext cx="1620000" cy="1008000"/>
        </p:xfrm>
        <a:graphic>
          <a:graphicData uri="http://schemas.openxmlformats.org/drawingml/2006/table">
            <a:tbl>
              <a:tblPr/>
              <a:tblGrid>
                <a:gridCol w="5460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39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20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TOHOKU</a:t>
                      </a:r>
                      <a:endParaRPr kumimoji="0" lang="ja-JP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10" marR="36010" marT="35487" marB="3548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CS</a:t>
                      </a:r>
                    </a:p>
                  </a:txBody>
                  <a:tcPr marL="36010" marR="36010" marT="35487" marB="3548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10" marR="36010" marT="35487" marB="3548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L</a:t>
                      </a:r>
                    </a:p>
                  </a:txBody>
                  <a:tcPr marL="36010" marR="36010" marT="35487" marB="3548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10" marR="36010" marT="35487" marB="3548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T</a:t>
                      </a:r>
                    </a:p>
                  </a:txBody>
                  <a:tcPr marL="36010" marR="36010" marT="35487" marB="3548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10" marR="36010" marT="35487" marB="3548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34" name="Group 251">
            <a:extLst>
              <a:ext uri="{FF2B5EF4-FFF2-40B4-BE49-F238E27FC236}">
                <a16:creationId xmlns:a16="http://schemas.microsoft.com/office/drawing/2014/main" id="{517B684F-D17B-42C0-AA2D-07DFAE3F7486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4217810555"/>
              </p:ext>
            </p:extLst>
          </p:nvPr>
        </p:nvGraphicFramePr>
        <p:xfrm>
          <a:off x="6021049" y="5310509"/>
          <a:ext cx="1620000" cy="1512098"/>
        </p:xfrm>
        <a:graphic>
          <a:graphicData uri="http://schemas.openxmlformats.org/drawingml/2006/table">
            <a:tbl>
              <a:tblPr/>
              <a:tblGrid>
                <a:gridCol w="5274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25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2098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CHUBU</a:t>
                      </a:r>
                      <a:endParaRPr kumimoji="0" lang="ja-JP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14" marR="36014" marT="35613" marB="356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endParaRPr kumimoji="0" lang="en-US" altLang="ja-JP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14" marR="36014" marT="35613" marB="356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14" marR="36014" marT="35613" marB="356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E</a:t>
                      </a:r>
                    </a:p>
                  </a:txBody>
                  <a:tcPr marL="36014" marR="36014" marT="35613" marB="356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14" marR="36014" marT="35613" marB="356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CS</a:t>
                      </a:r>
                    </a:p>
                  </a:txBody>
                  <a:tcPr marL="36014" marR="36014" marT="35613" marB="356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8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14" marR="36014" marT="35613" marB="356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L</a:t>
                      </a:r>
                    </a:p>
                  </a:txBody>
                  <a:tcPr marL="36014" marR="36014" marT="35613" marB="356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14" marR="36014" marT="35613" marB="356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T</a:t>
                      </a:r>
                    </a:p>
                  </a:txBody>
                  <a:tcPr marL="36014" marR="36014" marT="35613" marB="356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14" marR="36014" marT="35613" marB="356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435" name="Group 252">
            <a:extLst>
              <a:ext uri="{FF2B5EF4-FFF2-40B4-BE49-F238E27FC236}">
                <a16:creationId xmlns:a16="http://schemas.microsoft.com/office/drawing/2014/main" id="{C8908A8B-9B6C-4424-B5DC-6A2A5852DA26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478301711"/>
              </p:ext>
            </p:extLst>
          </p:nvPr>
        </p:nvGraphicFramePr>
        <p:xfrm>
          <a:off x="7012778" y="3736971"/>
          <a:ext cx="1620000" cy="1512000"/>
        </p:xfrm>
        <a:graphic>
          <a:graphicData uri="http://schemas.openxmlformats.org/drawingml/2006/table">
            <a:tbl>
              <a:tblPr/>
              <a:tblGrid>
                <a:gridCol w="5492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07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20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KANTO</a:t>
                      </a:r>
                      <a:endParaRPr kumimoji="0" lang="ja-JP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87" marR="35987" marT="35551" marB="3555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</a:p>
                  </a:txBody>
                  <a:tcPr marL="35987" marR="35987" marT="35551" marB="3555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87" marR="35987" marT="35551" marB="3555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E</a:t>
                      </a:r>
                    </a:p>
                  </a:txBody>
                  <a:tcPr marL="35987" marR="35987" marT="35551" marB="3555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87" marR="35987" marT="35551" marB="3555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CS</a:t>
                      </a:r>
                    </a:p>
                  </a:txBody>
                  <a:tcPr marL="35987" marR="35987" marT="35551" marB="3555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87" marR="35987" marT="35551" marB="3555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L</a:t>
                      </a:r>
                    </a:p>
                  </a:txBody>
                  <a:tcPr marL="35987" marR="35987" marT="35551" marB="3555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87" marR="35987" marT="35551" marB="3555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ST</a:t>
                      </a:r>
                    </a:p>
                  </a:txBody>
                  <a:tcPr marL="35987" marR="35987" marT="35551" marB="3555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kumimoji="0" lang="ja-JP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87" marR="35987" marT="35551" marB="3555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18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36" name="Oval 32">
            <a:extLst>
              <a:ext uri="{FF2B5EF4-FFF2-40B4-BE49-F238E27FC236}">
                <a16:creationId xmlns:a16="http://schemas.microsoft.com/office/drawing/2014/main" id="{436729A6-DBAD-45CB-A10E-662228C805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2746" y="4781460"/>
            <a:ext cx="83977" cy="80922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37" name="Oval 32">
            <a:extLst>
              <a:ext uri="{FF2B5EF4-FFF2-40B4-BE49-F238E27FC236}">
                <a16:creationId xmlns:a16="http://schemas.microsoft.com/office/drawing/2014/main" id="{436729A6-DBAD-45CB-A10E-662228C805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7376" y="5104908"/>
            <a:ext cx="83977" cy="80922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38" name="Oval 32">
            <a:extLst>
              <a:ext uri="{FF2B5EF4-FFF2-40B4-BE49-F238E27FC236}">
                <a16:creationId xmlns:a16="http://schemas.microsoft.com/office/drawing/2014/main" id="{436729A6-DBAD-45CB-A10E-662228C805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8574" y="4719803"/>
            <a:ext cx="83977" cy="80922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39" name="Oval 32">
            <a:extLst>
              <a:ext uri="{FF2B5EF4-FFF2-40B4-BE49-F238E27FC236}">
                <a16:creationId xmlns:a16="http://schemas.microsoft.com/office/drawing/2014/main" id="{109868FB-E89A-48B9-9A20-DB1112E4C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6069" y="4781458"/>
            <a:ext cx="85503" cy="80923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40" name="Oval 32">
            <a:extLst>
              <a:ext uri="{FF2B5EF4-FFF2-40B4-BE49-F238E27FC236}">
                <a16:creationId xmlns:a16="http://schemas.microsoft.com/office/drawing/2014/main" id="{7ABA33B3-6846-4985-B25C-A402B30FED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9397" y="4893428"/>
            <a:ext cx="87029" cy="82449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41" name="Oval 32">
            <a:extLst>
              <a:ext uri="{FF2B5EF4-FFF2-40B4-BE49-F238E27FC236}">
                <a16:creationId xmlns:a16="http://schemas.microsoft.com/office/drawing/2014/main" id="{2AC2D727-DD89-4AAF-B43F-2B6E9B4FA8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7816" y="5097171"/>
            <a:ext cx="87030" cy="79396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42" name="Oval 32">
            <a:extLst>
              <a:ext uri="{FF2B5EF4-FFF2-40B4-BE49-F238E27FC236}">
                <a16:creationId xmlns:a16="http://schemas.microsoft.com/office/drawing/2014/main" id="{15E78EA1-A7E9-4E1F-8A8C-D2E9D85A8F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25" y="5008740"/>
            <a:ext cx="83977" cy="79396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43" name="Oval 32">
            <a:extLst>
              <a:ext uri="{FF2B5EF4-FFF2-40B4-BE49-F238E27FC236}">
                <a16:creationId xmlns:a16="http://schemas.microsoft.com/office/drawing/2014/main" id="{62D32515-4EB4-41B8-9ECB-5DC904BDCF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3200" y="5424435"/>
            <a:ext cx="87030" cy="80923"/>
          </a:xfrm>
          <a:prstGeom prst="ellipse">
            <a:avLst/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44" name="Oval 32">
            <a:extLst>
              <a:ext uri="{FF2B5EF4-FFF2-40B4-BE49-F238E27FC236}">
                <a16:creationId xmlns:a16="http://schemas.microsoft.com/office/drawing/2014/main" id="{84132F4E-BF6C-49BA-9A78-BE2DBAF4A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7682" y="6188083"/>
            <a:ext cx="85503" cy="82449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445" name="Oval 32">
            <a:extLst>
              <a:ext uri="{FF2B5EF4-FFF2-40B4-BE49-F238E27FC236}">
                <a16:creationId xmlns:a16="http://schemas.microsoft.com/office/drawing/2014/main" id="{8EC7519E-B7EF-4C35-B69D-957ED65A5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1952" y="6188846"/>
            <a:ext cx="83977" cy="80922"/>
          </a:xfrm>
          <a:prstGeom prst="ellipse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wrap="none" lIns="82069" tIns="41036" rIns="82069" bIns="41036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167" name="Oval 32">
            <a:extLst>
              <a:ext uri="{FF2B5EF4-FFF2-40B4-BE49-F238E27FC236}">
                <a16:creationId xmlns:a16="http://schemas.microsoft.com/office/drawing/2014/main" id="{3F3132DB-CAFB-4064-B28A-A8F00B7114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85221" y="6560275"/>
            <a:ext cx="88445" cy="87941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wrap="none" lIns="84748" tIns="42374" rIns="84748" bIns="42374" anchor="ctr"/>
          <a:lstStyle/>
          <a:p>
            <a:pPr defTabSz="879470">
              <a:defRPr/>
            </a:pPr>
            <a:endParaRPr lang="ja-JP" altLang="en-US" sz="1482" dirty="0"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168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69" name="タイトル 1"/>
          <p:cNvSpPr txBox="1">
            <a:spLocks/>
          </p:cNvSpPr>
          <p:nvPr/>
        </p:nvSpPr>
        <p:spPr bwMode="auto">
          <a:xfrm>
            <a:off x="603709" y="106465"/>
            <a:ext cx="9810194" cy="81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0" rIns="0" bIns="0" numCol="1" anchor="b" anchorCtr="0" compatLnSpc="1">
            <a:prstTxWarp prst="textNoShape">
              <a:avLst/>
            </a:prstTxWarp>
          </a:bodyPr>
          <a:lstStyle>
            <a:lvl1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501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43973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87947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131920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175894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r>
              <a:rPr lang="en-US" altLang="ja-JP" sz="1731" kern="0" dirty="0">
                <a:solidFill>
                  <a:schemeClr val="tx1"/>
                </a:solidFill>
              </a:rPr>
              <a:t>Ⅰ. Introduction of MITSUI-SOKO Group</a:t>
            </a:r>
            <a:br>
              <a:rPr lang="en-US" altLang="ja-JP" kern="0" dirty="0">
                <a:solidFill>
                  <a:schemeClr val="tx1"/>
                </a:solidFill>
              </a:rPr>
            </a:br>
            <a:r>
              <a:rPr lang="en-US" altLang="ja-JP" sz="2400" kern="0" dirty="0">
                <a:solidFill>
                  <a:schemeClr val="tx1"/>
                </a:solidFill>
              </a:rPr>
              <a:t>  4. Group Network</a:t>
            </a:r>
            <a:r>
              <a:rPr lang="ja-JP" altLang="en-US" sz="2400" kern="0" dirty="0">
                <a:solidFill>
                  <a:schemeClr val="tx1"/>
                </a:solidFill>
              </a:rPr>
              <a:t>：</a:t>
            </a:r>
            <a:r>
              <a:rPr lang="en-US" altLang="ja-JP" sz="2400" kern="0" dirty="0">
                <a:solidFill>
                  <a:schemeClr val="tx1"/>
                </a:solidFill>
              </a:rPr>
              <a:t>Domestic</a:t>
            </a:r>
            <a:endParaRPr lang="ja-JP" altLang="en-US" sz="24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207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4" name="図 253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8"/>
          <a:stretch/>
        </p:blipFill>
        <p:spPr bwMode="auto">
          <a:xfrm>
            <a:off x="944479" y="1269661"/>
            <a:ext cx="8782712" cy="5424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5" name="フローチャート: 結合子 254"/>
          <p:cNvSpPr>
            <a:spLocks/>
          </p:cNvSpPr>
          <p:nvPr/>
        </p:nvSpPr>
        <p:spPr bwMode="auto">
          <a:xfrm>
            <a:off x="4145758" y="4336788"/>
            <a:ext cx="100411" cy="98934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56" name="フローチャート: 結合子 255"/>
          <p:cNvSpPr>
            <a:spLocks/>
          </p:cNvSpPr>
          <p:nvPr/>
        </p:nvSpPr>
        <p:spPr bwMode="auto">
          <a:xfrm>
            <a:off x="3924681" y="4494060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57" name="フローチャート: 結合子 256"/>
          <p:cNvSpPr>
            <a:spLocks/>
          </p:cNvSpPr>
          <p:nvPr/>
        </p:nvSpPr>
        <p:spPr bwMode="auto">
          <a:xfrm>
            <a:off x="4419334" y="3857848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58" name="フローチャート: 結合子 257"/>
          <p:cNvSpPr>
            <a:spLocks noChangeAspect="1"/>
          </p:cNvSpPr>
          <p:nvPr/>
        </p:nvSpPr>
        <p:spPr bwMode="auto">
          <a:xfrm>
            <a:off x="8643451" y="3611914"/>
            <a:ext cx="99858" cy="99858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59" name="フローチャート: 結合子 258"/>
          <p:cNvSpPr>
            <a:spLocks noChangeAspect="1"/>
          </p:cNvSpPr>
          <p:nvPr/>
        </p:nvSpPr>
        <p:spPr bwMode="auto">
          <a:xfrm>
            <a:off x="7526907" y="3202203"/>
            <a:ext cx="99858" cy="99858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60" name="フローチャート: 結合子 259"/>
          <p:cNvSpPr>
            <a:spLocks noChangeAspect="1"/>
          </p:cNvSpPr>
          <p:nvPr/>
        </p:nvSpPr>
        <p:spPr bwMode="auto">
          <a:xfrm>
            <a:off x="8390383" y="3398982"/>
            <a:ext cx="99858" cy="98390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61" name="フローチャート: 結合子 260"/>
          <p:cNvSpPr>
            <a:spLocks noChangeAspect="1"/>
          </p:cNvSpPr>
          <p:nvPr/>
        </p:nvSpPr>
        <p:spPr bwMode="auto">
          <a:xfrm>
            <a:off x="7945428" y="3692681"/>
            <a:ext cx="99858" cy="98390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62" name="フローチャート: 結合子 261"/>
          <p:cNvSpPr>
            <a:spLocks noChangeAspect="1"/>
          </p:cNvSpPr>
          <p:nvPr/>
        </p:nvSpPr>
        <p:spPr bwMode="auto">
          <a:xfrm>
            <a:off x="7594458" y="3626600"/>
            <a:ext cx="99858" cy="99858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63" name="フローチャート: 結合子 262"/>
          <p:cNvSpPr>
            <a:spLocks/>
          </p:cNvSpPr>
          <p:nvPr/>
        </p:nvSpPr>
        <p:spPr bwMode="auto">
          <a:xfrm>
            <a:off x="4658575" y="3554924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64" name="フローチャート: 結合子 263"/>
          <p:cNvSpPr>
            <a:spLocks/>
          </p:cNvSpPr>
          <p:nvPr/>
        </p:nvSpPr>
        <p:spPr bwMode="auto">
          <a:xfrm>
            <a:off x="1765992" y="2924657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65" name="フローチャート: 結合子 264"/>
          <p:cNvSpPr>
            <a:spLocks/>
          </p:cNvSpPr>
          <p:nvPr/>
        </p:nvSpPr>
        <p:spPr bwMode="auto">
          <a:xfrm>
            <a:off x="4015728" y="4600211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66" name="フローチャート: 結合子 265"/>
          <p:cNvSpPr>
            <a:spLocks/>
          </p:cNvSpPr>
          <p:nvPr/>
        </p:nvSpPr>
        <p:spPr bwMode="auto">
          <a:xfrm>
            <a:off x="1754244" y="3072975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67" name="フローチャート: 結合子 266"/>
          <p:cNvSpPr>
            <a:spLocks/>
          </p:cNvSpPr>
          <p:nvPr/>
        </p:nvSpPr>
        <p:spPr bwMode="auto">
          <a:xfrm>
            <a:off x="4228661" y="3319682"/>
            <a:ext cx="100411" cy="100411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68" name="フローチャート: 結合子 267"/>
          <p:cNvSpPr>
            <a:spLocks noChangeAspect="1"/>
          </p:cNvSpPr>
          <p:nvPr/>
        </p:nvSpPr>
        <p:spPr bwMode="auto">
          <a:xfrm>
            <a:off x="8169637" y="3745985"/>
            <a:ext cx="101325" cy="98390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69" name="フローチャート: 結合子 268"/>
          <p:cNvSpPr>
            <a:spLocks noChangeAspect="1"/>
          </p:cNvSpPr>
          <p:nvPr/>
        </p:nvSpPr>
        <p:spPr bwMode="auto">
          <a:xfrm>
            <a:off x="8176245" y="4105746"/>
            <a:ext cx="99858" cy="98390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70" name="フローチャート: 結合子 269"/>
          <p:cNvSpPr>
            <a:spLocks noChangeAspect="1"/>
          </p:cNvSpPr>
          <p:nvPr/>
        </p:nvSpPr>
        <p:spPr bwMode="auto">
          <a:xfrm>
            <a:off x="8501989" y="3485623"/>
            <a:ext cx="99858" cy="99858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71" name="フローチャート: 結合子 270"/>
          <p:cNvSpPr>
            <a:spLocks noChangeAspect="1"/>
          </p:cNvSpPr>
          <p:nvPr/>
        </p:nvSpPr>
        <p:spPr bwMode="auto">
          <a:xfrm>
            <a:off x="8385977" y="3548769"/>
            <a:ext cx="101326" cy="98390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72" name="フローチャート: 結合子 271"/>
          <p:cNvSpPr>
            <a:spLocks noChangeAspect="1"/>
          </p:cNvSpPr>
          <p:nvPr/>
        </p:nvSpPr>
        <p:spPr bwMode="auto">
          <a:xfrm>
            <a:off x="4379685" y="3859317"/>
            <a:ext cx="99858" cy="98389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73" name="フローチャート: 結合子 272"/>
          <p:cNvSpPr>
            <a:spLocks/>
          </p:cNvSpPr>
          <p:nvPr/>
        </p:nvSpPr>
        <p:spPr bwMode="auto">
          <a:xfrm>
            <a:off x="4271082" y="3997498"/>
            <a:ext cx="100411" cy="100411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74" name="フローチャート: 結合子 273"/>
          <p:cNvSpPr>
            <a:spLocks/>
          </p:cNvSpPr>
          <p:nvPr/>
        </p:nvSpPr>
        <p:spPr bwMode="auto">
          <a:xfrm>
            <a:off x="4075938" y="3606040"/>
            <a:ext cx="100411" cy="100411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75" name="フローチャート: 結合子 274"/>
          <p:cNvSpPr>
            <a:spLocks noChangeAspect="1"/>
          </p:cNvSpPr>
          <p:nvPr/>
        </p:nvSpPr>
        <p:spPr bwMode="auto">
          <a:xfrm>
            <a:off x="7634107" y="3695619"/>
            <a:ext cx="99858" cy="98390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76" name="フローチャート: 結合子 275"/>
          <p:cNvSpPr>
            <a:spLocks noChangeAspect="1"/>
          </p:cNvSpPr>
          <p:nvPr/>
        </p:nvSpPr>
        <p:spPr bwMode="auto">
          <a:xfrm>
            <a:off x="3962864" y="3855684"/>
            <a:ext cx="98390" cy="98389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77" name="フローチャート: 結合子 276"/>
          <p:cNvSpPr>
            <a:spLocks/>
          </p:cNvSpPr>
          <p:nvPr/>
        </p:nvSpPr>
        <p:spPr bwMode="auto">
          <a:xfrm>
            <a:off x="4551730" y="3272669"/>
            <a:ext cx="100411" cy="100411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78" name="フローチャート: 結合子 31"/>
          <p:cNvSpPr>
            <a:spLocks/>
          </p:cNvSpPr>
          <p:nvPr/>
        </p:nvSpPr>
        <p:spPr bwMode="auto">
          <a:xfrm>
            <a:off x="4087685" y="4854262"/>
            <a:ext cx="100411" cy="100411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79" name="フローチャート: 結合子 33"/>
          <p:cNvSpPr>
            <a:spLocks noChangeAspect="1"/>
          </p:cNvSpPr>
          <p:nvPr/>
        </p:nvSpPr>
        <p:spPr bwMode="auto">
          <a:xfrm>
            <a:off x="8613595" y="3253600"/>
            <a:ext cx="99858" cy="98389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80" name="フローチャート: 結合子 34"/>
          <p:cNvSpPr>
            <a:spLocks noChangeAspect="1"/>
          </p:cNvSpPr>
          <p:nvPr/>
        </p:nvSpPr>
        <p:spPr bwMode="auto">
          <a:xfrm>
            <a:off x="8524016" y="3350522"/>
            <a:ext cx="99858" cy="98389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81" name="フローチャート: 結合子 35"/>
          <p:cNvSpPr>
            <a:spLocks noChangeAspect="1"/>
          </p:cNvSpPr>
          <p:nvPr/>
        </p:nvSpPr>
        <p:spPr bwMode="auto">
          <a:xfrm>
            <a:off x="9446232" y="5319777"/>
            <a:ext cx="99858" cy="98390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82" name="フローチャート: 結合子 36"/>
          <p:cNvSpPr>
            <a:spLocks/>
          </p:cNvSpPr>
          <p:nvPr/>
        </p:nvSpPr>
        <p:spPr bwMode="auto">
          <a:xfrm>
            <a:off x="1209430" y="2977522"/>
            <a:ext cx="100411" cy="100411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83" name="フローチャート: 結合子 37"/>
          <p:cNvSpPr>
            <a:spLocks/>
          </p:cNvSpPr>
          <p:nvPr/>
        </p:nvSpPr>
        <p:spPr bwMode="auto">
          <a:xfrm>
            <a:off x="1441453" y="3043604"/>
            <a:ext cx="100411" cy="100411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84" name="フローチャート: 結合子 38"/>
          <p:cNvSpPr>
            <a:spLocks/>
          </p:cNvSpPr>
          <p:nvPr/>
        </p:nvSpPr>
        <p:spPr bwMode="auto">
          <a:xfrm>
            <a:off x="1711656" y="3086191"/>
            <a:ext cx="100411" cy="100411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85" name="フローチャート: 結合子 39"/>
          <p:cNvSpPr>
            <a:spLocks/>
          </p:cNvSpPr>
          <p:nvPr/>
        </p:nvSpPr>
        <p:spPr bwMode="auto">
          <a:xfrm>
            <a:off x="2003888" y="5566483"/>
            <a:ext cx="100411" cy="100411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1141" dirty="0">
              <a:latin typeface="Meiryo UI"/>
              <a:ea typeface="Meiryo UI"/>
            </a:endParaRPr>
          </a:p>
        </p:txBody>
      </p:sp>
      <p:sp>
        <p:nvSpPr>
          <p:cNvPr id="286" name="フローチャート: 結合子 40"/>
          <p:cNvSpPr>
            <a:spLocks/>
          </p:cNvSpPr>
          <p:nvPr/>
        </p:nvSpPr>
        <p:spPr bwMode="auto">
          <a:xfrm>
            <a:off x="1996545" y="3384296"/>
            <a:ext cx="100411" cy="100411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287" name="正方形/長方形 42"/>
          <p:cNvSpPr>
            <a:spLocks noChangeArrowheads="1"/>
          </p:cNvSpPr>
          <p:nvPr/>
        </p:nvSpPr>
        <p:spPr bwMode="auto">
          <a:xfrm>
            <a:off x="3581196" y="2156670"/>
            <a:ext cx="1879017" cy="963334"/>
          </a:xfrm>
          <a:prstGeom prst="rect">
            <a:avLst/>
          </a:prstGeom>
          <a:solidFill>
            <a:srgbClr val="31859C"/>
          </a:solidFill>
          <a:ln w="12700">
            <a:solidFill>
              <a:schemeClr val="accent1"/>
            </a:solidFill>
          </a:ln>
          <a:effectLst/>
        </p:spPr>
        <p:txBody>
          <a:bodyPr lIns="73774" tIns="36887" rIns="73774" bIns="36887" anchor="ctr"/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hina and Hong Kong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C</a:t>
            </a:r>
            <a:r>
              <a:rPr lang="ja-JP" altLang="en-US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1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 err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E</a:t>
            </a:r>
            <a:r>
              <a:rPr lang="ja-JP" altLang="en-US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9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T</a:t>
            </a:r>
            <a:r>
              <a:rPr lang="ja-JP" altLang="en-US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9</a:t>
            </a:r>
          </a:p>
        </p:txBody>
      </p:sp>
      <p:sp>
        <p:nvSpPr>
          <p:cNvPr id="288" name="正方形/長方形 43"/>
          <p:cNvSpPr>
            <a:spLocks noChangeArrowheads="1"/>
          </p:cNvSpPr>
          <p:nvPr/>
        </p:nvSpPr>
        <p:spPr bwMode="auto">
          <a:xfrm>
            <a:off x="7043230" y="2061802"/>
            <a:ext cx="2609070" cy="1068568"/>
          </a:xfrm>
          <a:prstGeom prst="rect">
            <a:avLst/>
          </a:prstGeom>
          <a:solidFill>
            <a:srgbClr val="31859C"/>
          </a:solidFill>
          <a:ln w="12700">
            <a:solidFill>
              <a:schemeClr val="accent1"/>
            </a:solidFill>
          </a:ln>
          <a:effectLst/>
        </p:spPr>
        <p:txBody>
          <a:bodyPr lIns="73774" tIns="36887" rIns="73774" bIns="36887" anchor="ctr"/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mericas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USA, Canada, Mexico and Brazil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C</a:t>
            </a:r>
            <a:r>
              <a:rPr lang="ja-JP" altLang="en-US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7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E</a:t>
            </a:r>
            <a:r>
              <a:rPr lang="ja-JP" altLang="en-US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1</a:t>
            </a:r>
            <a:endParaRPr lang="ja-JP" altLang="en-US" sz="1141" b="1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9" name="正方形/長方形 45"/>
          <p:cNvSpPr>
            <a:spLocks noChangeArrowheads="1"/>
          </p:cNvSpPr>
          <p:nvPr/>
        </p:nvSpPr>
        <p:spPr bwMode="auto">
          <a:xfrm>
            <a:off x="2967223" y="5183661"/>
            <a:ext cx="2775460" cy="1446471"/>
          </a:xfrm>
          <a:prstGeom prst="rect">
            <a:avLst/>
          </a:prstGeom>
          <a:solidFill>
            <a:srgbClr val="31859C"/>
          </a:solidFill>
          <a:ln w="12700">
            <a:solidFill>
              <a:schemeClr val="accent1"/>
            </a:solidFill>
          </a:ln>
          <a:effectLst/>
        </p:spPr>
        <p:txBody>
          <a:bodyPr lIns="73774" tIns="36887" rIns="73774" bIns="36887" anchor="ctr"/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East South Asia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Singapore, Thailand, Malaysia, Indonesia, Vietnam and India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C</a:t>
            </a:r>
            <a:r>
              <a:rPr lang="ja-JP" altLang="en-US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51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E</a:t>
            </a:r>
            <a:r>
              <a:rPr lang="ja-JP" altLang="en-US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 err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CS</a:t>
            </a:r>
            <a:r>
              <a:rPr lang="ja-JP" altLang="en-US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endParaRPr lang="ja-JP" altLang="en-US" sz="1141" b="1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0" name="正方形/長方形 46"/>
          <p:cNvSpPr>
            <a:spLocks noChangeArrowheads="1"/>
          </p:cNvSpPr>
          <p:nvPr/>
        </p:nvSpPr>
        <p:spPr bwMode="auto">
          <a:xfrm>
            <a:off x="1014729" y="4184591"/>
            <a:ext cx="1232069" cy="936902"/>
          </a:xfrm>
          <a:prstGeom prst="rect">
            <a:avLst/>
          </a:prstGeom>
          <a:solidFill>
            <a:srgbClr val="31859C"/>
          </a:solidFill>
          <a:ln w="12700">
            <a:solidFill>
              <a:schemeClr val="accent1"/>
            </a:solidFill>
          </a:ln>
          <a:effectLst/>
        </p:spPr>
        <p:txBody>
          <a:bodyPr lIns="73774" tIns="36887" rIns="73774" bIns="36887" anchor="ctr"/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frica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South Africa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 err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E</a:t>
            </a:r>
            <a:r>
              <a:rPr lang="ja-JP" altLang="en-US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endParaRPr lang="ja-JP" altLang="en-US" sz="1141" b="1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1" name="正方形/長方形 47"/>
          <p:cNvSpPr>
            <a:spLocks noChangeArrowheads="1"/>
          </p:cNvSpPr>
          <p:nvPr/>
        </p:nvSpPr>
        <p:spPr bwMode="auto">
          <a:xfrm>
            <a:off x="1014729" y="1336588"/>
            <a:ext cx="2529137" cy="1301089"/>
          </a:xfrm>
          <a:prstGeom prst="rect">
            <a:avLst/>
          </a:prstGeom>
          <a:solidFill>
            <a:srgbClr val="31859C"/>
          </a:solidFill>
          <a:ln w="12700">
            <a:solidFill>
              <a:schemeClr val="accent1"/>
            </a:solidFill>
          </a:ln>
          <a:effectLst/>
        </p:spPr>
        <p:txBody>
          <a:bodyPr lIns="73774" tIns="36887" rIns="73774" bIns="36887" anchor="ctr"/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Europe and Middle East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zech, Denmark, Poland, Belgium, UK, Turkey, Hungary and UAE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C</a:t>
            </a:r>
            <a:r>
              <a:rPr lang="ja-JP" altLang="en-US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9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 err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E</a:t>
            </a:r>
            <a:r>
              <a:rPr lang="ja-JP" altLang="en-US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</a:t>
            </a:r>
            <a:endParaRPr lang="ja-JP" altLang="en-US" sz="1141" b="1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2" name="正方形/長方形 63"/>
          <p:cNvSpPr>
            <a:spLocks noChangeArrowheads="1"/>
          </p:cNvSpPr>
          <p:nvPr/>
        </p:nvSpPr>
        <p:spPr bwMode="auto">
          <a:xfrm>
            <a:off x="1746395" y="5535461"/>
            <a:ext cx="240450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DUR</a:t>
            </a:r>
          </a:p>
        </p:txBody>
      </p:sp>
      <p:sp>
        <p:nvSpPr>
          <p:cNvPr id="293" name="正方形/長方形 65"/>
          <p:cNvSpPr>
            <a:spLocks noChangeArrowheads="1"/>
          </p:cNvSpPr>
          <p:nvPr/>
        </p:nvSpPr>
        <p:spPr bwMode="auto">
          <a:xfrm>
            <a:off x="5286931" y="2930978"/>
            <a:ext cx="1472472" cy="917811"/>
          </a:xfrm>
          <a:prstGeom prst="rect">
            <a:avLst/>
          </a:prstGeom>
          <a:solidFill>
            <a:srgbClr val="31859C"/>
          </a:solidFill>
          <a:ln w="12700">
            <a:solidFill>
              <a:schemeClr val="accent1"/>
            </a:solidFill>
          </a:ln>
          <a:effectLst/>
        </p:spPr>
        <p:txBody>
          <a:bodyPr lIns="73774" tIns="36887" rIns="73774" bIns="36887" anchor="ctr"/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North East Asia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dirty="0" err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S.Korea</a:t>
            </a:r>
            <a:r>
              <a:rPr lang="en-US" altLang="ja-JP" sz="114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and Taiwan</a:t>
            </a:r>
          </a:p>
          <a:p>
            <a:pPr defTabSz="835907">
              <a:spcAft>
                <a:spcPct val="30000"/>
              </a:spcAft>
              <a:defRPr/>
            </a:pP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SC</a:t>
            </a:r>
            <a:r>
              <a:rPr lang="ja-JP" altLang="en-US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141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8</a:t>
            </a:r>
          </a:p>
        </p:txBody>
      </p:sp>
      <p:sp>
        <p:nvSpPr>
          <p:cNvPr id="294" name="正方形/長方形 58"/>
          <p:cNvSpPr>
            <a:spLocks noChangeArrowheads="1"/>
          </p:cNvSpPr>
          <p:nvPr/>
        </p:nvSpPr>
        <p:spPr bwMode="auto">
          <a:xfrm>
            <a:off x="8165592" y="3371633"/>
            <a:ext cx="201978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CHI</a:t>
            </a:r>
          </a:p>
        </p:txBody>
      </p:sp>
      <p:sp>
        <p:nvSpPr>
          <p:cNvPr id="295" name="正方形/長方形 58"/>
          <p:cNvSpPr>
            <a:spLocks noChangeArrowheads="1"/>
          </p:cNvSpPr>
          <p:nvPr/>
        </p:nvSpPr>
        <p:spPr bwMode="auto">
          <a:xfrm>
            <a:off x="8750184" y="3593283"/>
            <a:ext cx="221214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SAV</a:t>
            </a:r>
          </a:p>
        </p:txBody>
      </p:sp>
      <p:sp>
        <p:nvSpPr>
          <p:cNvPr id="296" name="正方形/長方形 58"/>
          <p:cNvSpPr>
            <a:spLocks noChangeArrowheads="1"/>
          </p:cNvSpPr>
          <p:nvPr/>
        </p:nvSpPr>
        <p:spPr bwMode="auto">
          <a:xfrm>
            <a:off x="7940008" y="3807856"/>
            <a:ext cx="197170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ELP</a:t>
            </a:r>
          </a:p>
        </p:txBody>
      </p:sp>
      <p:sp>
        <p:nvSpPr>
          <p:cNvPr id="297" name="正方形/長方形 58"/>
          <p:cNvSpPr>
            <a:spLocks noChangeArrowheads="1"/>
          </p:cNvSpPr>
          <p:nvPr/>
        </p:nvSpPr>
        <p:spPr bwMode="auto">
          <a:xfrm>
            <a:off x="7264732" y="3178384"/>
            <a:ext cx="214802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SEA</a:t>
            </a:r>
          </a:p>
        </p:txBody>
      </p:sp>
      <p:sp>
        <p:nvSpPr>
          <p:cNvPr id="298" name="正方形/長方形 58"/>
          <p:cNvSpPr>
            <a:spLocks noChangeArrowheads="1"/>
          </p:cNvSpPr>
          <p:nvPr/>
        </p:nvSpPr>
        <p:spPr bwMode="auto">
          <a:xfrm>
            <a:off x="7362389" y="3535552"/>
            <a:ext cx="211596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LAX</a:t>
            </a:r>
          </a:p>
        </p:txBody>
      </p:sp>
      <p:sp>
        <p:nvSpPr>
          <p:cNvPr id="299" name="正方形/長方形 59"/>
          <p:cNvSpPr>
            <a:spLocks noChangeArrowheads="1"/>
          </p:cNvSpPr>
          <p:nvPr/>
        </p:nvSpPr>
        <p:spPr bwMode="auto">
          <a:xfrm>
            <a:off x="7386657" y="3741235"/>
            <a:ext cx="227626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SAN</a:t>
            </a:r>
          </a:p>
        </p:txBody>
      </p:sp>
      <p:sp>
        <p:nvSpPr>
          <p:cNvPr id="300" name="正方形/長方形 60"/>
          <p:cNvSpPr>
            <a:spLocks noChangeArrowheads="1"/>
          </p:cNvSpPr>
          <p:nvPr/>
        </p:nvSpPr>
        <p:spPr bwMode="auto">
          <a:xfrm>
            <a:off x="8305670" y="3753901"/>
            <a:ext cx="216406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SAT</a:t>
            </a:r>
          </a:p>
        </p:txBody>
      </p:sp>
      <p:sp>
        <p:nvSpPr>
          <p:cNvPr id="301" name="正方形/長方形 61"/>
          <p:cNvSpPr>
            <a:spLocks noChangeArrowheads="1"/>
          </p:cNvSpPr>
          <p:nvPr/>
        </p:nvSpPr>
        <p:spPr bwMode="auto">
          <a:xfrm>
            <a:off x="8315780" y="4083378"/>
            <a:ext cx="235642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MEX</a:t>
            </a:r>
          </a:p>
        </p:txBody>
      </p:sp>
      <p:sp>
        <p:nvSpPr>
          <p:cNvPr id="302" name="正方形/長方形 62"/>
          <p:cNvSpPr>
            <a:spLocks noChangeArrowheads="1"/>
          </p:cNvSpPr>
          <p:nvPr/>
        </p:nvSpPr>
        <p:spPr bwMode="auto">
          <a:xfrm>
            <a:off x="8785229" y="3231583"/>
            <a:ext cx="213200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YYZ</a:t>
            </a:r>
          </a:p>
        </p:txBody>
      </p:sp>
      <p:sp>
        <p:nvSpPr>
          <p:cNvPr id="303" name="正方形/長方形 63"/>
          <p:cNvSpPr>
            <a:spLocks noChangeArrowheads="1"/>
          </p:cNvSpPr>
          <p:nvPr/>
        </p:nvSpPr>
        <p:spPr bwMode="auto">
          <a:xfrm>
            <a:off x="8257580" y="3239838"/>
            <a:ext cx="264496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DTW</a:t>
            </a:r>
          </a:p>
        </p:txBody>
      </p:sp>
      <p:sp>
        <p:nvSpPr>
          <p:cNvPr id="304" name="正方形/長方形 58"/>
          <p:cNvSpPr>
            <a:spLocks noChangeArrowheads="1"/>
          </p:cNvSpPr>
          <p:nvPr/>
        </p:nvSpPr>
        <p:spPr bwMode="auto">
          <a:xfrm>
            <a:off x="8627212" y="3426223"/>
            <a:ext cx="230832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CVG</a:t>
            </a:r>
          </a:p>
        </p:txBody>
      </p:sp>
      <p:sp>
        <p:nvSpPr>
          <p:cNvPr id="305" name="正方形/長方形 304"/>
          <p:cNvSpPr>
            <a:spLocks noChangeArrowheads="1"/>
          </p:cNvSpPr>
          <p:nvPr/>
        </p:nvSpPr>
        <p:spPr bwMode="auto">
          <a:xfrm>
            <a:off x="8138820" y="3536449"/>
            <a:ext cx="219612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EVV</a:t>
            </a:r>
          </a:p>
        </p:txBody>
      </p:sp>
      <p:sp>
        <p:nvSpPr>
          <p:cNvPr id="306" name="正方形/長方形 67"/>
          <p:cNvSpPr>
            <a:spLocks noChangeArrowheads="1"/>
          </p:cNvSpPr>
          <p:nvPr/>
        </p:nvSpPr>
        <p:spPr bwMode="auto">
          <a:xfrm>
            <a:off x="4745281" y="3464110"/>
            <a:ext cx="221214" cy="146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951" dirty="0">
                <a:latin typeface="Meiryo UI"/>
                <a:ea typeface="Meiryo UI"/>
              </a:rPr>
              <a:t>ICN</a:t>
            </a:r>
          </a:p>
        </p:txBody>
      </p:sp>
      <p:sp>
        <p:nvSpPr>
          <p:cNvPr id="307" name="正方形/長方形 68"/>
          <p:cNvSpPr>
            <a:spLocks noChangeArrowheads="1"/>
          </p:cNvSpPr>
          <p:nvPr/>
        </p:nvSpPr>
        <p:spPr bwMode="auto">
          <a:xfrm>
            <a:off x="4755476" y="3571520"/>
            <a:ext cx="218008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PUS</a:t>
            </a:r>
          </a:p>
        </p:txBody>
      </p:sp>
      <p:sp>
        <p:nvSpPr>
          <p:cNvPr id="308" name="正方形/長方形 70"/>
          <p:cNvSpPr>
            <a:spLocks noChangeArrowheads="1"/>
          </p:cNvSpPr>
          <p:nvPr/>
        </p:nvSpPr>
        <p:spPr bwMode="auto">
          <a:xfrm>
            <a:off x="4600191" y="3172833"/>
            <a:ext cx="240450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CGQ</a:t>
            </a:r>
          </a:p>
        </p:txBody>
      </p:sp>
      <p:sp>
        <p:nvSpPr>
          <p:cNvPr id="309" name="正方形/長方形 71"/>
          <p:cNvSpPr>
            <a:spLocks noChangeArrowheads="1"/>
          </p:cNvSpPr>
          <p:nvPr/>
        </p:nvSpPr>
        <p:spPr bwMode="auto">
          <a:xfrm>
            <a:off x="4062911" y="3201144"/>
            <a:ext cx="208390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PEK</a:t>
            </a:r>
          </a:p>
        </p:txBody>
      </p:sp>
      <p:sp>
        <p:nvSpPr>
          <p:cNvPr id="310" name="正方形/長方形 73"/>
          <p:cNvSpPr>
            <a:spLocks noChangeArrowheads="1"/>
          </p:cNvSpPr>
          <p:nvPr/>
        </p:nvSpPr>
        <p:spPr bwMode="auto">
          <a:xfrm>
            <a:off x="4495764" y="3789602"/>
            <a:ext cx="227626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SHA</a:t>
            </a:r>
          </a:p>
        </p:txBody>
      </p:sp>
      <p:sp>
        <p:nvSpPr>
          <p:cNvPr id="311" name="正方形/長方形 76"/>
          <p:cNvSpPr>
            <a:spLocks noChangeArrowheads="1"/>
          </p:cNvSpPr>
          <p:nvPr/>
        </p:nvSpPr>
        <p:spPr bwMode="auto">
          <a:xfrm>
            <a:off x="3716628" y="3811629"/>
            <a:ext cx="227626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CTU</a:t>
            </a:r>
          </a:p>
        </p:txBody>
      </p:sp>
      <p:sp>
        <p:nvSpPr>
          <p:cNvPr id="312" name="正方形/長方形 77"/>
          <p:cNvSpPr>
            <a:spLocks noChangeArrowheads="1"/>
          </p:cNvSpPr>
          <p:nvPr/>
        </p:nvSpPr>
        <p:spPr bwMode="auto">
          <a:xfrm>
            <a:off x="3838188" y="3584709"/>
            <a:ext cx="189154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XIY</a:t>
            </a:r>
          </a:p>
        </p:txBody>
      </p:sp>
      <p:sp>
        <p:nvSpPr>
          <p:cNvPr id="313" name="フローチャート: 結合子 56"/>
          <p:cNvSpPr>
            <a:spLocks noChangeAspect="1"/>
          </p:cNvSpPr>
          <p:nvPr/>
        </p:nvSpPr>
        <p:spPr bwMode="auto">
          <a:xfrm>
            <a:off x="3879160" y="4523336"/>
            <a:ext cx="101908" cy="100411"/>
          </a:xfrm>
          <a:prstGeom prst="flowChartConnector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14" name="正方形/長方形 87"/>
          <p:cNvSpPr>
            <a:spLocks noChangeArrowheads="1"/>
          </p:cNvSpPr>
          <p:nvPr/>
        </p:nvSpPr>
        <p:spPr bwMode="auto">
          <a:xfrm>
            <a:off x="4057380" y="3972146"/>
            <a:ext cx="232436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CAN</a:t>
            </a:r>
          </a:p>
        </p:txBody>
      </p:sp>
      <p:sp>
        <p:nvSpPr>
          <p:cNvPr id="315" name="フローチャート: 結合子 13"/>
          <p:cNvSpPr>
            <a:spLocks/>
          </p:cNvSpPr>
          <p:nvPr/>
        </p:nvSpPr>
        <p:spPr bwMode="auto">
          <a:xfrm>
            <a:off x="4478305" y="3512056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16" name="フローチャート: 結合子 13"/>
          <p:cNvSpPr>
            <a:spLocks/>
          </p:cNvSpPr>
          <p:nvPr/>
        </p:nvSpPr>
        <p:spPr bwMode="auto">
          <a:xfrm>
            <a:off x="4400938" y="3594292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17" name="フローチャート: 結合子 13"/>
          <p:cNvSpPr>
            <a:spLocks/>
          </p:cNvSpPr>
          <p:nvPr/>
        </p:nvSpPr>
        <p:spPr bwMode="auto">
          <a:xfrm>
            <a:off x="4510613" y="3970227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18" name="正方形/長方形 94"/>
          <p:cNvSpPr>
            <a:spLocks noChangeArrowheads="1"/>
          </p:cNvSpPr>
          <p:nvPr/>
        </p:nvSpPr>
        <p:spPr bwMode="auto">
          <a:xfrm>
            <a:off x="4122660" y="4574386"/>
            <a:ext cx="197170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SIN</a:t>
            </a:r>
          </a:p>
        </p:txBody>
      </p:sp>
      <p:sp>
        <p:nvSpPr>
          <p:cNvPr id="319" name="フローチャート: 結合子 15"/>
          <p:cNvSpPr>
            <a:spLocks/>
          </p:cNvSpPr>
          <p:nvPr/>
        </p:nvSpPr>
        <p:spPr bwMode="auto">
          <a:xfrm>
            <a:off x="4294743" y="4899784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20" name="フローチャート: 結合子 15"/>
          <p:cNvSpPr>
            <a:spLocks/>
          </p:cNvSpPr>
          <p:nvPr/>
        </p:nvSpPr>
        <p:spPr bwMode="auto">
          <a:xfrm>
            <a:off x="4036287" y="4849856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21" name="正方形/長方形 97"/>
          <p:cNvSpPr>
            <a:spLocks noChangeArrowheads="1"/>
          </p:cNvSpPr>
          <p:nvPr/>
        </p:nvSpPr>
        <p:spPr bwMode="auto">
          <a:xfrm>
            <a:off x="4414778" y="4865496"/>
            <a:ext cx="227626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SUB</a:t>
            </a:r>
          </a:p>
        </p:txBody>
      </p:sp>
      <p:sp>
        <p:nvSpPr>
          <p:cNvPr id="322" name="正方形/長方形 98"/>
          <p:cNvSpPr>
            <a:spLocks noChangeArrowheads="1"/>
          </p:cNvSpPr>
          <p:nvPr/>
        </p:nvSpPr>
        <p:spPr bwMode="auto">
          <a:xfrm>
            <a:off x="3770052" y="4852735"/>
            <a:ext cx="229230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CGK</a:t>
            </a:r>
          </a:p>
        </p:txBody>
      </p:sp>
      <p:sp>
        <p:nvSpPr>
          <p:cNvPr id="323" name="正方形/長方形 99"/>
          <p:cNvSpPr>
            <a:spLocks noChangeArrowheads="1"/>
          </p:cNvSpPr>
          <p:nvPr/>
        </p:nvSpPr>
        <p:spPr bwMode="auto">
          <a:xfrm>
            <a:off x="4249083" y="4319651"/>
            <a:ext cx="232436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SGN</a:t>
            </a:r>
          </a:p>
        </p:txBody>
      </p:sp>
      <p:sp>
        <p:nvSpPr>
          <p:cNvPr id="324" name="正方形/長方形 100"/>
          <p:cNvSpPr>
            <a:spLocks noChangeArrowheads="1"/>
          </p:cNvSpPr>
          <p:nvPr/>
        </p:nvSpPr>
        <p:spPr bwMode="auto">
          <a:xfrm>
            <a:off x="3626148" y="4544881"/>
            <a:ext cx="218008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KUL</a:t>
            </a:r>
          </a:p>
        </p:txBody>
      </p:sp>
      <p:sp>
        <p:nvSpPr>
          <p:cNvPr id="325" name="正方形/長方形 101"/>
          <p:cNvSpPr>
            <a:spLocks noChangeArrowheads="1"/>
          </p:cNvSpPr>
          <p:nvPr/>
        </p:nvSpPr>
        <p:spPr bwMode="auto">
          <a:xfrm>
            <a:off x="3707223" y="4659534"/>
            <a:ext cx="206788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JHB</a:t>
            </a:r>
          </a:p>
        </p:txBody>
      </p:sp>
      <p:sp>
        <p:nvSpPr>
          <p:cNvPr id="326" name="正方形/長方形 102"/>
          <p:cNvSpPr>
            <a:spLocks noChangeArrowheads="1"/>
          </p:cNvSpPr>
          <p:nvPr/>
        </p:nvSpPr>
        <p:spPr bwMode="auto">
          <a:xfrm>
            <a:off x="3659044" y="4088869"/>
            <a:ext cx="222818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BKK</a:t>
            </a:r>
          </a:p>
        </p:txBody>
      </p:sp>
      <p:sp>
        <p:nvSpPr>
          <p:cNvPr id="327" name="正方形/長方形 63"/>
          <p:cNvSpPr>
            <a:spLocks noChangeArrowheads="1"/>
          </p:cNvSpPr>
          <p:nvPr/>
        </p:nvSpPr>
        <p:spPr bwMode="auto">
          <a:xfrm>
            <a:off x="2097175" y="3354951"/>
            <a:ext cx="185948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IST</a:t>
            </a:r>
          </a:p>
        </p:txBody>
      </p:sp>
      <p:sp>
        <p:nvSpPr>
          <p:cNvPr id="328" name="フローチャート: 結合子 14"/>
          <p:cNvSpPr>
            <a:spLocks/>
          </p:cNvSpPr>
          <p:nvPr/>
        </p:nvSpPr>
        <p:spPr bwMode="auto">
          <a:xfrm>
            <a:off x="1491659" y="2859214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29" name="フローチャート: 結合子 14"/>
          <p:cNvSpPr>
            <a:spLocks/>
          </p:cNvSpPr>
          <p:nvPr/>
        </p:nvSpPr>
        <p:spPr bwMode="auto">
          <a:xfrm>
            <a:off x="1614736" y="2895223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30" name="正方形/長方形 63"/>
          <p:cNvSpPr>
            <a:spLocks noChangeArrowheads="1"/>
          </p:cNvSpPr>
          <p:nvPr/>
        </p:nvSpPr>
        <p:spPr bwMode="auto">
          <a:xfrm>
            <a:off x="1297411" y="3132479"/>
            <a:ext cx="232436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BRU</a:t>
            </a:r>
          </a:p>
        </p:txBody>
      </p:sp>
      <p:sp>
        <p:nvSpPr>
          <p:cNvPr id="331" name="正方形/長方形 63"/>
          <p:cNvSpPr>
            <a:spLocks noChangeArrowheads="1"/>
          </p:cNvSpPr>
          <p:nvPr/>
        </p:nvSpPr>
        <p:spPr bwMode="auto">
          <a:xfrm>
            <a:off x="1866620" y="3072999"/>
            <a:ext cx="221214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PRG</a:t>
            </a:r>
          </a:p>
        </p:txBody>
      </p:sp>
      <p:sp>
        <p:nvSpPr>
          <p:cNvPr id="332" name="正方形/長方形 63"/>
          <p:cNvSpPr>
            <a:spLocks noChangeArrowheads="1"/>
          </p:cNvSpPr>
          <p:nvPr/>
        </p:nvSpPr>
        <p:spPr bwMode="auto">
          <a:xfrm>
            <a:off x="1898928" y="2917338"/>
            <a:ext cx="214802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SZZ</a:t>
            </a:r>
          </a:p>
        </p:txBody>
      </p:sp>
      <p:sp>
        <p:nvSpPr>
          <p:cNvPr id="333" name="正方形/長方形 63"/>
          <p:cNvSpPr>
            <a:spLocks noChangeArrowheads="1"/>
          </p:cNvSpPr>
          <p:nvPr/>
        </p:nvSpPr>
        <p:spPr bwMode="auto">
          <a:xfrm>
            <a:off x="1674248" y="2785174"/>
            <a:ext cx="222818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CPH</a:t>
            </a:r>
          </a:p>
        </p:txBody>
      </p:sp>
      <p:sp>
        <p:nvSpPr>
          <p:cNvPr id="334" name="正方形/長方形 63"/>
          <p:cNvSpPr>
            <a:spLocks noChangeArrowheads="1"/>
          </p:cNvSpPr>
          <p:nvPr/>
        </p:nvSpPr>
        <p:spPr bwMode="auto">
          <a:xfrm>
            <a:off x="1448227" y="2659064"/>
            <a:ext cx="400751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Kolding</a:t>
            </a:r>
          </a:p>
        </p:txBody>
      </p:sp>
      <p:sp>
        <p:nvSpPr>
          <p:cNvPr id="335" name="正方形/長方形 63"/>
          <p:cNvSpPr>
            <a:spLocks noChangeArrowheads="1"/>
          </p:cNvSpPr>
          <p:nvPr/>
        </p:nvSpPr>
        <p:spPr bwMode="auto">
          <a:xfrm>
            <a:off x="1070634" y="2842934"/>
            <a:ext cx="237244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EMA</a:t>
            </a:r>
          </a:p>
        </p:txBody>
      </p:sp>
      <p:sp>
        <p:nvSpPr>
          <p:cNvPr id="337" name="フローチャート: 結合子 69"/>
          <p:cNvSpPr>
            <a:spLocks noChangeArrowheads="1"/>
          </p:cNvSpPr>
          <p:nvPr/>
        </p:nvSpPr>
        <p:spPr bwMode="auto">
          <a:xfrm>
            <a:off x="4388727" y="1317784"/>
            <a:ext cx="160067" cy="159272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txBody>
          <a:bodyPr lIns="76180" tIns="38091" rIns="76180" bIns="38091"/>
          <a:lstStyle>
            <a:lvl1pPr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1pPr>
            <a:lvl2pPr marL="742950" indent="-28575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2pPr>
            <a:lvl3pPr marL="11430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3pPr>
            <a:lvl4pPr marL="16002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4pPr>
            <a:lvl5pPr marL="20574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9pPr>
          </a:lstStyle>
          <a:p>
            <a:pPr defTabSz="868782">
              <a:spcAft>
                <a:spcPct val="30000"/>
              </a:spcAft>
              <a:buFont typeface="Wingdings" panose="05000000000000000000" pitchFamily="2" charset="2"/>
              <a:buChar char="n"/>
            </a:pPr>
            <a:endParaRPr lang="ja-JP" altLang="en-US" sz="1018">
              <a:solidFill>
                <a:srgbClr val="8064A2"/>
              </a:solidFill>
              <a:latin typeface="Meiryo UI"/>
              <a:ea typeface="Meiryo UI"/>
              <a:cs typeface="Calibri" panose="020F0502020204030204" pitchFamily="34" charset="0"/>
            </a:endParaRPr>
          </a:p>
        </p:txBody>
      </p:sp>
      <p:sp>
        <p:nvSpPr>
          <p:cNvPr id="338" name="正方形/長方形 70"/>
          <p:cNvSpPr>
            <a:spLocks noChangeArrowheads="1"/>
          </p:cNvSpPr>
          <p:nvPr/>
        </p:nvSpPr>
        <p:spPr bwMode="auto">
          <a:xfrm>
            <a:off x="4569353" y="1279940"/>
            <a:ext cx="4312976" cy="234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180" tIns="38091" rIns="76180" bIns="38091"/>
          <a:lstStyle>
            <a:lvl1pPr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1pPr>
            <a:lvl2pPr marL="742950" indent="-28575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2pPr>
            <a:lvl3pPr marL="11430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3pPr>
            <a:lvl4pPr marL="16002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4pPr>
            <a:lvl5pPr marL="20574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9pPr>
          </a:lstStyle>
          <a:p>
            <a:pPr defTabSz="868782">
              <a:spcAft>
                <a:spcPct val="30000"/>
              </a:spcAft>
            </a:pPr>
            <a:r>
              <a:rPr lang="en-US" altLang="ja-JP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MITSUI-SOKO</a:t>
            </a:r>
            <a:r>
              <a:rPr lang="ja-JP" altLang="en-US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 （</a:t>
            </a:r>
            <a:r>
              <a:rPr lang="en-US" altLang="ja-JP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MSC</a:t>
            </a:r>
            <a:r>
              <a:rPr lang="ja-JP" altLang="en-US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）</a:t>
            </a:r>
            <a:endParaRPr lang="en-US" altLang="ja-JP" sz="1296" dirty="0">
              <a:solidFill>
                <a:srgbClr val="24246E"/>
              </a:solidFill>
              <a:latin typeface="Meiryo UI"/>
              <a:ea typeface="Meiryo UI"/>
              <a:cs typeface="Calibri" panose="020F0502020204030204" pitchFamily="34" charset="0"/>
            </a:endParaRPr>
          </a:p>
          <a:p>
            <a:pPr defTabSz="868782">
              <a:spcAft>
                <a:spcPct val="30000"/>
              </a:spcAft>
            </a:pPr>
            <a:endParaRPr lang="en-US" altLang="ja-JP" sz="833" dirty="0">
              <a:solidFill>
                <a:srgbClr val="24246E"/>
              </a:solidFill>
              <a:latin typeface="Meiryo UI"/>
              <a:ea typeface="Meiryo UI"/>
              <a:cs typeface="Calibri" panose="020F0502020204030204" pitchFamily="34" charset="0"/>
            </a:endParaRPr>
          </a:p>
          <a:p>
            <a:pPr defTabSz="868782">
              <a:spcAft>
                <a:spcPct val="30000"/>
              </a:spcAft>
            </a:pPr>
            <a:endParaRPr lang="en-US" altLang="ja-JP" sz="833" dirty="0">
              <a:solidFill>
                <a:srgbClr val="24246E"/>
              </a:solidFill>
              <a:latin typeface="Meiryo UI"/>
              <a:ea typeface="Meiryo UI"/>
              <a:cs typeface="Calibri" panose="020F0502020204030204" pitchFamily="34" charset="0"/>
            </a:endParaRPr>
          </a:p>
        </p:txBody>
      </p:sp>
      <p:sp>
        <p:nvSpPr>
          <p:cNvPr id="340" name="フローチャート: 結合子 71"/>
          <p:cNvSpPr>
            <a:spLocks noChangeArrowheads="1"/>
          </p:cNvSpPr>
          <p:nvPr/>
        </p:nvSpPr>
        <p:spPr bwMode="auto">
          <a:xfrm>
            <a:off x="4388727" y="1496435"/>
            <a:ext cx="160067" cy="159272"/>
          </a:xfrm>
          <a:prstGeom prst="flowChartConnector">
            <a:avLst/>
          </a:prstGeom>
          <a:solidFill>
            <a:srgbClr val="5EA8DD"/>
          </a:solidFill>
          <a:ln>
            <a:noFill/>
          </a:ln>
        </p:spPr>
        <p:txBody>
          <a:bodyPr lIns="76180" tIns="38091" rIns="76180" bIns="38091"/>
          <a:lstStyle>
            <a:lvl1pPr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1pPr>
            <a:lvl2pPr marL="742950" indent="-28575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2pPr>
            <a:lvl3pPr marL="11430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3pPr>
            <a:lvl4pPr marL="16002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4pPr>
            <a:lvl5pPr marL="20574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9pPr>
          </a:lstStyle>
          <a:p>
            <a:pPr defTabSz="868782">
              <a:spcAft>
                <a:spcPct val="30000"/>
              </a:spcAft>
              <a:buFont typeface="Wingdings" panose="05000000000000000000" pitchFamily="2" charset="2"/>
              <a:buChar char="n"/>
            </a:pPr>
            <a:endParaRPr lang="ja-JP" altLang="en-US" sz="1018">
              <a:solidFill>
                <a:srgbClr val="8064A2"/>
              </a:solidFill>
              <a:latin typeface="Meiryo UI"/>
              <a:ea typeface="Meiryo UI"/>
              <a:cs typeface="Calibri" panose="020F0502020204030204" pitchFamily="34" charset="0"/>
            </a:endParaRPr>
          </a:p>
        </p:txBody>
      </p:sp>
      <p:sp>
        <p:nvSpPr>
          <p:cNvPr id="341" name="正方形/長方形 72"/>
          <p:cNvSpPr>
            <a:spLocks noChangeArrowheads="1"/>
          </p:cNvSpPr>
          <p:nvPr/>
        </p:nvSpPr>
        <p:spPr bwMode="auto">
          <a:xfrm>
            <a:off x="4569354" y="1471809"/>
            <a:ext cx="3008950" cy="208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180" tIns="38091" rIns="76180" bIns="38091"/>
          <a:lstStyle>
            <a:lvl1pPr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1pPr>
            <a:lvl2pPr marL="742950" indent="-28575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2pPr>
            <a:lvl3pPr marL="11430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3pPr>
            <a:lvl4pPr marL="16002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4pPr>
            <a:lvl5pPr marL="20574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9pPr>
          </a:lstStyle>
          <a:p>
            <a:pPr defTabSz="868782">
              <a:spcAft>
                <a:spcPct val="30000"/>
              </a:spcAft>
            </a:pPr>
            <a:r>
              <a:rPr lang="en-US" altLang="ja-JP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MITSUI-SOKO</a:t>
            </a:r>
            <a:r>
              <a:rPr lang="ja-JP" altLang="en-US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 </a:t>
            </a:r>
            <a:r>
              <a:rPr lang="en-US" altLang="ja-JP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EXPRESS</a:t>
            </a:r>
            <a:r>
              <a:rPr lang="ja-JP" altLang="en-US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（</a:t>
            </a:r>
            <a:r>
              <a:rPr lang="en-US" altLang="ja-JP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MSE</a:t>
            </a:r>
            <a:r>
              <a:rPr lang="ja-JP" altLang="en-US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）</a:t>
            </a:r>
            <a:endParaRPr lang="en-US" altLang="ja-JP" sz="1296" dirty="0">
              <a:solidFill>
                <a:srgbClr val="24246E"/>
              </a:solidFill>
              <a:latin typeface="Meiryo UI"/>
              <a:ea typeface="Meiryo UI"/>
              <a:cs typeface="Calibri" panose="020F0502020204030204" pitchFamily="34" charset="0"/>
            </a:endParaRPr>
          </a:p>
          <a:p>
            <a:pPr defTabSz="868782">
              <a:spcAft>
                <a:spcPct val="30000"/>
              </a:spcAft>
            </a:pPr>
            <a:endParaRPr lang="en-US" altLang="ja-JP" sz="833" dirty="0">
              <a:solidFill>
                <a:srgbClr val="24246E"/>
              </a:solidFill>
              <a:latin typeface="Meiryo UI"/>
              <a:ea typeface="Meiryo UI"/>
              <a:cs typeface="Calibri" panose="020F0502020204030204" pitchFamily="34" charset="0"/>
            </a:endParaRPr>
          </a:p>
          <a:p>
            <a:pPr defTabSz="868782">
              <a:spcAft>
                <a:spcPct val="30000"/>
              </a:spcAft>
            </a:pPr>
            <a:endParaRPr lang="en-US" altLang="ja-JP" sz="833" dirty="0">
              <a:solidFill>
                <a:srgbClr val="24246E"/>
              </a:solidFill>
              <a:latin typeface="Meiryo UI"/>
              <a:ea typeface="Meiryo UI"/>
              <a:cs typeface="Calibri" panose="020F0502020204030204" pitchFamily="34" charset="0"/>
            </a:endParaRPr>
          </a:p>
        </p:txBody>
      </p:sp>
      <p:sp>
        <p:nvSpPr>
          <p:cNvPr id="343" name="フローチャート: 結合子 73"/>
          <p:cNvSpPr>
            <a:spLocks noChangeArrowheads="1"/>
          </p:cNvSpPr>
          <p:nvPr/>
        </p:nvSpPr>
        <p:spPr bwMode="auto">
          <a:xfrm>
            <a:off x="4388727" y="1675822"/>
            <a:ext cx="160067" cy="159272"/>
          </a:xfrm>
          <a:prstGeom prst="flowChartConnector">
            <a:avLst/>
          </a:prstGeom>
          <a:solidFill>
            <a:srgbClr val="FFC000"/>
          </a:solidFill>
          <a:ln>
            <a:noFill/>
          </a:ln>
        </p:spPr>
        <p:txBody>
          <a:bodyPr lIns="76180" tIns="38091" rIns="76180" bIns="38091"/>
          <a:lstStyle>
            <a:lvl1pPr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1pPr>
            <a:lvl2pPr marL="742950" indent="-28575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2pPr>
            <a:lvl3pPr marL="11430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3pPr>
            <a:lvl4pPr marL="16002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4pPr>
            <a:lvl5pPr marL="20574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9pPr>
          </a:lstStyle>
          <a:p>
            <a:pPr defTabSz="868782">
              <a:spcAft>
                <a:spcPct val="30000"/>
              </a:spcAft>
              <a:buFont typeface="Wingdings" panose="05000000000000000000" pitchFamily="2" charset="2"/>
              <a:buChar char="n"/>
            </a:pPr>
            <a:endParaRPr lang="ja-JP" altLang="en-US" sz="1018">
              <a:solidFill>
                <a:srgbClr val="8064A2"/>
              </a:solidFill>
              <a:latin typeface="Meiryo UI"/>
              <a:ea typeface="Meiryo UI"/>
              <a:cs typeface="Calibri" panose="020F0502020204030204" pitchFamily="34" charset="0"/>
            </a:endParaRPr>
          </a:p>
        </p:txBody>
      </p:sp>
      <p:sp>
        <p:nvSpPr>
          <p:cNvPr id="344" name="正方形/長方形 74"/>
          <p:cNvSpPr>
            <a:spLocks noChangeArrowheads="1"/>
          </p:cNvSpPr>
          <p:nvPr/>
        </p:nvSpPr>
        <p:spPr bwMode="auto">
          <a:xfrm>
            <a:off x="4569353" y="1637244"/>
            <a:ext cx="4898907" cy="236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180" tIns="38091" rIns="76180" bIns="38091"/>
          <a:lstStyle>
            <a:lvl1pPr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1pPr>
            <a:lvl2pPr marL="742950" indent="-28575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2pPr>
            <a:lvl3pPr marL="11430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3pPr>
            <a:lvl4pPr marL="16002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4pPr>
            <a:lvl5pPr marL="20574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9pPr>
          </a:lstStyle>
          <a:p>
            <a:pPr defTabSz="868782">
              <a:spcAft>
                <a:spcPct val="30000"/>
              </a:spcAft>
            </a:pPr>
            <a:r>
              <a:rPr lang="en-US" altLang="ja-JP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MITSUI-SOKO</a:t>
            </a:r>
            <a:r>
              <a:rPr lang="ja-JP" altLang="en-US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 </a:t>
            </a:r>
            <a:r>
              <a:rPr lang="en-US" altLang="ja-JP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SUPPLY CHAIN SOLUTIONS</a:t>
            </a:r>
            <a:r>
              <a:rPr lang="ja-JP" altLang="en-US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（</a:t>
            </a:r>
            <a:r>
              <a:rPr lang="en-US" altLang="ja-JP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MSCS</a:t>
            </a:r>
            <a:r>
              <a:rPr lang="ja-JP" altLang="en-US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）</a:t>
            </a:r>
            <a:endParaRPr lang="en-US" altLang="ja-JP" sz="1296" dirty="0">
              <a:solidFill>
                <a:srgbClr val="24246E"/>
              </a:solidFill>
              <a:latin typeface="Meiryo UI"/>
              <a:ea typeface="Meiryo UI"/>
              <a:cs typeface="Calibri" panose="020F0502020204030204" pitchFamily="34" charset="0"/>
            </a:endParaRPr>
          </a:p>
          <a:p>
            <a:pPr defTabSz="868782">
              <a:spcAft>
                <a:spcPct val="30000"/>
              </a:spcAft>
            </a:pPr>
            <a:endParaRPr lang="en-US" altLang="ja-JP" sz="833" dirty="0">
              <a:solidFill>
                <a:srgbClr val="24246E"/>
              </a:solidFill>
              <a:latin typeface="Meiryo UI"/>
              <a:ea typeface="Meiryo UI"/>
              <a:cs typeface="Calibri" panose="020F0502020204030204" pitchFamily="34" charset="0"/>
            </a:endParaRPr>
          </a:p>
          <a:p>
            <a:pPr defTabSz="868782">
              <a:spcAft>
                <a:spcPct val="30000"/>
              </a:spcAft>
            </a:pPr>
            <a:endParaRPr lang="en-US" altLang="ja-JP" sz="833" dirty="0">
              <a:solidFill>
                <a:srgbClr val="24246E"/>
              </a:solidFill>
              <a:latin typeface="Meiryo UI"/>
              <a:ea typeface="Meiryo UI"/>
              <a:cs typeface="Calibri" panose="020F0502020204030204" pitchFamily="34" charset="0"/>
            </a:endParaRPr>
          </a:p>
        </p:txBody>
      </p:sp>
      <p:sp>
        <p:nvSpPr>
          <p:cNvPr id="346" name="フローチャート: 結合子 73"/>
          <p:cNvSpPr>
            <a:spLocks noChangeArrowheads="1"/>
          </p:cNvSpPr>
          <p:nvPr/>
        </p:nvSpPr>
        <p:spPr bwMode="auto">
          <a:xfrm>
            <a:off x="4388727" y="1869895"/>
            <a:ext cx="160067" cy="159272"/>
          </a:xfrm>
          <a:prstGeom prst="flowChartConnector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3774" tIns="36887" rIns="73774" bIns="36887"/>
          <a:lstStyle>
            <a:lvl1pPr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1pPr>
            <a:lvl2pPr marL="742950" indent="-28575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2pPr>
            <a:lvl3pPr marL="11430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3pPr>
            <a:lvl4pPr marL="16002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4pPr>
            <a:lvl5pPr marL="20574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9pPr>
          </a:lstStyle>
          <a:p>
            <a:pPr defTabSz="868782">
              <a:spcAft>
                <a:spcPct val="30000"/>
              </a:spcAft>
              <a:buFont typeface="Wingdings" panose="05000000000000000000" pitchFamily="2" charset="2"/>
              <a:buChar char="n"/>
            </a:pPr>
            <a:endParaRPr lang="ja-JP" altLang="en-US" sz="1018">
              <a:solidFill>
                <a:srgbClr val="24246E"/>
              </a:solidFill>
              <a:latin typeface="Meiryo UI"/>
              <a:ea typeface="Meiryo UI"/>
              <a:cs typeface="Calibri" panose="020F0502020204030204" pitchFamily="34" charset="0"/>
            </a:endParaRPr>
          </a:p>
        </p:txBody>
      </p:sp>
      <p:sp>
        <p:nvSpPr>
          <p:cNvPr id="347" name="正方形/長方形 74"/>
          <p:cNvSpPr>
            <a:spLocks noChangeArrowheads="1"/>
          </p:cNvSpPr>
          <p:nvPr/>
        </p:nvSpPr>
        <p:spPr bwMode="auto">
          <a:xfrm>
            <a:off x="4569353" y="1830582"/>
            <a:ext cx="4898907" cy="237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3774" tIns="36887" rIns="73774" bIns="36887"/>
          <a:lstStyle>
            <a:lvl1pPr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1pPr>
            <a:lvl2pPr marL="742950" indent="-28575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2pPr>
            <a:lvl3pPr marL="11430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3pPr>
            <a:lvl4pPr marL="16002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4pPr>
            <a:lvl5pPr marL="2057400" indent="-228600" defTabSz="903288"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2"/>
                </a:solidFill>
                <a:latin typeface="HG丸ｺﾞｼｯｸM-PRO" panose="020F0600000000000000" pitchFamily="50" charset="-128"/>
                <a:ea typeface="ＭＳ Ｐゴシック" panose="020B0600070205080204" pitchFamily="50" charset="-128"/>
              </a:defRPr>
            </a:lvl9pPr>
          </a:lstStyle>
          <a:p>
            <a:pPr defTabSz="868782">
              <a:spcAft>
                <a:spcPct val="30000"/>
              </a:spcAft>
            </a:pPr>
            <a:r>
              <a:rPr lang="en-US" altLang="ja-JP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MITSUI-SOKO</a:t>
            </a:r>
            <a:r>
              <a:rPr lang="ja-JP" altLang="en-US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 </a:t>
            </a:r>
            <a:r>
              <a:rPr lang="en-US" altLang="ja-JP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TRANSPORT</a:t>
            </a:r>
            <a:r>
              <a:rPr lang="ja-JP" altLang="en-US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（</a:t>
            </a:r>
            <a:r>
              <a:rPr lang="en-US" altLang="ja-JP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MST</a:t>
            </a:r>
            <a:r>
              <a:rPr lang="ja-JP" altLang="en-US" sz="1296" dirty="0">
                <a:solidFill>
                  <a:srgbClr val="24246E"/>
                </a:solidFill>
                <a:latin typeface="Meiryo UI"/>
                <a:ea typeface="Meiryo UI"/>
                <a:cs typeface="Calibri" panose="020F0502020204030204" pitchFamily="34" charset="0"/>
              </a:rPr>
              <a:t>）</a:t>
            </a:r>
            <a:endParaRPr lang="en-US" altLang="ja-JP" sz="1296" dirty="0">
              <a:solidFill>
                <a:srgbClr val="24246E"/>
              </a:solidFill>
              <a:latin typeface="Meiryo UI"/>
              <a:ea typeface="Meiryo UI"/>
              <a:cs typeface="Calibri" panose="020F0502020204030204" pitchFamily="34" charset="0"/>
            </a:endParaRPr>
          </a:p>
        </p:txBody>
      </p:sp>
      <p:sp>
        <p:nvSpPr>
          <p:cNvPr id="348" name="フローチャート: 結合子 73"/>
          <p:cNvSpPr>
            <a:spLocks/>
          </p:cNvSpPr>
          <p:nvPr/>
        </p:nvSpPr>
        <p:spPr bwMode="auto">
          <a:xfrm>
            <a:off x="4394369" y="3796172"/>
            <a:ext cx="100411" cy="100411"/>
          </a:xfrm>
          <a:prstGeom prst="flowChartConnector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49" name="フローチャート: 結合子 73"/>
          <p:cNvSpPr>
            <a:spLocks/>
          </p:cNvSpPr>
          <p:nvPr/>
        </p:nvSpPr>
        <p:spPr bwMode="auto">
          <a:xfrm>
            <a:off x="3979017" y="3823377"/>
            <a:ext cx="100411" cy="100411"/>
          </a:xfrm>
          <a:prstGeom prst="flowChartConnector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50" name="フローチャート: 結合子 73"/>
          <p:cNvSpPr>
            <a:spLocks/>
          </p:cNvSpPr>
          <p:nvPr/>
        </p:nvSpPr>
        <p:spPr bwMode="auto">
          <a:xfrm>
            <a:off x="4266841" y="3271222"/>
            <a:ext cx="100411" cy="100411"/>
          </a:xfrm>
          <a:prstGeom prst="flowChartConnector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51" name="フローチャート: 結合子 8"/>
          <p:cNvSpPr>
            <a:spLocks noChangeAspect="1"/>
          </p:cNvSpPr>
          <p:nvPr/>
        </p:nvSpPr>
        <p:spPr bwMode="auto">
          <a:xfrm>
            <a:off x="8039498" y="4002240"/>
            <a:ext cx="99858" cy="99858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52" name="正方形/長方形 60"/>
          <p:cNvSpPr>
            <a:spLocks noChangeArrowheads="1"/>
          </p:cNvSpPr>
          <p:nvPr/>
        </p:nvSpPr>
        <p:spPr bwMode="auto">
          <a:xfrm>
            <a:off x="7817895" y="4004913"/>
            <a:ext cx="226024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GDL</a:t>
            </a:r>
          </a:p>
        </p:txBody>
      </p:sp>
      <p:sp>
        <p:nvSpPr>
          <p:cNvPr id="353" name="フローチャート: 結合子 14"/>
          <p:cNvSpPr>
            <a:spLocks/>
          </p:cNvSpPr>
          <p:nvPr/>
        </p:nvSpPr>
        <p:spPr bwMode="auto">
          <a:xfrm>
            <a:off x="1854655" y="3196624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54" name="正方形/長方形 63"/>
          <p:cNvSpPr>
            <a:spLocks noChangeArrowheads="1"/>
          </p:cNvSpPr>
          <p:nvPr/>
        </p:nvSpPr>
        <p:spPr bwMode="auto">
          <a:xfrm>
            <a:off x="1972394" y="3197940"/>
            <a:ext cx="572273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Esztergom</a:t>
            </a:r>
          </a:p>
        </p:txBody>
      </p:sp>
      <p:sp>
        <p:nvSpPr>
          <p:cNvPr id="355" name="フローチャート: 結合子 17"/>
          <p:cNvSpPr>
            <a:spLocks/>
          </p:cNvSpPr>
          <p:nvPr/>
        </p:nvSpPr>
        <p:spPr bwMode="auto">
          <a:xfrm>
            <a:off x="2713172" y="3989316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56" name="正方形/長方形 93"/>
          <p:cNvSpPr>
            <a:spLocks noChangeArrowheads="1"/>
          </p:cNvSpPr>
          <p:nvPr/>
        </p:nvSpPr>
        <p:spPr bwMode="auto">
          <a:xfrm>
            <a:off x="2556042" y="4059806"/>
            <a:ext cx="232436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DXB</a:t>
            </a:r>
          </a:p>
        </p:txBody>
      </p:sp>
      <p:sp>
        <p:nvSpPr>
          <p:cNvPr id="357" name="フローチャート: 結合子 40"/>
          <p:cNvSpPr>
            <a:spLocks/>
          </p:cNvSpPr>
          <p:nvPr/>
        </p:nvSpPr>
        <p:spPr bwMode="auto">
          <a:xfrm>
            <a:off x="3336919" y="4256583"/>
            <a:ext cx="100411" cy="101909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58" name="正方形/長方形 93"/>
          <p:cNvSpPr>
            <a:spLocks noChangeArrowheads="1"/>
          </p:cNvSpPr>
          <p:nvPr/>
        </p:nvSpPr>
        <p:spPr bwMode="auto">
          <a:xfrm>
            <a:off x="3187627" y="4123341"/>
            <a:ext cx="213200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BLR</a:t>
            </a:r>
          </a:p>
        </p:txBody>
      </p:sp>
      <p:sp>
        <p:nvSpPr>
          <p:cNvPr id="359" name="正方形/長方形 101"/>
          <p:cNvSpPr>
            <a:spLocks noChangeArrowheads="1"/>
          </p:cNvSpPr>
          <p:nvPr/>
        </p:nvSpPr>
        <p:spPr bwMode="auto">
          <a:xfrm>
            <a:off x="3599425" y="4391866"/>
            <a:ext cx="216406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PEN</a:t>
            </a:r>
          </a:p>
        </p:txBody>
      </p:sp>
      <p:sp>
        <p:nvSpPr>
          <p:cNvPr id="360" name="フローチャート: 結合子 359"/>
          <p:cNvSpPr>
            <a:spLocks/>
          </p:cNvSpPr>
          <p:nvPr/>
        </p:nvSpPr>
        <p:spPr bwMode="auto">
          <a:xfrm>
            <a:off x="3988497" y="4216629"/>
            <a:ext cx="100411" cy="98934"/>
          </a:xfrm>
          <a:prstGeom prst="flowChartConnector">
            <a:avLst/>
          </a:pr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graphicFrame>
        <p:nvGraphicFramePr>
          <p:cNvPr id="361" name="Group 15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0450522"/>
              </p:ext>
            </p:extLst>
          </p:nvPr>
        </p:nvGraphicFramePr>
        <p:xfrm>
          <a:off x="6105470" y="5666895"/>
          <a:ext cx="3002183" cy="1082011"/>
        </p:xfrm>
        <a:graphic>
          <a:graphicData uri="http://schemas.openxmlformats.org/drawingml/2006/table">
            <a:tbl>
              <a:tblPr/>
              <a:tblGrid>
                <a:gridCol w="1365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366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67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ja-JP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Country</a:t>
                      </a:r>
                      <a:endParaRPr kumimoji="0" lang="ja-JP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631" marR="34631" marT="34688" marB="346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ja-JP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3</a:t>
                      </a:r>
                      <a:endParaRPr lang="ja-JP" altLang="en-US" sz="13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4631" marR="34631" marT="34688" marB="346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623">
                <a:tc>
                  <a:txBody>
                    <a:bodyPr/>
                    <a:lstStyle>
                      <a:lvl1pPr>
                        <a:spcAft>
                          <a:spcPct val="30000"/>
                        </a:spcAft>
                        <a:buClr>
                          <a:srgbClr val="DDDDDD"/>
                        </a:buClr>
                        <a:buFont typeface="Wingdings" panose="05000000000000000000" pitchFamily="2" charset="2"/>
                        <a:defRPr kumimoji="1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1pPr>
                      <a:lvl2pPr marL="742950" indent="-285750">
                        <a:spcAft>
                          <a:spcPct val="30000"/>
                        </a:spcAft>
                        <a:buClr>
                          <a:srgbClr val="DDDDDD"/>
                        </a:buClr>
                        <a:buFont typeface="Wingdings" panose="05000000000000000000" pitchFamily="2" charset="2"/>
                        <a:defRPr kumimoji="1" sz="1500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buClr>
                          <a:srgbClr val="DDDDDD"/>
                        </a:buClr>
                        <a:buFont typeface="Wingdings" panose="05000000000000000000" pitchFamily="2" charset="2"/>
                        <a:defRPr kumimoji="1" sz="1500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3pPr>
                      <a:lvl4pPr marL="1600200" indent="-228600">
                        <a:spcAft>
                          <a:spcPct val="30000"/>
                        </a:spcAft>
                        <a:buClr>
                          <a:srgbClr val="DDDDDD"/>
                        </a:buClr>
                        <a:defRPr kumimoji="1" sz="1500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Office &amp; W/H</a:t>
                      </a:r>
                      <a:endParaRPr kumimoji="0" lang="ja-JP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631" marR="34631" marT="34688" marB="346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>
                      <a:lvl1pPr>
                        <a:spcAft>
                          <a:spcPct val="30000"/>
                        </a:spcAft>
                        <a:buClr>
                          <a:srgbClr val="DDDDDD"/>
                        </a:buClr>
                        <a:buFont typeface="Wingdings" panose="05000000000000000000" pitchFamily="2" charset="2"/>
                        <a:defRPr kumimoji="1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1pPr>
                      <a:lvl2pPr marL="742950" indent="-285750">
                        <a:spcAft>
                          <a:spcPct val="30000"/>
                        </a:spcAft>
                        <a:buClr>
                          <a:srgbClr val="DDDDDD"/>
                        </a:buClr>
                        <a:buFont typeface="Wingdings" panose="05000000000000000000" pitchFamily="2" charset="2"/>
                        <a:defRPr kumimoji="1" sz="1500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buClr>
                          <a:srgbClr val="DDDDDD"/>
                        </a:buClr>
                        <a:buFont typeface="Wingdings" panose="05000000000000000000" pitchFamily="2" charset="2"/>
                        <a:defRPr kumimoji="1" sz="1500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3pPr>
                      <a:lvl4pPr marL="1600200" indent="-228600">
                        <a:spcAft>
                          <a:spcPct val="30000"/>
                        </a:spcAft>
                        <a:buClr>
                          <a:srgbClr val="DDDDDD"/>
                        </a:buClr>
                        <a:defRPr kumimoji="1" sz="1500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More than 170</a:t>
                      </a:r>
                      <a:endParaRPr kumimoji="0" lang="ja-JP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631" marR="34631" marT="34688" marB="346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9623">
                <a:tc>
                  <a:txBody>
                    <a:bodyPr/>
                    <a:lstStyle>
                      <a:lvl1pPr>
                        <a:spcAft>
                          <a:spcPct val="30000"/>
                        </a:spcAft>
                        <a:buClr>
                          <a:srgbClr val="DDDDDD"/>
                        </a:buClr>
                        <a:buFont typeface="Wingdings" panose="05000000000000000000" pitchFamily="2" charset="2"/>
                        <a:defRPr kumimoji="1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1pPr>
                      <a:lvl2pPr marL="742950" indent="-285750">
                        <a:spcAft>
                          <a:spcPct val="30000"/>
                        </a:spcAft>
                        <a:buClr>
                          <a:srgbClr val="DDDDDD"/>
                        </a:buClr>
                        <a:buFont typeface="Wingdings" panose="05000000000000000000" pitchFamily="2" charset="2"/>
                        <a:defRPr kumimoji="1" sz="1500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buClr>
                          <a:srgbClr val="DDDDDD"/>
                        </a:buClr>
                        <a:buFont typeface="Wingdings" panose="05000000000000000000" pitchFamily="2" charset="2"/>
                        <a:defRPr kumimoji="1" sz="1500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3pPr>
                      <a:lvl4pPr marL="1600200" indent="-228600">
                        <a:spcAft>
                          <a:spcPct val="30000"/>
                        </a:spcAft>
                        <a:buClr>
                          <a:srgbClr val="DDDDDD"/>
                        </a:buClr>
                        <a:defRPr kumimoji="1" sz="1500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Jurisdiction area</a:t>
                      </a:r>
                      <a:endParaRPr kumimoji="0" lang="ja-JP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4631" marR="34631" marT="34688" marB="346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>
                      <a:lvl1pPr>
                        <a:spcAft>
                          <a:spcPct val="30000"/>
                        </a:spcAft>
                        <a:buClr>
                          <a:srgbClr val="DDDDDD"/>
                        </a:buClr>
                        <a:buFont typeface="Wingdings" panose="05000000000000000000" pitchFamily="2" charset="2"/>
                        <a:defRPr kumimoji="1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1pPr>
                      <a:lvl2pPr marL="742950" indent="-285750">
                        <a:spcAft>
                          <a:spcPct val="30000"/>
                        </a:spcAft>
                        <a:buClr>
                          <a:srgbClr val="DDDDDD"/>
                        </a:buClr>
                        <a:buFont typeface="Wingdings" panose="05000000000000000000" pitchFamily="2" charset="2"/>
                        <a:defRPr kumimoji="1" sz="1500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buClr>
                          <a:srgbClr val="DDDDDD"/>
                        </a:buClr>
                        <a:buFont typeface="Wingdings" panose="05000000000000000000" pitchFamily="2" charset="2"/>
                        <a:defRPr kumimoji="1" sz="1500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3pPr>
                      <a:lvl4pPr marL="1600200" indent="-228600">
                        <a:spcAft>
                          <a:spcPct val="30000"/>
                        </a:spcAft>
                        <a:buClr>
                          <a:srgbClr val="DDDDDD"/>
                        </a:buClr>
                        <a:defRPr kumimoji="1" sz="1500">
                          <a:solidFill>
                            <a:srgbClr val="24246E"/>
                          </a:solidFill>
                          <a:latin typeface="HG丸ｺﾞｼｯｸM-PRO" panose="020F0600000000000000" pitchFamily="50" charset="-128"/>
                          <a:ea typeface="ＭＳ Ｐゴシック" panose="020B0600070205080204" pitchFamily="50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6CBC2"/>
                        </a:buClr>
                        <a:buFont typeface="Wingdings" panose="05000000000000000000" pitchFamily="2" charset="2"/>
                        <a:defRPr kumimoji="1" sz="1100">
                          <a:solidFill>
                            <a:schemeClr val="tx1"/>
                          </a:solidFill>
                          <a:latin typeface="メイリオ" panose="020B0604030504040204" pitchFamily="50" charset="-128"/>
                          <a:ea typeface="ＭＳ Ｐゴシック" panose="020B0600070205080204" pitchFamily="50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00,000 </a:t>
                      </a:r>
                      <a:r>
                        <a:rPr kumimoji="0" lang="ja-JP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㎡</a:t>
                      </a:r>
                    </a:p>
                  </a:txBody>
                  <a:tcPr marL="34631" marR="34631" marT="34688" marB="346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62" name="正方形/長方形 62"/>
          <p:cNvSpPr>
            <a:spLocks noChangeArrowheads="1"/>
          </p:cNvSpPr>
          <p:nvPr/>
        </p:nvSpPr>
        <p:spPr bwMode="auto">
          <a:xfrm>
            <a:off x="9010159" y="5186569"/>
            <a:ext cx="230832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SAO</a:t>
            </a:r>
          </a:p>
        </p:txBody>
      </p:sp>
      <p:sp>
        <p:nvSpPr>
          <p:cNvPr id="363" name="正方形/長方形 69"/>
          <p:cNvSpPr>
            <a:spLocks noChangeArrowheads="1"/>
          </p:cNvSpPr>
          <p:nvPr/>
        </p:nvSpPr>
        <p:spPr bwMode="auto">
          <a:xfrm>
            <a:off x="4614797" y="3930320"/>
            <a:ext cx="766235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TPE/TXG/KHH</a:t>
            </a:r>
          </a:p>
        </p:txBody>
      </p:sp>
      <p:sp>
        <p:nvSpPr>
          <p:cNvPr id="364" name="正方形/長方形 74"/>
          <p:cNvSpPr>
            <a:spLocks noChangeArrowheads="1"/>
          </p:cNvSpPr>
          <p:nvPr/>
        </p:nvSpPr>
        <p:spPr bwMode="auto">
          <a:xfrm>
            <a:off x="4241638" y="4079295"/>
            <a:ext cx="503343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HKG/SZC</a:t>
            </a:r>
          </a:p>
        </p:txBody>
      </p:sp>
      <p:sp>
        <p:nvSpPr>
          <p:cNvPr id="365" name="正方形/長方形 92"/>
          <p:cNvSpPr>
            <a:spLocks noChangeArrowheads="1"/>
          </p:cNvSpPr>
          <p:nvPr/>
        </p:nvSpPr>
        <p:spPr bwMode="auto">
          <a:xfrm>
            <a:off x="4414778" y="3650590"/>
            <a:ext cx="230832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TAO</a:t>
            </a:r>
          </a:p>
        </p:txBody>
      </p:sp>
      <p:sp>
        <p:nvSpPr>
          <p:cNvPr id="366" name="フローチャート: 結合子 262"/>
          <p:cNvSpPr>
            <a:spLocks/>
          </p:cNvSpPr>
          <p:nvPr/>
        </p:nvSpPr>
        <p:spPr bwMode="auto">
          <a:xfrm>
            <a:off x="4184511" y="3848231"/>
            <a:ext cx="100411" cy="100411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67" name="正方形/長方形 75"/>
          <p:cNvSpPr>
            <a:spLocks noChangeArrowheads="1"/>
          </p:cNvSpPr>
          <p:nvPr/>
        </p:nvSpPr>
        <p:spPr bwMode="auto">
          <a:xfrm>
            <a:off x="4071207" y="3736363"/>
            <a:ext cx="274114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WUH</a:t>
            </a:r>
          </a:p>
        </p:txBody>
      </p:sp>
      <p:sp>
        <p:nvSpPr>
          <p:cNvPr id="368" name="フローチャート: 結合子 255"/>
          <p:cNvSpPr>
            <a:spLocks/>
          </p:cNvSpPr>
          <p:nvPr/>
        </p:nvSpPr>
        <p:spPr bwMode="auto">
          <a:xfrm>
            <a:off x="4514201" y="3519937"/>
            <a:ext cx="100411" cy="100411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69" name="フローチャート: 結合子 13"/>
          <p:cNvSpPr>
            <a:spLocks/>
          </p:cNvSpPr>
          <p:nvPr/>
        </p:nvSpPr>
        <p:spPr bwMode="auto">
          <a:xfrm>
            <a:off x="4357653" y="3462811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70" name="正方形/長方形 72"/>
          <p:cNvSpPr>
            <a:spLocks noChangeArrowheads="1"/>
          </p:cNvSpPr>
          <p:nvPr/>
        </p:nvSpPr>
        <p:spPr bwMode="auto">
          <a:xfrm>
            <a:off x="4452478" y="3394576"/>
            <a:ext cx="221214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DLC</a:t>
            </a:r>
          </a:p>
        </p:txBody>
      </p:sp>
      <p:sp>
        <p:nvSpPr>
          <p:cNvPr id="371" name="正方形/長方形 91"/>
          <p:cNvSpPr>
            <a:spLocks noChangeArrowheads="1"/>
          </p:cNvSpPr>
          <p:nvPr/>
        </p:nvSpPr>
        <p:spPr bwMode="auto">
          <a:xfrm>
            <a:off x="4126937" y="3430015"/>
            <a:ext cx="222818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TSN</a:t>
            </a:r>
          </a:p>
        </p:txBody>
      </p:sp>
      <p:sp>
        <p:nvSpPr>
          <p:cNvPr id="372" name="フローチャート: 結合子 32"/>
          <p:cNvSpPr>
            <a:spLocks/>
          </p:cNvSpPr>
          <p:nvPr/>
        </p:nvSpPr>
        <p:spPr bwMode="auto">
          <a:xfrm>
            <a:off x="3924681" y="4216627"/>
            <a:ext cx="100411" cy="100411"/>
          </a:xfrm>
          <a:prstGeom prst="flowChartConnector">
            <a:avLst/>
          </a:prstGeom>
          <a:solidFill>
            <a:srgbClr val="5EA8DD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73" name="フローチャート: 結合子 59"/>
          <p:cNvSpPr>
            <a:spLocks/>
          </p:cNvSpPr>
          <p:nvPr/>
        </p:nvSpPr>
        <p:spPr bwMode="auto">
          <a:xfrm>
            <a:off x="3855982" y="4215893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74" name="フローチャート: 結合子 133"/>
          <p:cNvSpPr>
            <a:spLocks/>
          </p:cNvSpPr>
          <p:nvPr/>
        </p:nvSpPr>
        <p:spPr bwMode="auto">
          <a:xfrm>
            <a:off x="3881514" y="4415088"/>
            <a:ext cx="100411" cy="100411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75" name="フローチャート: 結合子 122"/>
          <p:cNvSpPr>
            <a:spLocks/>
          </p:cNvSpPr>
          <p:nvPr/>
        </p:nvSpPr>
        <p:spPr bwMode="auto">
          <a:xfrm>
            <a:off x="4145758" y="4214005"/>
            <a:ext cx="100411" cy="98934"/>
          </a:xfrm>
          <a:prstGeom prst="flowChartConnector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73774" tIns="36887" rIns="73774" bIns="36887"/>
          <a:lstStyle/>
          <a:p>
            <a:pPr defTabSz="835907">
              <a:spcAft>
                <a:spcPct val="30000"/>
              </a:spcAft>
              <a:buFont typeface="Wingdings" pitchFamily="2" charset="2"/>
              <a:buChar char="n"/>
              <a:defRPr/>
            </a:pPr>
            <a:endParaRPr lang="ja-JP" altLang="en-US" sz="866" dirty="0">
              <a:latin typeface="Meiryo UI"/>
              <a:ea typeface="Meiryo UI"/>
            </a:endParaRPr>
          </a:p>
        </p:txBody>
      </p:sp>
      <p:sp>
        <p:nvSpPr>
          <p:cNvPr id="376" name="正方形/長方形 99"/>
          <p:cNvSpPr>
            <a:spLocks noChangeArrowheads="1"/>
          </p:cNvSpPr>
          <p:nvPr/>
        </p:nvSpPr>
        <p:spPr bwMode="auto">
          <a:xfrm>
            <a:off x="4249083" y="4196868"/>
            <a:ext cx="229230" cy="133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35907">
              <a:spcAft>
                <a:spcPct val="30000"/>
              </a:spcAft>
              <a:defRPr/>
            </a:pPr>
            <a:r>
              <a:rPr lang="en-US" altLang="ja-JP" sz="866" dirty="0">
                <a:latin typeface="Meiryo UI"/>
                <a:ea typeface="Meiryo UI"/>
              </a:rPr>
              <a:t>HPH</a:t>
            </a:r>
          </a:p>
        </p:txBody>
      </p:sp>
      <p:sp>
        <p:nvSpPr>
          <p:cNvPr id="122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24" name="タイトル 1"/>
          <p:cNvSpPr txBox="1">
            <a:spLocks/>
          </p:cNvSpPr>
          <p:nvPr/>
        </p:nvSpPr>
        <p:spPr bwMode="auto">
          <a:xfrm>
            <a:off x="603709" y="106465"/>
            <a:ext cx="9810194" cy="81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0" rIns="0" bIns="0" numCol="1" anchor="b" anchorCtr="0" compatLnSpc="1">
            <a:prstTxWarp prst="textNoShape">
              <a:avLst/>
            </a:prstTxWarp>
          </a:bodyPr>
          <a:lstStyle>
            <a:lvl1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501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43973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87947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131920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175894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r>
              <a:rPr lang="en-US" altLang="ja-JP" sz="1731" kern="0" dirty="0">
                <a:solidFill>
                  <a:schemeClr val="tx1"/>
                </a:solidFill>
              </a:rPr>
              <a:t>Ⅰ. Introduction of MITSUI-SOKO Group</a:t>
            </a:r>
            <a:br>
              <a:rPr lang="en-US" altLang="ja-JP" kern="0" dirty="0">
                <a:solidFill>
                  <a:schemeClr val="tx1"/>
                </a:solidFill>
              </a:rPr>
            </a:br>
            <a:r>
              <a:rPr lang="en-US" altLang="ja-JP" sz="2400" kern="0" dirty="0">
                <a:solidFill>
                  <a:schemeClr val="tx1"/>
                </a:solidFill>
              </a:rPr>
              <a:t>  4. Group Network</a:t>
            </a:r>
            <a:r>
              <a:rPr lang="ja-JP" altLang="en-US" sz="2400" kern="0" dirty="0">
                <a:solidFill>
                  <a:schemeClr val="tx1"/>
                </a:solidFill>
              </a:rPr>
              <a:t>：</a:t>
            </a:r>
            <a:r>
              <a:rPr lang="en-US" altLang="ja-JP" sz="2400" kern="0" dirty="0">
                <a:solidFill>
                  <a:schemeClr val="tx1"/>
                </a:solidFill>
              </a:rPr>
              <a:t>Overseas</a:t>
            </a:r>
            <a:endParaRPr lang="ja-JP" altLang="en-US" sz="24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1064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6" descr="https://www.mitsui-soko.com/-/media/image/msg/service/service_all/land-transport/stockphototruckincontainerdepotwharehouseseaportcargocontainerslogisticandbusinessconceptd625958189.ashx?la=ja-JP&amp;hash=63F218099A6DE0AB52735AC5D75276C949A69432"/>
          <p:cNvPicPr>
            <a:picLocks noChangeAspect="1" noChangeArrowheads="1"/>
          </p:cNvPicPr>
          <p:nvPr/>
        </p:nvPicPr>
        <p:blipFill>
          <a:blip r:embed="rId2" cstate="print"/>
          <a:srcRect t="1957" r="2628" b="358"/>
          <a:stretch>
            <a:fillRect/>
          </a:stretch>
        </p:blipFill>
        <p:spPr bwMode="auto">
          <a:xfrm>
            <a:off x="1239005" y="5560947"/>
            <a:ext cx="2001290" cy="1338485"/>
          </a:xfrm>
          <a:prstGeom prst="rect">
            <a:avLst/>
          </a:prstGeom>
          <a:noFill/>
        </p:spPr>
      </p:pic>
      <p:pic>
        <p:nvPicPr>
          <p:cNvPr id="37" name="Picture 8" descr="https://www.mitsui-soko.com/-/media/image/msg/service/service_all/land-transport/stock-photo-freight-container-train-335335784_.ashx?la=ja-JP&amp;hash=27C52F67B4F4AED3929C20C51DAFD1F073E0B3A8"/>
          <p:cNvPicPr>
            <a:picLocks noChangeAspect="1" noChangeArrowheads="1"/>
          </p:cNvPicPr>
          <p:nvPr/>
        </p:nvPicPr>
        <p:blipFill>
          <a:blip r:embed="rId3" cstate="print"/>
          <a:srcRect l="2596" t="1353" b="961"/>
          <a:stretch>
            <a:fillRect/>
          </a:stretch>
        </p:blipFill>
        <p:spPr bwMode="auto">
          <a:xfrm>
            <a:off x="3254872" y="5560947"/>
            <a:ext cx="2001290" cy="1338048"/>
          </a:xfrm>
          <a:prstGeom prst="rect">
            <a:avLst/>
          </a:prstGeom>
          <a:noFill/>
        </p:spPr>
      </p:pic>
      <p:pic>
        <p:nvPicPr>
          <p:cNvPr id="38" name="Picture 4" descr="https://www.mitsui-soko.com/-/media/image/msg/service/service_all/International-transport/stock-photo-loading-cargo-into-the-aircraft-before-departure-299178752_.ashx?la=ja-JP&amp;hash=2DD7615E14145C7132AEBBE7B20AC9ADD78BB138"/>
          <p:cNvPicPr>
            <a:picLocks noChangeAspect="1" noChangeArrowheads="1"/>
          </p:cNvPicPr>
          <p:nvPr/>
        </p:nvPicPr>
        <p:blipFill>
          <a:blip r:embed="rId4" cstate="print"/>
          <a:srcRect b="2006"/>
          <a:stretch>
            <a:fillRect/>
          </a:stretch>
        </p:blipFill>
        <p:spPr bwMode="auto">
          <a:xfrm>
            <a:off x="1239005" y="2877260"/>
            <a:ext cx="2001290" cy="1307428"/>
          </a:xfrm>
          <a:prstGeom prst="rect">
            <a:avLst/>
          </a:prstGeom>
          <a:noFill/>
        </p:spPr>
      </p:pic>
      <p:pic>
        <p:nvPicPr>
          <p:cNvPr id="39" name="Picture 16" descr="020_01"/>
          <p:cNvPicPr>
            <a:picLocks noChangeAspect="1" noChangeArrowheads="1"/>
          </p:cNvPicPr>
          <p:nvPr/>
        </p:nvPicPr>
        <p:blipFill>
          <a:blip r:embed="rId5" cstate="print"/>
          <a:srcRect t="2006"/>
          <a:stretch>
            <a:fillRect/>
          </a:stretch>
        </p:blipFill>
        <p:spPr bwMode="auto">
          <a:xfrm>
            <a:off x="3254872" y="2877259"/>
            <a:ext cx="2001290" cy="1307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2" descr="https://www.mitsui-soko.com/-/media/image/msg/service/service_all/International-transport/stock-photo-container-ship-169118219_.ashx?la=ja-JP&amp;hash=E86915C5F5E2461930C2D46F6AA168AE144AE95C"/>
          <p:cNvPicPr>
            <a:picLocks noChangeAspect="1" noChangeArrowheads="1"/>
          </p:cNvPicPr>
          <p:nvPr/>
        </p:nvPicPr>
        <p:blipFill>
          <a:blip r:embed="rId6" cstate="print"/>
          <a:srcRect l="4356" t="4467" r="537"/>
          <a:stretch>
            <a:fillRect/>
          </a:stretch>
        </p:blipFill>
        <p:spPr bwMode="auto">
          <a:xfrm>
            <a:off x="1239005" y="4202737"/>
            <a:ext cx="2001290" cy="1340157"/>
          </a:xfrm>
          <a:prstGeom prst="rect">
            <a:avLst/>
          </a:prstGeom>
          <a:noFill/>
        </p:spPr>
      </p:pic>
      <p:pic>
        <p:nvPicPr>
          <p:cNvPr id="41" name="Picture 9"/>
          <p:cNvPicPr>
            <a:picLocks noChangeAspect="1" noChangeArrowheads="1"/>
          </p:cNvPicPr>
          <p:nvPr/>
        </p:nvPicPr>
        <p:blipFill>
          <a:blip r:embed="rId7" cstate="print"/>
          <a:srcRect l="-35" r="523" b="9827"/>
          <a:stretch>
            <a:fillRect/>
          </a:stretch>
        </p:blipFill>
        <p:spPr bwMode="auto">
          <a:xfrm>
            <a:off x="3254872" y="4202736"/>
            <a:ext cx="2001290" cy="1341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正方形/長方形 41"/>
          <p:cNvSpPr/>
          <p:nvPr/>
        </p:nvSpPr>
        <p:spPr bwMode="auto">
          <a:xfrm rot="10800000">
            <a:off x="944813" y="1237571"/>
            <a:ext cx="266305" cy="1543315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77079" tIns="38539" rIns="77079" bIns="38539" numCol="1" rtlCol="0" anchor="ctr" anchorCtr="0" compatLnSpc="1">
            <a:prstTxWarp prst="textNoShape">
              <a:avLst/>
            </a:prstTxWarp>
          </a:bodyPr>
          <a:lstStyle/>
          <a:p>
            <a:pPr algn="ctr" defTabSz="848933">
              <a:spcAft>
                <a:spcPct val="10000"/>
              </a:spcAft>
              <a:buClr>
                <a:srgbClr val="DDDDDD"/>
              </a:buClr>
            </a:pPr>
            <a:r>
              <a:rPr lang="ja-JP" altLang="en-US" sz="1058" b="1" dirty="0">
                <a:solidFill>
                  <a:srgbClr val="FFFFFF"/>
                </a:solidFill>
                <a:latin typeface="Meiryo UI"/>
                <a:ea typeface="Meiryo UI"/>
              </a:rPr>
              <a:t>　</a:t>
            </a:r>
            <a:r>
              <a:rPr lang="en-US" altLang="ja-JP" sz="1058" b="1" dirty="0">
                <a:solidFill>
                  <a:srgbClr val="FFFFFF"/>
                </a:solidFill>
                <a:latin typeface="Meiryo UI"/>
                <a:ea typeface="Meiryo UI"/>
              </a:rPr>
              <a:t>Warehouse</a:t>
            </a:r>
            <a:endParaRPr lang="ja-JP" altLang="en-US" sz="1058" b="1" dirty="0">
              <a:solidFill>
                <a:srgbClr val="FFFFFF"/>
              </a:solidFill>
              <a:latin typeface="Meiryo UI"/>
              <a:ea typeface="Meiryo UI"/>
            </a:endParaRPr>
          </a:p>
        </p:txBody>
      </p:sp>
      <p:sp>
        <p:nvSpPr>
          <p:cNvPr id="43" name="正方形/長方形 42"/>
          <p:cNvSpPr/>
          <p:nvPr/>
        </p:nvSpPr>
        <p:spPr bwMode="auto">
          <a:xfrm rot="10800000">
            <a:off x="944813" y="2877260"/>
            <a:ext cx="266305" cy="4022334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77079" tIns="38539" rIns="77079" bIns="38539" numCol="1" rtlCol="0" anchor="ctr" anchorCtr="0" compatLnSpc="1">
            <a:prstTxWarp prst="textNoShape">
              <a:avLst/>
            </a:prstTxWarp>
          </a:bodyPr>
          <a:lstStyle/>
          <a:p>
            <a:pPr algn="ctr" defTabSz="848933">
              <a:spcAft>
                <a:spcPct val="10000"/>
              </a:spcAft>
              <a:buClr>
                <a:srgbClr val="DDDDDD"/>
              </a:buClr>
            </a:pPr>
            <a:r>
              <a:rPr lang="ja-JP" altLang="en-US" sz="1058" b="1" dirty="0">
                <a:solidFill>
                  <a:srgbClr val="FFFFFF"/>
                </a:solidFill>
                <a:latin typeface="Meiryo UI"/>
                <a:ea typeface="Meiryo UI"/>
              </a:rPr>
              <a:t>　</a:t>
            </a:r>
            <a:r>
              <a:rPr lang="en-US" altLang="ja-JP" sz="1058" b="1" dirty="0">
                <a:solidFill>
                  <a:srgbClr val="FFFFFF"/>
                </a:solidFill>
                <a:latin typeface="Meiryo UI"/>
                <a:ea typeface="Meiryo UI"/>
              </a:rPr>
              <a:t>Transportation</a:t>
            </a:r>
            <a:endParaRPr lang="ja-JP" altLang="en-US" sz="1058" b="1" dirty="0">
              <a:solidFill>
                <a:srgbClr val="FFFFFF"/>
              </a:solidFill>
              <a:latin typeface="Meiryo UI"/>
              <a:ea typeface="Meiryo UI"/>
            </a:endParaRPr>
          </a:p>
        </p:txBody>
      </p:sp>
      <p:pic>
        <p:nvPicPr>
          <p:cNvPr id="51" name="Picture 7"/>
          <p:cNvPicPr>
            <a:picLocks noChangeAspect="1" noChangeArrowheads="1"/>
          </p:cNvPicPr>
          <p:nvPr/>
        </p:nvPicPr>
        <p:blipFill>
          <a:blip r:embed="rId8" cstate="print"/>
          <a:srcRect l="1752" b="978"/>
          <a:stretch>
            <a:fillRect/>
          </a:stretch>
        </p:blipFill>
        <p:spPr bwMode="auto">
          <a:xfrm>
            <a:off x="3254872" y="1237571"/>
            <a:ext cx="2001290" cy="1544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Picture 2" descr="https://www.mitsui-soko.com/-/media/image/msg/company/group/msc/news/20150916_01.ashx?la=ja-JP&amp;hash=0804018681FB6A59F7FD7E1358E42B5FB833B30B"/>
          <p:cNvPicPr>
            <a:picLocks noChangeAspect="1" noChangeArrowheads="1"/>
          </p:cNvPicPr>
          <p:nvPr/>
        </p:nvPicPr>
        <p:blipFill>
          <a:blip r:embed="rId9" cstate="print"/>
          <a:srcRect l="5386" r="21716"/>
          <a:stretch>
            <a:fillRect/>
          </a:stretch>
        </p:blipFill>
        <p:spPr bwMode="auto">
          <a:xfrm>
            <a:off x="1239005" y="1237098"/>
            <a:ext cx="2001290" cy="1544248"/>
          </a:xfrm>
          <a:prstGeom prst="rect">
            <a:avLst/>
          </a:prstGeom>
          <a:noFill/>
        </p:spPr>
      </p:pic>
      <p:sp>
        <p:nvSpPr>
          <p:cNvPr id="22" name="フッター プレースホルダ 6"/>
          <p:cNvSpPr txBox="1">
            <a:spLocks noGrp="1"/>
          </p:cNvSpPr>
          <p:nvPr/>
        </p:nvSpPr>
        <p:spPr bwMode="auto">
          <a:xfrm>
            <a:off x="2925835" y="7078760"/>
            <a:ext cx="66350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394" tIns="0" rIns="0" bIns="0">
            <a:spAutoFit/>
          </a:bodyPr>
          <a:lstStyle/>
          <a:p>
            <a:pPr algn="just" defTabSz="908050"/>
            <a:r>
              <a:rPr kumimoji="0" lang="en-US" altLang="ja-JP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CONFIDENTIAL】</a:t>
            </a:r>
            <a:r>
              <a:rPr kumimoji="0" lang="ja-JP" altLang="en-US" sz="9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資料は三井倉庫グループの許可なく対外的に参照・配布しないようお願い申し上げます。</a:t>
            </a:r>
            <a:endParaRPr kumimoji="0" lang="en-US" altLang="ja-JP" sz="9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4" name="タイトル 1"/>
          <p:cNvSpPr txBox="1">
            <a:spLocks/>
          </p:cNvSpPr>
          <p:nvPr/>
        </p:nvSpPr>
        <p:spPr bwMode="auto">
          <a:xfrm>
            <a:off x="603709" y="106465"/>
            <a:ext cx="9810194" cy="81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8394" tIns="0" rIns="0" bIns="0" numCol="1" anchor="b" anchorCtr="0" compatLnSpc="1">
            <a:prstTxWarp prst="textNoShape">
              <a:avLst/>
            </a:prstTxWarp>
          </a:bodyPr>
          <a:lstStyle>
            <a:lvl1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501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2pPr>
            <a:lvl3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3pPr>
            <a:lvl4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4pPr>
            <a:lvl5pPr algn="l" defTabSz="873362" rtl="0" eaLnBrk="0" fontAlgn="base" hangingPunct="0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5pPr>
            <a:lvl6pPr marL="43973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6pPr>
            <a:lvl7pPr marL="87947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7pPr>
            <a:lvl8pPr marL="1319205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8pPr>
            <a:lvl9pPr marL="1758940" algn="l" defTabSz="873362" rtl="0" fontAlgn="base">
              <a:spcBef>
                <a:spcPct val="0"/>
              </a:spcBef>
              <a:spcAft>
                <a:spcPct val="30000"/>
              </a:spcAft>
              <a:defRPr kumimoji="1" sz="2212" b="1">
                <a:solidFill>
                  <a:srgbClr val="24246E"/>
                </a:solidFill>
                <a:latin typeface="HG丸ｺﾞｼｯｸM-PRO" pitchFamily="50" charset="-128"/>
                <a:ea typeface="HG丸ｺﾞｼｯｸM-PRO" pitchFamily="50" charset="-128"/>
              </a:defRPr>
            </a:lvl9pPr>
          </a:lstStyle>
          <a:p>
            <a:r>
              <a:rPr lang="en-US" altLang="ja-JP" sz="1731" kern="0" dirty="0">
                <a:solidFill>
                  <a:schemeClr val="tx1"/>
                </a:solidFill>
              </a:rPr>
              <a:t>Ⅰ. Introduction of MITSUI-SOKO Group</a:t>
            </a:r>
            <a:br>
              <a:rPr lang="en-US" altLang="ja-JP" kern="0" dirty="0">
                <a:solidFill>
                  <a:schemeClr val="tx1"/>
                </a:solidFill>
              </a:rPr>
            </a:br>
            <a:r>
              <a:rPr lang="en-US" altLang="ja-JP" sz="2400" kern="0" dirty="0">
                <a:solidFill>
                  <a:schemeClr val="tx1"/>
                </a:solidFill>
              </a:rPr>
              <a:t>  5. Records</a:t>
            </a:r>
            <a:endParaRPr lang="ja-JP" altLang="en-US" sz="2400" kern="0" dirty="0">
              <a:solidFill>
                <a:schemeClr val="tx1"/>
              </a:solidFill>
            </a:endParaRPr>
          </a:p>
        </p:txBody>
      </p:sp>
      <p:pic>
        <p:nvPicPr>
          <p:cNvPr id="10" name="図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461" y="1208879"/>
            <a:ext cx="4833330" cy="1544400"/>
          </a:xfrm>
          <a:prstGeom prst="rect">
            <a:avLst/>
          </a:prstGeom>
        </p:spPr>
      </p:pic>
      <p:pic>
        <p:nvPicPr>
          <p:cNvPr id="11" name="図 1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462" y="2877260"/>
            <a:ext cx="4833330" cy="4021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402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6bPEVnu0exqPgv1mTU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rvV5OMC0C5k9XjAJzm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6bPEVnu0exqPgv1mTU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rvV5OMC0C5k9XjAJzmPQ"/>
</p:tagLst>
</file>

<file path=ppt/theme/theme1.xml><?xml version="1.0" encoding="utf-8"?>
<a:theme xmlns:a="http://schemas.openxmlformats.org/drawingml/2006/main" name="表紙青">
  <a:themeElements>
    <a:clrScheme name="表紙青 5">
      <a:dk1>
        <a:srgbClr val="24246E"/>
      </a:dk1>
      <a:lt1>
        <a:srgbClr val="FFFFFF"/>
      </a:lt1>
      <a:dk2>
        <a:srgbClr val="24246E"/>
      </a:dk2>
      <a:lt2>
        <a:srgbClr val="DDDDDD"/>
      </a:lt2>
      <a:accent1>
        <a:srgbClr val="FFFFFF"/>
      </a:accent1>
      <a:accent2>
        <a:srgbClr val="D2DBFD"/>
      </a:accent2>
      <a:accent3>
        <a:srgbClr val="FFFFFF"/>
      </a:accent3>
      <a:accent4>
        <a:srgbClr val="1D1D5D"/>
      </a:accent4>
      <a:accent5>
        <a:srgbClr val="FFFFFF"/>
      </a:accent5>
      <a:accent6>
        <a:srgbClr val="BEC6E5"/>
      </a:accent6>
      <a:hlink>
        <a:srgbClr val="5EA8DD"/>
      </a:hlink>
      <a:folHlink>
        <a:srgbClr val="F67D04"/>
      </a:folHlink>
    </a:clrScheme>
    <a:fontScheme name="表紙青">
      <a:majorFont>
        <a:latin typeface="HGPｺﾞｼｯｸM"/>
        <a:ea typeface="HGPｺﾞｼｯｸM"/>
        <a:cs typeface=""/>
      </a:majorFont>
      <a:minorFont>
        <a:latin typeface="HGPｺﾞｼｯｸM"/>
        <a:ea typeface="HGPｺﾞｼｯ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rtlCol="0" anchor="ctr" anchorCtr="0" compatLnSpc="1">
        <a:prstTxWarp prst="textNoShape">
          <a:avLst/>
        </a:prstTxWarp>
        <a:spAutoFit/>
      </a:bodyPr>
      <a:lstStyle>
        <a:defPPr marL="0" marR="0" indent="0" algn="ctr" defTabSz="908050" rtl="0" eaLnBrk="1" fontAlgn="base" latinLnBrk="0" hangingPunct="1">
          <a:lnSpc>
            <a:spcPct val="100000"/>
          </a:lnSpc>
          <a:spcBef>
            <a:spcPct val="50000"/>
          </a:spcBef>
          <a:spcAft>
            <a:spcPct val="30000"/>
          </a:spcAft>
          <a:buClr>
            <a:srgbClr val="DDDDDD"/>
          </a:buClr>
          <a:buSzTx/>
          <a:buFont typeface="Wingdings" pitchFamily="2" charset="2"/>
          <a:buNone/>
          <a:tabLst/>
          <a:defRPr kumimoji="1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80141" tIns="40070" rIns="80141" bIns="40070" numCol="1" anchor="ctr" anchorCtr="0" compatLnSpc="1">
        <a:prstTxWarp prst="textNoShape">
          <a:avLst/>
        </a:prstTxWarp>
      </a:bodyPr>
      <a:lstStyle>
        <a:defPPr marL="0" marR="0" indent="0" algn="l" defTabSz="882650" rtl="0" eaLnBrk="1" fontAlgn="base" latinLnBrk="0" hangingPunct="1">
          <a:lnSpc>
            <a:spcPct val="100000"/>
          </a:lnSpc>
          <a:spcBef>
            <a:spcPct val="0"/>
          </a:spcBef>
          <a:spcAft>
            <a:spcPct val="10000"/>
          </a:spcAft>
          <a:buClr>
            <a:srgbClr val="DDDDDD"/>
          </a:buClr>
          <a:buSzTx/>
          <a:buFont typeface="Wingdings" pitchFamily="2" charset="2"/>
          <a:buNone/>
          <a:tabLst/>
          <a:defRPr kumimoji="1" lang="ja-JP" altLang="en-US" sz="900" b="0" i="0" u="none" strike="noStrike" cap="none" normalizeH="0" baseline="0" smtClean="0">
            <a:ln>
              <a:noFill/>
            </a:ln>
            <a:solidFill>
              <a:srgbClr val="24246E"/>
            </a:solidFill>
            <a:effectLst/>
            <a:latin typeface="HGPｺﾞｼｯｸM" pitchFamily="50" charset="-128"/>
            <a:ea typeface="HGPｺﾞｼｯｸM" pitchFamily="50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kumimoji="1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表紙青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表紙青 2">
        <a:dk1>
          <a:srgbClr val="000000"/>
        </a:dk1>
        <a:lt1>
          <a:srgbClr val="D6CBC2"/>
        </a:lt1>
        <a:dk2>
          <a:srgbClr val="000000"/>
        </a:dk2>
        <a:lt2>
          <a:srgbClr val="09BAFF"/>
        </a:lt2>
        <a:accent1>
          <a:srgbClr val="FFFFFF"/>
        </a:accent1>
        <a:accent2>
          <a:srgbClr val="003F56"/>
        </a:accent2>
        <a:accent3>
          <a:srgbClr val="E8E2DD"/>
        </a:accent3>
        <a:accent4>
          <a:srgbClr val="000000"/>
        </a:accent4>
        <a:accent5>
          <a:srgbClr val="FFFFFF"/>
        </a:accent5>
        <a:accent6>
          <a:srgbClr val="00384D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表紙青 3">
        <a:dk1>
          <a:srgbClr val="09BAFF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表紙青 4">
        <a:dk1>
          <a:srgbClr val="FF960C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表紙青 5">
        <a:dk1>
          <a:srgbClr val="24246E"/>
        </a:dk1>
        <a:lt1>
          <a:srgbClr val="FFFFFF"/>
        </a:lt1>
        <a:dk2>
          <a:srgbClr val="24246E"/>
        </a:dk2>
        <a:lt2>
          <a:srgbClr val="DDDDDD"/>
        </a:lt2>
        <a:accent1>
          <a:srgbClr val="FFFFFF"/>
        </a:accent1>
        <a:accent2>
          <a:srgbClr val="D2DBFD"/>
        </a:accent2>
        <a:accent3>
          <a:srgbClr val="FFFFFF"/>
        </a:accent3>
        <a:accent4>
          <a:srgbClr val="1D1D5D"/>
        </a:accent4>
        <a:accent5>
          <a:srgbClr val="FFFFFF"/>
        </a:accent5>
        <a:accent6>
          <a:srgbClr val="BEC6E5"/>
        </a:accent6>
        <a:hlink>
          <a:srgbClr val="5EA8DD"/>
        </a:hlink>
        <a:folHlink>
          <a:srgbClr val="F67D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表紙青">
  <a:themeElements>
    <a:clrScheme name="1_表紙青 5">
      <a:dk1>
        <a:srgbClr val="24246E"/>
      </a:dk1>
      <a:lt1>
        <a:srgbClr val="FFFFFF"/>
      </a:lt1>
      <a:dk2>
        <a:srgbClr val="24246E"/>
      </a:dk2>
      <a:lt2>
        <a:srgbClr val="DDDDDD"/>
      </a:lt2>
      <a:accent1>
        <a:srgbClr val="FFFFFF"/>
      </a:accent1>
      <a:accent2>
        <a:srgbClr val="D2DBFD"/>
      </a:accent2>
      <a:accent3>
        <a:srgbClr val="FFFFFF"/>
      </a:accent3>
      <a:accent4>
        <a:srgbClr val="1D1D5D"/>
      </a:accent4>
      <a:accent5>
        <a:srgbClr val="FFFFFF"/>
      </a:accent5>
      <a:accent6>
        <a:srgbClr val="BEC6E5"/>
      </a:accent6>
      <a:hlink>
        <a:srgbClr val="5EA8DD"/>
      </a:hlink>
      <a:folHlink>
        <a:srgbClr val="F67D04"/>
      </a:folHlink>
    </a:clrScheme>
    <a:fontScheme name="1_表紙青">
      <a:majorFont>
        <a:latin typeface="HGPｺﾞｼｯｸM"/>
        <a:ea typeface="ＭＳ Ｐゴシック"/>
        <a:cs typeface=""/>
      </a:majorFont>
      <a:minorFont>
        <a:latin typeface="HGPｺﾞｼｯｸ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80141" tIns="40070" rIns="80141" bIns="40070" numCol="1" anchor="ctr" anchorCtr="0" compatLnSpc="1">
        <a:prstTxWarp prst="textNoShape">
          <a:avLst/>
        </a:prstTxWarp>
      </a:bodyPr>
      <a:lstStyle>
        <a:defPPr marL="0" marR="0" indent="0" algn="l" defTabSz="882650" rtl="0" eaLnBrk="1" fontAlgn="base" latinLnBrk="0" hangingPunct="1">
          <a:lnSpc>
            <a:spcPct val="100000"/>
          </a:lnSpc>
          <a:spcBef>
            <a:spcPct val="0"/>
          </a:spcBef>
          <a:spcAft>
            <a:spcPct val="10000"/>
          </a:spcAft>
          <a:buClr>
            <a:srgbClr val="DDDDDD"/>
          </a:buClr>
          <a:buSzTx/>
          <a:buFont typeface="Wingdings" pitchFamily="2" charset="2"/>
          <a:buNone/>
          <a:tabLst/>
          <a:defRPr kumimoji="1" lang="ja-JP" altLang="en-US" sz="900" b="0" i="0" u="none" strike="noStrike" cap="none" normalizeH="0" baseline="0" smtClean="0">
            <a:ln>
              <a:noFill/>
            </a:ln>
            <a:solidFill>
              <a:srgbClr val="24246E"/>
            </a:solidFill>
            <a:effectLst/>
            <a:latin typeface="HGPｺﾞｼｯｸM" pitchFamily="50" charset="-128"/>
            <a:ea typeface="HGPｺﾞｼｯｸM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80141" tIns="40070" rIns="80141" bIns="40070" numCol="1" anchor="ctr" anchorCtr="0" compatLnSpc="1">
        <a:prstTxWarp prst="textNoShape">
          <a:avLst/>
        </a:prstTxWarp>
      </a:bodyPr>
      <a:lstStyle>
        <a:defPPr marL="0" marR="0" indent="0" algn="l" defTabSz="882650" rtl="0" eaLnBrk="1" fontAlgn="base" latinLnBrk="0" hangingPunct="1">
          <a:lnSpc>
            <a:spcPct val="100000"/>
          </a:lnSpc>
          <a:spcBef>
            <a:spcPct val="0"/>
          </a:spcBef>
          <a:spcAft>
            <a:spcPct val="10000"/>
          </a:spcAft>
          <a:buClr>
            <a:srgbClr val="DDDDDD"/>
          </a:buClr>
          <a:buSzTx/>
          <a:buFont typeface="Wingdings" pitchFamily="2" charset="2"/>
          <a:buNone/>
          <a:tabLst/>
          <a:defRPr kumimoji="1" lang="ja-JP" altLang="en-US" sz="900" b="0" i="0" u="none" strike="noStrike" cap="none" normalizeH="0" baseline="0" smtClean="0">
            <a:ln>
              <a:noFill/>
            </a:ln>
            <a:solidFill>
              <a:srgbClr val="24246E"/>
            </a:solidFill>
            <a:effectLst/>
            <a:latin typeface="HGPｺﾞｼｯｸM" pitchFamily="50" charset="-128"/>
            <a:ea typeface="HGPｺﾞｼｯｸM" pitchFamily="50" charset="-128"/>
          </a:defRPr>
        </a:defPPr>
      </a:lstStyle>
    </a:lnDef>
  </a:objectDefaults>
  <a:extraClrSchemeLst>
    <a:extraClrScheme>
      <a:clrScheme name="1_表紙青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表紙青 2">
        <a:dk1>
          <a:srgbClr val="000000"/>
        </a:dk1>
        <a:lt1>
          <a:srgbClr val="D6CBC2"/>
        </a:lt1>
        <a:dk2>
          <a:srgbClr val="000000"/>
        </a:dk2>
        <a:lt2>
          <a:srgbClr val="09BAFF"/>
        </a:lt2>
        <a:accent1>
          <a:srgbClr val="FFFFFF"/>
        </a:accent1>
        <a:accent2>
          <a:srgbClr val="003F56"/>
        </a:accent2>
        <a:accent3>
          <a:srgbClr val="E8E2DD"/>
        </a:accent3>
        <a:accent4>
          <a:srgbClr val="000000"/>
        </a:accent4>
        <a:accent5>
          <a:srgbClr val="FFFFFF"/>
        </a:accent5>
        <a:accent6>
          <a:srgbClr val="00384D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表紙青 3">
        <a:dk1>
          <a:srgbClr val="09BAFF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表紙青 4">
        <a:dk1>
          <a:srgbClr val="FF960C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表紙青 5">
        <a:dk1>
          <a:srgbClr val="24246E"/>
        </a:dk1>
        <a:lt1>
          <a:srgbClr val="FFFFFF"/>
        </a:lt1>
        <a:dk2>
          <a:srgbClr val="24246E"/>
        </a:dk2>
        <a:lt2>
          <a:srgbClr val="DDDDDD"/>
        </a:lt2>
        <a:accent1>
          <a:srgbClr val="FFFFFF"/>
        </a:accent1>
        <a:accent2>
          <a:srgbClr val="D2DBFD"/>
        </a:accent2>
        <a:accent3>
          <a:srgbClr val="FFFFFF"/>
        </a:accent3>
        <a:accent4>
          <a:srgbClr val="1D1D5D"/>
        </a:accent4>
        <a:accent5>
          <a:srgbClr val="FFFFFF"/>
        </a:accent5>
        <a:accent6>
          <a:srgbClr val="BEC6E5"/>
        </a:accent6>
        <a:hlink>
          <a:srgbClr val="5EA8DD"/>
        </a:hlink>
        <a:folHlink>
          <a:srgbClr val="F67D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表紙青">
  <a:themeElements>
    <a:clrScheme name="2_表紙青 5">
      <a:dk1>
        <a:srgbClr val="24246E"/>
      </a:dk1>
      <a:lt1>
        <a:srgbClr val="FFFFFF"/>
      </a:lt1>
      <a:dk2>
        <a:srgbClr val="24246E"/>
      </a:dk2>
      <a:lt2>
        <a:srgbClr val="DDDDDD"/>
      </a:lt2>
      <a:accent1>
        <a:srgbClr val="FFFFFF"/>
      </a:accent1>
      <a:accent2>
        <a:srgbClr val="D2DBFD"/>
      </a:accent2>
      <a:accent3>
        <a:srgbClr val="FFFFFF"/>
      </a:accent3>
      <a:accent4>
        <a:srgbClr val="1D1D5D"/>
      </a:accent4>
      <a:accent5>
        <a:srgbClr val="FFFFFF"/>
      </a:accent5>
      <a:accent6>
        <a:srgbClr val="BEC6E5"/>
      </a:accent6>
      <a:hlink>
        <a:srgbClr val="5EA8DD"/>
      </a:hlink>
      <a:folHlink>
        <a:srgbClr val="F67D04"/>
      </a:folHlink>
    </a:clrScheme>
    <a:fontScheme name="2_表紙青">
      <a:majorFont>
        <a:latin typeface="HGPｺﾞｼｯｸM"/>
        <a:ea typeface="ＭＳ Ｐゴシック"/>
        <a:cs typeface=""/>
      </a:majorFont>
      <a:minorFont>
        <a:latin typeface="HGPｺﾞｼｯｸ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80141" tIns="40070" rIns="80141" bIns="40070" numCol="1" anchor="ctr" anchorCtr="0" compatLnSpc="1">
        <a:prstTxWarp prst="textNoShape">
          <a:avLst/>
        </a:prstTxWarp>
      </a:bodyPr>
      <a:lstStyle>
        <a:defPPr marL="0" marR="0" indent="0" algn="l" defTabSz="882650" rtl="0" eaLnBrk="1" fontAlgn="base" latinLnBrk="0" hangingPunct="1">
          <a:lnSpc>
            <a:spcPct val="100000"/>
          </a:lnSpc>
          <a:spcBef>
            <a:spcPct val="0"/>
          </a:spcBef>
          <a:spcAft>
            <a:spcPct val="10000"/>
          </a:spcAft>
          <a:buClr>
            <a:srgbClr val="DDDDDD"/>
          </a:buClr>
          <a:buSzTx/>
          <a:buFont typeface="Wingdings" pitchFamily="2" charset="2"/>
          <a:buNone/>
          <a:tabLst/>
          <a:defRPr kumimoji="1" lang="ja-JP" altLang="en-US" sz="900" b="0" i="0" u="none" strike="noStrike" cap="none" normalizeH="0" baseline="0" smtClean="0">
            <a:ln>
              <a:noFill/>
            </a:ln>
            <a:solidFill>
              <a:srgbClr val="24246E"/>
            </a:solidFill>
            <a:effectLst/>
            <a:latin typeface="HGPｺﾞｼｯｸM" pitchFamily="50" charset="-128"/>
            <a:ea typeface="HGPｺﾞｼｯｸM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80141" tIns="40070" rIns="80141" bIns="40070" numCol="1" anchor="ctr" anchorCtr="0" compatLnSpc="1">
        <a:prstTxWarp prst="textNoShape">
          <a:avLst/>
        </a:prstTxWarp>
      </a:bodyPr>
      <a:lstStyle>
        <a:defPPr marL="0" marR="0" indent="0" algn="l" defTabSz="882650" rtl="0" eaLnBrk="1" fontAlgn="base" latinLnBrk="0" hangingPunct="1">
          <a:lnSpc>
            <a:spcPct val="100000"/>
          </a:lnSpc>
          <a:spcBef>
            <a:spcPct val="0"/>
          </a:spcBef>
          <a:spcAft>
            <a:spcPct val="10000"/>
          </a:spcAft>
          <a:buClr>
            <a:srgbClr val="DDDDDD"/>
          </a:buClr>
          <a:buSzTx/>
          <a:buFont typeface="Wingdings" pitchFamily="2" charset="2"/>
          <a:buNone/>
          <a:tabLst/>
          <a:defRPr kumimoji="1" lang="ja-JP" altLang="en-US" sz="900" b="0" i="0" u="none" strike="noStrike" cap="none" normalizeH="0" baseline="0" smtClean="0">
            <a:ln>
              <a:noFill/>
            </a:ln>
            <a:solidFill>
              <a:srgbClr val="24246E"/>
            </a:solidFill>
            <a:effectLst/>
            <a:latin typeface="HGPｺﾞｼｯｸM" pitchFamily="50" charset="-128"/>
            <a:ea typeface="HGPｺﾞｼｯｸM" pitchFamily="50" charset="-128"/>
          </a:defRPr>
        </a:defPPr>
      </a:lstStyle>
    </a:lnDef>
  </a:objectDefaults>
  <a:extraClrSchemeLst>
    <a:extraClrScheme>
      <a:clrScheme name="2_表紙青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表紙青 2">
        <a:dk1>
          <a:srgbClr val="000000"/>
        </a:dk1>
        <a:lt1>
          <a:srgbClr val="D6CBC2"/>
        </a:lt1>
        <a:dk2>
          <a:srgbClr val="000000"/>
        </a:dk2>
        <a:lt2>
          <a:srgbClr val="09BAFF"/>
        </a:lt2>
        <a:accent1>
          <a:srgbClr val="FFFFFF"/>
        </a:accent1>
        <a:accent2>
          <a:srgbClr val="003F56"/>
        </a:accent2>
        <a:accent3>
          <a:srgbClr val="E8E2DD"/>
        </a:accent3>
        <a:accent4>
          <a:srgbClr val="000000"/>
        </a:accent4>
        <a:accent5>
          <a:srgbClr val="FFFFFF"/>
        </a:accent5>
        <a:accent6>
          <a:srgbClr val="00384D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表紙青 3">
        <a:dk1>
          <a:srgbClr val="09BAFF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表紙青 4">
        <a:dk1>
          <a:srgbClr val="FF960C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表紙青 5">
        <a:dk1>
          <a:srgbClr val="24246E"/>
        </a:dk1>
        <a:lt1>
          <a:srgbClr val="FFFFFF"/>
        </a:lt1>
        <a:dk2>
          <a:srgbClr val="24246E"/>
        </a:dk2>
        <a:lt2>
          <a:srgbClr val="DDDDDD"/>
        </a:lt2>
        <a:accent1>
          <a:srgbClr val="FFFFFF"/>
        </a:accent1>
        <a:accent2>
          <a:srgbClr val="D2DBFD"/>
        </a:accent2>
        <a:accent3>
          <a:srgbClr val="FFFFFF"/>
        </a:accent3>
        <a:accent4>
          <a:srgbClr val="1D1D5D"/>
        </a:accent4>
        <a:accent5>
          <a:srgbClr val="FFFFFF"/>
        </a:accent5>
        <a:accent6>
          <a:srgbClr val="BEC6E5"/>
        </a:accent6>
        <a:hlink>
          <a:srgbClr val="5EA8DD"/>
        </a:hlink>
        <a:folHlink>
          <a:srgbClr val="F67D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表紙青">
  <a:themeElements>
    <a:clrScheme name="3_表紙青 5">
      <a:dk1>
        <a:srgbClr val="24246E"/>
      </a:dk1>
      <a:lt1>
        <a:srgbClr val="FFFFFF"/>
      </a:lt1>
      <a:dk2>
        <a:srgbClr val="24246E"/>
      </a:dk2>
      <a:lt2>
        <a:srgbClr val="DDDDDD"/>
      </a:lt2>
      <a:accent1>
        <a:srgbClr val="FFFFFF"/>
      </a:accent1>
      <a:accent2>
        <a:srgbClr val="D2DBFD"/>
      </a:accent2>
      <a:accent3>
        <a:srgbClr val="FFFFFF"/>
      </a:accent3>
      <a:accent4>
        <a:srgbClr val="1D1D5D"/>
      </a:accent4>
      <a:accent5>
        <a:srgbClr val="FFFFFF"/>
      </a:accent5>
      <a:accent6>
        <a:srgbClr val="BEC6E5"/>
      </a:accent6>
      <a:hlink>
        <a:srgbClr val="5EA8DD"/>
      </a:hlink>
      <a:folHlink>
        <a:srgbClr val="F67D04"/>
      </a:folHlink>
    </a:clrScheme>
    <a:fontScheme name="3_表紙青">
      <a:majorFont>
        <a:latin typeface="HGPｺﾞｼｯｸM"/>
        <a:ea typeface="ＭＳ Ｐゴシック"/>
        <a:cs typeface=""/>
      </a:majorFont>
      <a:minorFont>
        <a:latin typeface="HGPｺﾞｼｯｸ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80141" tIns="40070" rIns="80141" bIns="40070" numCol="1" anchor="ctr" anchorCtr="0" compatLnSpc="1">
        <a:prstTxWarp prst="textNoShape">
          <a:avLst/>
        </a:prstTxWarp>
      </a:bodyPr>
      <a:lstStyle>
        <a:defPPr marL="0" marR="0" indent="0" algn="l" defTabSz="882650" rtl="0" eaLnBrk="1" fontAlgn="base" latinLnBrk="0" hangingPunct="1">
          <a:lnSpc>
            <a:spcPct val="100000"/>
          </a:lnSpc>
          <a:spcBef>
            <a:spcPct val="0"/>
          </a:spcBef>
          <a:spcAft>
            <a:spcPct val="10000"/>
          </a:spcAft>
          <a:buClr>
            <a:srgbClr val="DDDDDD"/>
          </a:buClr>
          <a:buSzTx/>
          <a:buFont typeface="Wingdings" pitchFamily="2" charset="2"/>
          <a:buNone/>
          <a:tabLst/>
          <a:defRPr kumimoji="1" lang="ja-JP" altLang="en-US" sz="900" b="0" i="0" u="none" strike="noStrike" cap="none" normalizeH="0" baseline="0" smtClean="0">
            <a:ln>
              <a:noFill/>
            </a:ln>
            <a:solidFill>
              <a:srgbClr val="24246E"/>
            </a:solidFill>
            <a:effectLst/>
            <a:latin typeface="HGPｺﾞｼｯｸM" pitchFamily="50" charset="-128"/>
            <a:ea typeface="HGPｺﾞｼｯｸM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80141" tIns="40070" rIns="80141" bIns="40070" numCol="1" anchor="ctr" anchorCtr="0" compatLnSpc="1">
        <a:prstTxWarp prst="textNoShape">
          <a:avLst/>
        </a:prstTxWarp>
      </a:bodyPr>
      <a:lstStyle>
        <a:defPPr marL="0" marR="0" indent="0" algn="l" defTabSz="882650" rtl="0" eaLnBrk="1" fontAlgn="base" latinLnBrk="0" hangingPunct="1">
          <a:lnSpc>
            <a:spcPct val="100000"/>
          </a:lnSpc>
          <a:spcBef>
            <a:spcPct val="0"/>
          </a:spcBef>
          <a:spcAft>
            <a:spcPct val="10000"/>
          </a:spcAft>
          <a:buClr>
            <a:srgbClr val="DDDDDD"/>
          </a:buClr>
          <a:buSzTx/>
          <a:buFont typeface="Wingdings" pitchFamily="2" charset="2"/>
          <a:buNone/>
          <a:tabLst/>
          <a:defRPr kumimoji="1" lang="ja-JP" altLang="en-US" sz="900" b="0" i="0" u="none" strike="noStrike" cap="none" normalizeH="0" baseline="0" smtClean="0">
            <a:ln>
              <a:noFill/>
            </a:ln>
            <a:solidFill>
              <a:srgbClr val="24246E"/>
            </a:solidFill>
            <a:effectLst/>
            <a:latin typeface="HGPｺﾞｼｯｸM" pitchFamily="50" charset="-128"/>
            <a:ea typeface="HGPｺﾞｼｯｸM" pitchFamily="50" charset="-128"/>
          </a:defRPr>
        </a:defPPr>
      </a:lstStyle>
    </a:lnDef>
  </a:objectDefaults>
  <a:extraClrSchemeLst>
    <a:extraClrScheme>
      <a:clrScheme name="3_表紙青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表紙青 2">
        <a:dk1>
          <a:srgbClr val="000000"/>
        </a:dk1>
        <a:lt1>
          <a:srgbClr val="D6CBC2"/>
        </a:lt1>
        <a:dk2>
          <a:srgbClr val="000000"/>
        </a:dk2>
        <a:lt2>
          <a:srgbClr val="09BAFF"/>
        </a:lt2>
        <a:accent1>
          <a:srgbClr val="FFFFFF"/>
        </a:accent1>
        <a:accent2>
          <a:srgbClr val="003F56"/>
        </a:accent2>
        <a:accent3>
          <a:srgbClr val="E8E2DD"/>
        </a:accent3>
        <a:accent4>
          <a:srgbClr val="000000"/>
        </a:accent4>
        <a:accent5>
          <a:srgbClr val="FFFFFF"/>
        </a:accent5>
        <a:accent6>
          <a:srgbClr val="00384D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表紙青 3">
        <a:dk1>
          <a:srgbClr val="09BAFF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表紙青 4">
        <a:dk1>
          <a:srgbClr val="FF960C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表紙青 5">
        <a:dk1>
          <a:srgbClr val="24246E"/>
        </a:dk1>
        <a:lt1>
          <a:srgbClr val="FFFFFF"/>
        </a:lt1>
        <a:dk2>
          <a:srgbClr val="24246E"/>
        </a:dk2>
        <a:lt2>
          <a:srgbClr val="DDDDDD"/>
        </a:lt2>
        <a:accent1>
          <a:srgbClr val="FFFFFF"/>
        </a:accent1>
        <a:accent2>
          <a:srgbClr val="D2DBFD"/>
        </a:accent2>
        <a:accent3>
          <a:srgbClr val="FFFFFF"/>
        </a:accent3>
        <a:accent4>
          <a:srgbClr val="1D1D5D"/>
        </a:accent4>
        <a:accent5>
          <a:srgbClr val="FFFFFF"/>
        </a:accent5>
        <a:accent6>
          <a:srgbClr val="BEC6E5"/>
        </a:accent6>
        <a:hlink>
          <a:srgbClr val="5EA8DD"/>
        </a:hlink>
        <a:folHlink>
          <a:srgbClr val="F67D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配布資料用_青">
  <a:themeElements>
    <a:clrScheme name="配布資料用_青 5">
      <a:dk1>
        <a:srgbClr val="24246E"/>
      </a:dk1>
      <a:lt1>
        <a:srgbClr val="FFFFFF"/>
      </a:lt1>
      <a:dk2>
        <a:srgbClr val="24246E"/>
      </a:dk2>
      <a:lt2>
        <a:srgbClr val="DDDDDD"/>
      </a:lt2>
      <a:accent1>
        <a:srgbClr val="FFFFFF"/>
      </a:accent1>
      <a:accent2>
        <a:srgbClr val="D2DBFD"/>
      </a:accent2>
      <a:accent3>
        <a:srgbClr val="FFFFFF"/>
      </a:accent3>
      <a:accent4>
        <a:srgbClr val="1D1D5D"/>
      </a:accent4>
      <a:accent5>
        <a:srgbClr val="FFFFFF"/>
      </a:accent5>
      <a:accent6>
        <a:srgbClr val="BEC6E5"/>
      </a:accent6>
      <a:hlink>
        <a:srgbClr val="5EA8DD"/>
      </a:hlink>
      <a:folHlink>
        <a:srgbClr val="F67D04"/>
      </a:folHlink>
    </a:clrScheme>
    <a:fontScheme name="ユーザー定義 4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solidFill>
            <a:schemeClr val="tx1"/>
          </a:solidFill>
        </a:ln>
        <a:effectLst/>
      </a:spPr>
      <a:bodyPr vert="horz" wrap="none" lIns="79200" tIns="39600" rIns="79200" bIns="39600" numCol="1" rtlCol="0" anchor="t" anchorCtr="0" compatLnSpc="1">
        <a:prstTxWarp prst="textNoShape">
          <a:avLst/>
        </a:prstTxWarp>
        <a:noAutofit/>
      </a:bodyPr>
      <a:lstStyle>
        <a:defPPr defTabSz="908050">
          <a:spcBef>
            <a:spcPts val="0"/>
          </a:spcBef>
          <a:spcAft>
            <a:spcPts val="0"/>
          </a:spcAft>
          <a:buClr>
            <a:srgbClr val="DDDDDD"/>
          </a:buClr>
          <a:defRPr kumimoji="1" sz="1200" b="0" i="0" u="none" strike="noStrike" cap="none" normalizeH="0" baseline="0" dirty="0" smtClean="0">
            <a:ln>
              <a:noFill/>
            </a:ln>
            <a:solidFill>
              <a:schemeClr val="tx2"/>
            </a:solidFill>
            <a:effectLst/>
            <a:latin typeface="+mn-ea"/>
            <a:ea typeface="+mn-ea"/>
          </a:defRPr>
        </a:defPPr>
      </a:lstStyle>
    </a:spDef>
    <a:lnDef>
      <a:spPr bwMode="auto">
        <a:solidFill>
          <a:schemeClr val="hlink"/>
        </a:solidFill>
        <a:ln>
          <a:solidFill>
            <a:schemeClr val="tx1"/>
          </a:solidFill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lIns="104296" tIns="52148" rIns="104296" bIns="52148" rtlCol="0">
        <a:spAutoFit/>
      </a:bodyPr>
      <a:lstStyle>
        <a:defPPr>
          <a:spcBef>
            <a:spcPts val="0"/>
          </a:spcBef>
          <a:defRPr sz="1400" dirty="0" smtClean="0">
            <a:solidFill>
              <a:srgbClr val="000000"/>
            </a:solidFill>
            <a:latin typeface="+mn-ea"/>
            <a:ea typeface="+mn-ea"/>
            <a:cs typeface="メイリオ" panose="020B0604030504040204" pitchFamily="50" charset="-128"/>
          </a:defRPr>
        </a:defPPr>
      </a:lstStyle>
    </a:txDef>
  </a:objectDefaults>
  <a:extraClrSchemeLst>
    <a:extraClrScheme>
      <a:clrScheme name="配布資料用_青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配布資料用_青 2">
        <a:dk1>
          <a:srgbClr val="000000"/>
        </a:dk1>
        <a:lt1>
          <a:srgbClr val="D6CBC2"/>
        </a:lt1>
        <a:dk2>
          <a:srgbClr val="000000"/>
        </a:dk2>
        <a:lt2>
          <a:srgbClr val="09BAFF"/>
        </a:lt2>
        <a:accent1>
          <a:srgbClr val="FFFFFF"/>
        </a:accent1>
        <a:accent2>
          <a:srgbClr val="003F56"/>
        </a:accent2>
        <a:accent3>
          <a:srgbClr val="E8E2DD"/>
        </a:accent3>
        <a:accent4>
          <a:srgbClr val="000000"/>
        </a:accent4>
        <a:accent5>
          <a:srgbClr val="FFFFFF"/>
        </a:accent5>
        <a:accent6>
          <a:srgbClr val="00384D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配布資料用_青 3">
        <a:dk1>
          <a:srgbClr val="09BAFF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配布資料用_青 4">
        <a:dk1>
          <a:srgbClr val="FF960C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配布資料用_青 5">
        <a:dk1>
          <a:srgbClr val="24246E"/>
        </a:dk1>
        <a:lt1>
          <a:srgbClr val="FFFFFF"/>
        </a:lt1>
        <a:dk2>
          <a:srgbClr val="24246E"/>
        </a:dk2>
        <a:lt2>
          <a:srgbClr val="DDDDDD"/>
        </a:lt2>
        <a:accent1>
          <a:srgbClr val="FFFFFF"/>
        </a:accent1>
        <a:accent2>
          <a:srgbClr val="D2DBFD"/>
        </a:accent2>
        <a:accent3>
          <a:srgbClr val="FFFFFF"/>
        </a:accent3>
        <a:accent4>
          <a:srgbClr val="1D1D5D"/>
        </a:accent4>
        <a:accent5>
          <a:srgbClr val="FFFFFF"/>
        </a:accent5>
        <a:accent6>
          <a:srgbClr val="BEC6E5"/>
        </a:accent6>
        <a:hlink>
          <a:srgbClr val="5EA8DD"/>
        </a:hlink>
        <a:folHlink>
          <a:srgbClr val="F67D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配布資料用_青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配布資料用_青">
      <a:majorFont>
        <a:latin typeface="HG丸ｺﾞｼｯｸM-PRO"/>
        <a:ea typeface="HG丸ｺﾞｼｯｸM-PRO"/>
        <a:cs typeface=""/>
      </a:majorFont>
      <a:minorFont>
        <a:latin typeface="HG丸ｺﾞｼｯｸM-PRO"/>
        <a:ea typeface="HG丸ｺﾞｼｯｸM-PRO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24246E"/>
        </a:solidFill>
        <a:ln>
          <a:noFill/>
        </a:ln>
        <a:effectLst/>
      </a:spPr>
      <a:bodyPr vert="horz" wrap="none" lIns="79200" tIns="39600" rIns="79200" bIns="396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08050" rtl="0" eaLnBrk="1" fontAlgn="base" latinLnBrk="0" hangingPunct="1">
          <a:lnSpc>
            <a:spcPct val="100000"/>
          </a:lnSpc>
          <a:spcBef>
            <a:spcPct val="50000"/>
          </a:spcBef>
          <a:spcAft>
            <a:spcPct val="30000"/>
          </a:spcAft>
          <a:buClr>
            <a:srgbClr val="DDDDDD"/>
          </a:buClr>
          <a:buSzTx/>
          <a:buFont typeface="Wingdings" pitchFamily="2" charset="2"/>
          <a:buNone/>
          <a:tabLst/>
          <a:defRPr kumimoji="1" sz="14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79200" tIns="39600" rIns="79200" bIns="39600" numCol="1" anchor="ctr" anchorCtr="0" compatLnSpc="1">
        <a:prstTxWarp prst="textNoShape">
          <a:avLst/>
        </a:prstTxWarp>
        <a:spAutoFit/>
      </a:bodyPr>
      <a:lstStyle>
        <a:defPPr marL="0" marR="0" indent="0" algn="ctr" defTabSz="908050" rtl="0" eaLnBrk="1" fontAlgn="base" latinLnBrk="0" hangingPunct="1">
          <a:lnSpc>
            <a:spcPct val="100000"/>
          </a:lnSpc>
          <a:spcBef>
            <a:spcPct val="50000"/>
          </a:spcBef>
          <a:spcAft>
            <a:spcPct val="30000"/>
          </a:spcAft>
          <a:buClr>
            <a:srgbClr val="DDDDDD"/>
          </a:buClr>
          <a:buSzTx/>
          <a:buFont typeface="Wingdings" pitchFamily="2" charset="2"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square" lIns="104296" tIns="52148" rIns="104296" bIns="52148">
        <a:spAutoFit/>
      </a:bodyPr>
      <a:lstStyle>
        <a:defPPr algn="l" eaLnBrk="1" hangingPunct="1">
          <a:spcBef>
            <a:spcPct val="50000"/>
          </a:spcBef>
          <a:buFontTx/>
          <a:buNone/>
          <a:defRPr sz="2000" dirty="0">
            <a:solidFill>
              <a:srgbClr val="000000"/>
            </a:solidFill>
            <a:latin typeface="メイリオ" panose="020B0604030504040204" pitchFamily="50" charset="-128"/>
            <a:ea typeface="メイリオ" panose="020B0604030504040204" pitchFamily="50" charset="-128"/>
            <a:cs typeface="メイリオ" panose="020B0604030504040204" pitchFamily="50" charset="-128"/>
          </a:defRPr>
        </a:defPPr>
      </a:lstStyle>
    </a:txDef>
  </a:objectDefaults>
  <a:extraClrSchemeLst>
    <a:extraClrScheme>
      <a:clrScheme name="配布資料用_青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配布資料用_青 2">
        <a:dk1>
          <a:srgbClr val="000000"/>
        </a:dk1>
        <a:lt1>
          <a:srgbClr val="D6CBC2"/>
        </a:lt1>
        <a:dk2>
          <a:srgbClr val="000000"/>
        </a:dk2>
        <a:lt2>
          <a:srgbClr val="09BAFF"/>
        </a:lt2>
        <a:accent1>
          <a:srgbClr val="FFFFFF"/>
        </a:accent1>
        <a:accent2>
          <a:srgbClr val="003F56"/>
        </a:accent2>
        <a:accent3>
          <a:srgbClr val="E8E2DD"/>
        </a:accent3>
        <a:accent4>
          <a:srgbClr val="000000"/>
        </a:accent4>
        <a:accent5>
          <a:srgbClr val="FFFFFF"/>
        </a:accent5>
        <a:accent6>
          <a:srgbClr val="00384D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配布資料用_青 3">
        <a:dk1>
          <a:srgbClr val="09BAFF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配布資料用_青 4">
        <a:dk1>
          <a:srgbClr val="FF960C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配布資料用_青 5">
        <a:dk1>
          <a:srgbClr val="24246E"/>
        </a:dk1>
        <a:lt1>
          <a:srgbClr val="FFFFFF"/>
        </a:lt1>
        <a:dk2>
          <a:srgbClr val="24246E"/>
        </a:dk2>
        <a:lt2>
          <a:srgbClr val="DDDDDD"/>
        </a:lt2>
        <a:accent1>
          <a:srgbClr val="FFFFFF"/>
        </a:accent1>
        <a:accent2>
          <a:srgbClr val="D2DBFD"/>
        </a:accent2>
        <a:accent3>
          <a:srgbClr val="FFFFFF"/>
        </a:accent3>
        <a:accent4>
          <a:srgbClr val="1D1D5D"/>
        </a:accent4>
        <a:accent5>
          <a:srgbClr val="FFFFFF"/>
        </a:accent5>
        <a:accent6>
          <a:srgbClr val="BEC6E5"/>
        </a:accent6>
        <a:hlink>
          <a:srgbClr val="5EA8DD"/>
        </a:hlink>
        <a:folHlink>
          <a:srgbClr val="F67D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配布資料用_青 5">
    <a:dk1>
      <a:srgbClr val="24246E"/>
    </a:dk1>
    <a:lt1>
      <a:srgbClr val="FFFFFF"/>
    </a:lt1>
    <a:dk2>
      <a:srgbClr val="24246E"/>
    </a:dk2>
    <a:lt2>
      <a:srgbClr val="DDDDDD"/>
    </a:lt2>
    <a:accent1>
      <a:srgbClr val="FFFFFF"/>
    </a:accent1>
    <a:accent2>
      <a:srgbClr val="D2DBFD"/>
    </a:accent2>
    <a:accent3>
      <a:srgbClr val="FFFFFF"/>
    </a:accent3>
    <a:accent4>
      <a:srgbClr val="1D1D5D"/>
    </a:accent4>
    <a:accent5>
      <a:srgbClr val="FFFFFF"/>
    </a:accent5>
    <a:accent6>
      <a:srgbClr val="BEC6E5"/>
    </a:accent6>
    <a:hlink>
      <a:srgbClr val="5EA8DD"/>
    </a:hlink>
    <a:folHlink>
      <a:srgbClr val="F67D04"/>
    </a:folHlink>
  </a:clrScheme>
  <a:fontScheme name="ユーザー定義 4">
    <a:majorFont>
      <a:latin typeface="Meiryo UI"/>
      <a:ea typeface="Meiryo UI"/>
      <a:cs typeface=""/>
    </a:majorFont>
    <a:minorFont>
      <a:latin typeface="Meiryo UI"/>
      <a:ea typeface="Meiryo U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配布資料用_青 5">
    <a:dk1>
      <a:srgbClr val="24246E"/>
    </a:dk1>
    <a:lt1>
      <a:srgbClr val="FFFFFF"/>
    </a:lt1>
    <a:dk2>
      <a:srgbClr val="24246E"/>
    </a:dk2>
    <a:lt2>
      <a:srgbClr val="DDDDDD"/>
    </a:lt2>
    <a:accent1>
      <a:srgbClr val="FFFFFF"/>
    </a:accent1>
    <a:accent2>
      <a:srgbClr val="D2DBFD"/>
    </a:accent2>
    <a:accent3>
      <a:srgbClr val="FFFFFF"/>
    </a:accent3>
    <a:accent4>
      <a:srgbClr val="1D1D5D"/>
    </a:accent4>
    <a:accent5>
      <a:srgbClr val="FFFFFF"/>
    </a:accent5>
    <a:accent6>
      <a:srgbClr val="BEC6E5"/>
    </a:accent6>
    <a:hlink>
      <a:srgbClr val="5EA8DD"/>
    </a:hlink>
    <a:folHlink>
      <a:srgbClr val="F67D04"/>
    </a:folHlink>
  </a:clrScheme>
  <a:fontScheme name="ユーザー定義 4">
    <a:majorFont>
      <a:latin typeface="Meiryo UI"/>
      <a:ea typeface="Meiryo UI"/>
      <a:cs typeface=""/>
    </a:majorFont>
    <a:minorFont>
      <a:latin typeface="Meiryo UI"/>
      <a:ea typeface="Meiryo U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配布資料用_青 5">
    <a:dk1>
      <a:srgbClr val="24246E"/>
    </a:dk1>
    <a:lt1>
      <a:srgbClr val="FFFFFF"/>
    </a:lt1>
    <a:dk2>
      <a:srgbClr val="24246E"/>
    </a:dk2>
    <a:lt2>
      <a:srgbClr val="DDDDDD"/>
    </a:lt2>
    <a:accent1>
      <a:srgbClr val="FFFFFF"/>
    </a:accent1>
    <a:accent2>
      <a:srgbClr val="D2DBFD"/>
    </a:accent2>
    <a:accent3>
      <a:srgbClr val="FFFFFF"/>
    </a:accent3>
    <a:accent4>
      <a:srgbClr val="1D1D5D"/>
    </a:accent4>
    <a:accent5>
      <a:srgbClr val="FFFFFF"/>
    </a:accent5>
    <a:accent6>
      <a:srgbClr val="BEC6E5"/>
    </a:accent6>
    <a:hlink>
      <a:srgbClr val="5EA8DD"/>
    </a:hlink>
    <a:folHlink>
      <a:srgbClr val="F67D04"/>
    </a:folHlink>
  </a:clrScheme>
  <a:fontScheme name="ユーザー定義 4">
    <a:majorFont>
      <a:latin typeface="Meiryo UI"/>
      <a:ea typeface="Meiryo UI"/>
      <a:cs typeface=""/>
    </a:majorFont>
    <a:minorFont>
      <a:latin typeface="Meiryo UI"/>
      <a:ea typeface="Meiryo U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配布資料用_青 5">
    <a:dk1>
      <a:srgbClr val="24246E"/>
    </a:dk1>
    <a:lt1>
      <a:srgbClr val="FFFFFF"/>
    </a:lt1>
    <a:dk2>
      <a:srgbClr val="24246E"/>
    </a:dk2>
    <a:lt2>
      <a:srgbClr val="DDDDDD"/>
    </a:lt2>
    <a:accent1>
      <a:srgbClr val="FFFFFF"/>
    </a:accent1>
    <a:accent2>
      <a:srgbClr val="D2DBFD"/>
    </a:accent2>
    <a:accent3>
      <a:srgbClr val="FFFFFF"/>
    </a:accent3>
    <a:accent4>
      <a:srgbClr val="1D1D5D"/>
    </a:accent4>
    <a:accent5>
      <a:srgbClr val="FFFFFF"/>
    </a:accent5>
    <a:accent6>
      <a:srgbClr val="BEC6E5"/>
    </a:accent6>
    <a:hlink>
      <a:srgbClr val="5EA8DD"/>
    </a:hlink>
    <a:folHlink>
      <a:srgbClr val="F67D04"/>
    </a:folHlink>
  </a:clrScheme>
  <a:fontScheme name="ユーザー定義 4">
    <a:majorFont>
      <a:latin typeface="Meiryo UI"/>
      <a:ea typeface="Meiryo UI"/>
      <a:cs typeface=""/>
    </a:majorFont>
    <a:minorFont>
      <a:latin typeface="Meiryo UI"/>
      <a:ea typeface="Meiryo U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77</Words>
  <Application>Microsoft Office PowerPoint</Application>
  <PresentationFormat>ユーザー設定</PresentationFormat>
  <Paragraphs>579</Paragraphs>
  <Slides>20</Slides>
  <Notes>4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6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20</vt:i4>
      </vt:variant>
    </vt:vector>
  </HeadingPairs>
  <TitlesOfParts>
    <vt:vector size="36" baseType="lpstr">
      <vt:lpstr>Arial Unicode MS</vt:lpstr>
      <vt:lpstr>HGPｺﾞｼｯｸM</vt:lpstr>
      <vt:lpstr>HGP創英角ｺﾞｼｯｸUB</vt:lpstr>
      <vt:lpstr>HG丸ｺﾞｼｯｸM-PRO</vt:lpstr>
      <vt:lpstr>Meiryo UI</vt:lpstr>
      <vt:lpstr>メイリオ</vt:lpstr>
      <vt:lpstr>Arial</vt:lpstr>
      <vt:lpstr>Wingdings</vt:lpstr>
      <vt:lpstr>表紙青</vt:lpstr>
      <vt:lpstr>1_表紙青</vt:lpstr>
      <vt:lpstr>2_表紙青</vt:lpstr>
      <vt:lpstr>3_表紙青</vt:lpstr>
      <vt:lpstr>配布資料用_青</vt:lpstr>
      <vt:lpstr>1_配布資料用_青</vt:lpstr>
      <vt:lpstr>Photo Editor Photo</vt:lpstr>
      <vt:lpstr>ビットマップ イメージ</vt:lpstr>
      <vt:lpstr>COMPANY PROFILE</vt:lpstr>
      <vt:lpstr> Contents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Ⅱ. Introduction of MITSUI-SOKO EXPRESS   1. Company Profile</vt:lpstr>
      <vt:lpstr>Ⅱ. Introduction of MITSUI-SOKO EXPRESS   2. DNA</vt:lpstr>
      <vt:lpstr>Ⅱ. Introduction of MITSUI-SOKO EXPRESS   3. Network: Domestic</vt:lpstr>
      <vt:lpstr>Ⅱ. Introduction of MITSUI-SOKO EXPRESS   3. Network: Overseas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End of Fi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9-30T01:40:11Z</dcterms:created>
  <dcterms:modified xsi:type="dcterms:W3CDTF">2025-03-19T06:21:04Z</dcterms:modified>
</cp:coreProperties>
</file>